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ov" ContentType="video/quicktime"/>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4.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5.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1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notesSlides/notesSlide1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62" r:id="rId1"/>
    <p:sldMasterId id="2147483963" r:id="rId2"/>
    <p:sldMasterId id="2147484010" r:id="rId3"/>
    <p:sldMasterId id="2147484056" r:id="rId4"/>
    <p:sldMasterId id="2147484104" r:id="rId5"/>
    <p:sldMasterId id="2147484151" r:id="rId6"/>
  </p:sldMasterIdLst>
  <p:notesMasterIdLst>
    <p:notesMasterId r:id="rId40"/>
  </p:notesMasterIdLst>
  <p:handoutMasterIdLst>
    <p:handoutMasterId r:id="rId41"/>
  </p:handoutMasterIdLst>
  <p:sldIdLst>
    <p:sldId id="2142532839" r:id="rId7"/>
    <p:sldId id="2147482272" r:id="rId8"/>
    <p:sldId id="2147482294" r:id="rId9"/>
    <p:sldId id="2147482335" r:id="rId10"/>
    <p:sldId id="2147482301" r:id="rId11"/>
    <p:sldId id="2147482297" r:id="rId12"/>
    <p:sldId id="2147482296" r:id="rId13"/>
    <p:sldId id="2147482299" r:id="rId14"/>
    <p:sldId id="2147482300" r:id="rId15"/>
    <p:sldId id="2147482875" r:id="rId16"/>
    <p:sldId id="259" r:id="rId17"/>
    <p:sldId id="2147482801" r:id="rId18"/>
    <p:sldId id="2147483641" r:id="rId19"/>
    <p:sldId id="256" r:id="rId20"/>
    <p:sldId id="2147483647" r:id="rId21"/>
    <p:sldId id="261" r:id="rId22"/>
    <p:sldId id="260" r:id="rId23"/>
    <p:sldId id="2147483634" r:id="rId24"/>
    <p:sldId id="2147482809" r:id="rId25"/>
    <p:sldId id="2147482349" r:id="rId26"/>
    <p:sldId id="2147482353" r:id="rId27"/>
    <p:sldId id="2147482848" r:id="rId28"/>
    <p:sldId id="2147482351" r:id="rId29"/>
    <p:sldId id="2147482329" r:id="rId30"/>
    <p:sldId id="2147482358" r:id="rId31"/>
    <p:sldId id="2147482354" r:id="rId32"/>
    <p:sldId id="417" r:id="rId33"/>
    <p:sldId id="2147374667" r:id="rId34"/>
    <p:sldId id="2147482334" r:id="rId35"/>
    <p:sldId id="2147482330" r:id="rId36"/>
    <p:sldId id="2147482331" r:id="rId37"/>
    <p:sldId id="2147482332" r:id="rId38"/>
    <p:sldId id="2147482333" r:id="rId39"/>
  </p:sldIdLst>
  <p:sldSz cx="24387175" cy="13716000"/>
  <p:notesSz cx="6858000" cy="9144000"/>
  <p:defaultTextStyle>
    <a:defPPr>
      <a:defRPr lang="en-US"/>
    </a:defPPr>
    <a:lvl1pPr marL="0" algn="l" defTabSz="1829379" rtl="0" eaLnBrk="1" latinLnBrk="0" hangingPunct="1">
      <a:defRPr sz="36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B7DBC33C-9AB3-9C47-BF01-B993AD8E026F}">
          <p14:sldIdLst>
            <p14:sldId id="2142532839"/>
          </p14:sldIdLst>
        </p14:section>
        <p14:section name="Vision" id="{089105EA-20B9-BB49-AE73-7CE0D1B5E0CE}">
          <p14:sldIdLst>
            <p14:sldId id="2147482272"/>
            <p14:sldId id="2147482294"/>
            <p14:sldId id="2147482335"/>
            <p14:sldId id="2147482301"/>
            <p14:sldId id="2147482297"/>
            <p14:sldId id="2147482296"/>
            <p14:sldId id="2147482299"/>
          </p14:sldIdLst>
        </p14:section>
        <p14:section name="watsonx Orchestrate" id="{9BF2DC18-0058-2343-99CB-1C58BAB68B5E}">
          <p14:sldIdLst>
            <p14:sldId id="2147482300"/>
            <p14:sldId id="2147482875"/>
            <p14:sldId id="259"/>
            <p14:sldId id="2147482801"/>
            <p14:sldId id="2147483641"/>
          </p14:sldIdLst>
        </p14:section>
        <p14:section name="Use Cases" id="{A1D70E49-FC9E-B54D-915D-18BFE47D2D9F}">
          <p14:sldIdLst>
            <p14:sldId id="256"/>
            <p14:sldId id="2147483647"/>
            <p14:sldId id="261"/>
            <p14:sldId id="260"/>
            <p14:sldId id="2147483634"/>
          </p14:sldIdLst>
        </p14:section>
        <p14:section name="Why watsonx Orchestrate" id="{7670503D-757E-CD4C-8ACA-96CA7EC485CF}">
          <p14:sldIdLst>
            <p14:sldId id="2147482809"/>
            <p14:sldId id="2147482349"/>
            <p14:sldId id="2147482353"/>
            <p14:sldId id="2147482848"/>
            <p14:sldId id="2147482351"/>
          </p14:sldIdLst>
        </p14:section>
        <p14:section name="Client Stories" id="{CECB3B92-88D5-5F41-AC69-E34E3F76100A}">
          <p14:sldIdLst>
            <p14:sldId id="2147482329"/>
            <p14:sldId id="2147482358"/>
          </p14:sldIdLst>
        </p14:section>
        <p14:section name="Getting Stated" id="{70F31CC0-464A-7248-982D-3AC19CCB9F79}">
          <p14:sldIdLst>
            <p14:sldId id="2147482354"/>
            <p14:sldId id="417"/>
            <p14:sldId id="2147374667"/>
          </p14:sldIdLst>
        </p14:section>
        <p14:section name="Appendix - AI assistant solutions by industry" id="{3E53B536-CE07-3347-9C87-9E3AB4F7906E}">
          <p14:sldIdLst>
            <p14:sldId id="2147482334"/>
            <p14:sldId id="2147482330"/>
            <p14:sldId id="2147482331"/>
            <p14:sldId id="2147482332"/>
            <p14:sldId id="214748233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4EC580E-2728-428F-2A46-58A6FF550CD7}" name="David Grossman" initials="DG" userId="Rrnv0PP3yMc0zItvKHS9Cstm/7/oA5TueX6kgWh95Y8=" providerId="None"/>
  <p188:author id="{221CDB1A-A1B9-DC50-E306-D8459F1420E7}" name="Ryan O. Rivera" initials="RR" userId="vu0mP63cMCbsHWHUjMoixN5ao+rHm0kaLDtvTPIt/UA=" providerId="None"/>
  <p188:author id="{6080003E-8844-B70C-8D29-9B388FF8FA07}" name="Ryan Rivera" initials="RR" userId="S::ryan.rivera@ibm.com::0a055059-6872-40ff-870e-0353ad0067a1" providerId="AD"/>
  <p188:author id="{F9AC8C70-D406-D137-2A95-9ADECE30E77A}" name="THOMAS YANG" initials="TY" userId="S::thomas.yang@us.ibm.com::18d36dc0-4611-415c-b7c2-e9899ff78048" providerId="AD"/>
  <p188:author id="{0F0B8C8E-96FD-EA4A-CC60-7545515F4F56}" name="Ryan Rivera" initials="RR" userId="S::Ryan.Rivera@ibm.com::0a055059-6872-40ff-870e-0353ad0067a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Zachary Anderson" initials="ZA" lastIdx="26" clrIdx="0">
    <p:extLst>
      <p:ext uri="{19B8F6BF-5375-455C-9EA6-DF929625EA0E}">
        <p15:presenceInfo xmlns:p15="http://schemas.microsoft.com/office/powerpoint/2012/main" userId="S::zanderson@vsapartners.com::b6da4b55-2f36-4779-ba8b-606d779a32e3" providerId="AD"/>
      </p:ext>
    </p:extLst>
  </p:cmAuthor>
  <p:cmAuthor id="2" name="Liz Sadler" initials="LS" lastIdx="36" clrIdx="1">
    <p:extLst>
      <p:ext uri="{19B8F6BF-5375-455C-9EA6-DF929625EA0E}">
        <p15:presenceInfo xmlns:p15="http://schemas.microsoft.com/office/powerpoint/2012/main" userId="Liz Sadl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F7FF"/>
    <a:srgbClr val="9EF0F0"/>
    <a:srgbClr val="001F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288"/>
    <p:restoredTop sz="72835"/>
  </p:normalViewPr>
  <p:slideViewPr>
    <p:cSldViewPr snapToObjects="1">
      <p:cViewPr varScale="1">
        <p:scale>
          <a:sx n="47" d="100"/>
          <a:sy n="47" d="100"/>
        </p:scale>
        <p:origin x="2632" y="240"/>
      </p:cViewPr>
      <p:guideLst/>
    </p:cSldViewPr>
  </p:slideViewPr>
  <p:outlineViewPr>
    <p:cViewPr>
      <p:scale>
        <a:sx n="33" d="100"/>
        <a:sy n="33" d="100"/>
      </p:scale>
      <p:origin x="0" y="-59992"/>
    </p:cViewPr>
  </p:outlineViewPr>
  <p:notesTextViewPr>
    <p:cViewPr>
      <p:scale>
        <a:sx n="100" d="100"/>
        <a:sy n="100" d="100"/>
      </p:scale>
      <p:origin x="0" y="0"/>
    </p:cViewPr>
  </p:notesTextViewPr>
  <p:sorterViewPr>
    <p:cViewPr>
      <p:scale>
        <a:sx n="110" d="100"/>
        <a:sy n="110" d="100"/>
      </p:scale>
      <p:origin x="0" y="0"/>
    </p:cViewPr>
  </p:sorterViewPr>
  <p:notesViewPr>
    <p:cSldViewPr snapToObjects="1">
      <p:cViewPr varScale="1">
        <p:scale>
          <a:sx n="128" d="100"/>
          <a:sy n="128" d="100"/>
        </p:scale>
        <p:origin x="3656" y="1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commentAuthors" Target="commentAuthors.xml"/><Relationship Id="rId47" Type="http://schemas.microsoft.com/office/2018/10/relationships/authors" Target="author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A$1</c:f>
              <c:strCache>
                <c:ptCount val="1"/>
                <c:pt idx="0">
                  <c:v> </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1FD-4851-A0E8-D5169135A42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1FD-4851-A0E8-D5169135A42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1FD-4851-A0E8-D5169135A429}"/>
              </c:ext>
            </c:extLst>
          </c:dPt>
          <c:val>
            <c:numRef>
              <c:f>Sheet1!$A$2:$A$4</c:f>
              <c:numCache>
                <c:formatCode>General</c:formatCode>
                <c:ptCount val="3"/>
              </c:numCache>
            </c:numRef>
          </c:val>
          <c:extLst>
            <c:ext xmlns:c16="http://schemas.microsoft.com/office/drawing/2014/chart" uri="{C3380CC4-5D6E-409C-BE32-E72D297353CC}">
              <c16:uniqueId val="{00000008-E1FD-4851-A0E8-D5169135A429}"/>
            </c:ext>
          </c:extLst>
        </c:ser>
        <c:ser>
          <c:idx val="1"/>
          <c:order val="1"/>
          <c:tx>
            <c:strRef>
              <c:f>Sheet1!$B$1</c:f>
              <c:strCache>
                <c:ptCount val="1"/>
                <c:pt idx="0">
                  <c:v>Column1</c:v>
                </c:pt>
              </c:strCache>
            </c:strRef>
          </c:tx>
          <c:dPt>
            <c:idx val="0"/>
            <c:bubble3D val="0"/>
            <c:spPr>
              <a:solidFill>
                <a:schemeClr val="accent1"/>
              </a:solidFill>
              <a:ln w="19050">
                <a:noFill/>
              </a:ln>
              <a:effectLst/>
            </c:spPr>
            <c:extLst>
              <c:ext xmlns:c16="http://schemas.microsoft.com/office/drawing/2014/chart" uri="{C3380CC4-5D6E-409C-BE32-E72D297353CC}">
                <c16:uniqueId val="{0000000B-E1FD-4851-A0E8-D5169135A429}"/>
              </c:ext>
            </c:extLst>
          </c:dPt>
          <c:dPt>
            <c:idx val="1"/>
            <c:bubble3D val="0"/>
            <c:spPr>
              <a:solidFill>
                <a:schemeClr val="accent2"/>
              </a:solidFill>
              <a:ln w="19050">
                <a:noFill/>
              </a:ln>
              <a:effectLst/>
            </c:spPr>
            <c:extLst>
              <c:ext xmlns:c16="http://schemas.microsoft.com/office/drawing/2014/chart" uri="{C3380CC4-5D6E-409C-BE32-E72D297353CC}">
                <c16:uniqueId val="{0000000C-E1FD-4851-A0E8-D5169135A429}"/>
              </c:ext>
            </c:extLst>
          </c:dPt>
          <c:dPt>
            <c:idx val="2"/>
            <c:bubble3D val="0"/>
            <c:spPr>
              <a:solidFill>
                <a:schemeClr val="accent3"/>
              </a:solidFill>
              <a:ln w="19050">
                <a:noFill/>
              </a:ln>
              <a:effectLst/>
            </c:spPr>
            <c:extLst>
              <c:ext xmlns:c16="http://schemas.microsoft.com/office/drawing/2014/chart" uri="{C3380CC4-5D6E-409C-BE32-E72D297353CC}">
                <c16:uniqueId val="{0000000A-E1FD-4851-A0E8-D5169135A429}"/>
              </c:ext>
            </c:extLst>
          </c:dPt>
          <c:val>
            <c:numRef>
              <c:f>Sheet1!$B$2:$B$4</c:f>
              <c:numCache>
                <c:formatCode>0%</c:formatCode>
                <c:ptCount val="3"/>
                <c:pt idx="0">
                  <c:v>0.01</c:v>
                </c:pt>
                <c:pt idx="1">
                  <c:v>0.01</c:v>
                </c:pt>
                <c:pt idx="2">
                  <c:v>0.01</c:v>
                </c:pt>
              </c:numCache>
            </c:numRef>
          </c:val>
          <c:extLst>
            <c:ext xmlns:c16="http://schemas.microsoft.com/office/drawing/2014/chart" uri="{C3380CC4-5D6E-409C-BE32-E72D297353CC}">
              <c16:uniqueId val="{00000009-E1FD-4851-A0E8-D5169135A429}"/>
            </c:ext>
          </c:extLst>
        </c:ser>
        <c:dLbls>
          <c:showLegendKey val="0"/>
          <c:showVal val="0"/>
          <c:showCatName val="0"/>
          <c:showSerName val="0"/>
          <c:showPercent val="0"/>
          <c:showBubbleSize val="0"/>
          <c:showLeaderLines val="1"/>
        </c:dLbls>
        <c:firstSliceAng val="0"/>
        <c:holeSize val="10"/>
      </c:doughnutChart>
      <c:spPr>
        <a:noFill/>
        <a:ln>
          <a:noFill/>
        </a:ln>
        <a:effectLst/>
      </c:spPr>
    </c:plotArea>
    <c:plotVisOnly val="1"/>
    <c:dispBlanksAs val="gap"/>
    <c:showDLblsOverMax val="0"/>
  </c:chart>
  <c:spPr>
    <a:noFill/>
    <a:ln>
      <a:noFill/>
    </a:ln>
    <a:effectLst/>
  </c:spPr>
  <c:txPr>
    <a:bodyPr/>
    <a:lstStyle/>
    <a:p>
      <a:pPr>
        <a:defRPr>
          <a:latin typeface="IBM Plex Sans" panose="020B0503050203000203"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A$1</c:f>
              <c:strCache>
                <c:ptCount val="1"/>
                <c:pt idx="0">
                  <c:v> </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D67-4EC9-8F0D-7AA114F4ACF7}"/>
              </c:ext>
            </c:extLst>
          </c:dPt>
          <c:val>
            <c:numRef>
              <c:f>Sheet1!$A$2</c:f>
              <c:numCache>
                <c:formatCode>General</c:formatCode>
                <c:ptCount val="1"/>
              </c:numCache>
            </c:numRef>
          </c:val>
          <c:extLst>
            <c:ext xmlns:c16="http://schemas.microsoft.com/office/drawing/2014/chart" uri="{C3380CC4-5D6E-409C-BE32-E72D297353CC}">
              <c16:uniqueId val="{00000006-6D67-4EC9-8F0D-7AA114F4ACF7}"/>
            </c:ext>
          </c:extLst>
        </c:ser>
        <c:ser>
          <c:idx val="1"/>
          <c:order val="1"/>
          <c:tx>
            <c:strRef>
              <c:f>Sheet1!$B$1</c:f>
              <c:strCache>
                <c:ptCount val="1"/>
                <c:pt idx="0">
                  <c:v>Column1</c:v>
                </c:pt>
              </c:strCache>
            </c:strRef>
          </c:tx>
          <c:spPr>
            <a:ln>
              <a:noFill/>
            </a:ln>
          </c:spPr>
          <c:dPt>
            <c:idx val="0"/>
            <c:bubble3D val="0"/>
            <c:spPr>
              <a:solidFill>
                <a:srgbClr val="5C68FD"/>
              </a:solidFill>
              <a:ln w="19050">
                <a:noFill/>
              </a:ln>
              <a:effectLst/>
            </c:spPr>
            <c:extLst>
              <c:ext xmlns:c16="http://schemas.microsoft.com/office/drawing/2014/chart" uri="{C3380CC4-5D6E-409C-BE32-E72D297353CC}">
                <c16:uniqueId val="{00000008-6D67-4EC9-8F0D-7AA114F4ACF7}"/>
              </c:ext>
            </c:extLst>
          </c:dPt>
          <c:val>
            <c:numRef>
              <c:f>Sheet1!$B$2</c:f>
              <c:numCache>
                <c:formatCode>0%</c:formatCode>
                <c:ptCount val="1"/>
                <c:pt idx="0">
                  <c:v>0.01</c:v>
                </c:pt>
              </c:numCache>
            </c:numRef>
          </c:val>
          <c:extLst>
            <c:ext xmlns:c16="http://schemas.microsoft.com/office/drawing/2014/chart" uri="{C3380CC4-5D6E-409C-BE32-E72D297353CC}">
              <c16:uniqueId val="{0000000D-6D67-4EC9-8F0D-7AA114F4ACF7}"/>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noFill/>
          <a:latin typeface="IBM Plex Sans" panose="020B0503050203000203" pitchFamily="34" charset="0"/>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A$1</c:f>
              <c:strCache>
                <c:ptCount val="1"/>
                <c:pt idx="0">
                  <c:v> </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1FD-4851-A0E8-D5169135A42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1FD-4851-A0E8-D5169135A42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1FD-4851-A0E8-D5169135A429}"/>
              </c:ext>
            </c:extLst>
          </c:dPt>
          <c:val>
            <c:numRef>
              <c:f>Sheet1!$A$2:$A$4</c:f>
              <c:numCache>
                <c:formatCode>General</c:formatCode>
                <c:ptCount val="3"/>
              </c:numCache>
            </c:numRef>
          </c:val>
          <c:extLst>
            <c:ext xmlns:c16="http://schemas.microsoft.com/office/drawing/2014/chart" uri="{C3380CC4-5D6E-409C-BE32-E72D297353CC}">
              <c16:uniqueId val="{00000008-E1FD-4851-A0E8-D5169135A429}"/>
            </c:ext>
          </c:extLst>
        </c:ser>
        <c:ser>
          <c:idx val="1"/>
          <c:order val="1"/>
          <c:tx>
            <c:strRef>
              <c:f>Sheet1!$B$1</c:f>
              <c:strCache>
                <c:ptCount val="1"/>
                <c:pt idx="0">
                  <c:v>Column1</c:v>
                </c:pt>
              </c:strCache>
            </c:strRef>
          </c:tx>
          <c:dPt>
            <c:idx val="0"/>
            <c:bubble3D val="0"/>
            <c:spPr>
              <a:solidFill>
                <a:schemeClr val="accent1"/>
              </a:solidFill>
              <a:ln w="19050">
                <a:noFill/>
              </a:ln>
              <a:effectLst/>
            </c:spPr>
            <c:extLst>
              <c:ext xmlns:c16="http://schemas.microsoft.com/office/drawing/2014/chart" uri="{C3380CC4-5D6E-409C-BE32-E72D297353CC}">
                <c16:uniqueId val="{0000000B-E1FD-4851-A0E8-D5169135A429}"/>
              </c:ext>
            </c:extLst>
          </c:dPt>
          <c:dPt>
            <c:idx val="1"/>
            <c:bubble3D val="0"/>
            <c:spPr>
              <a:solidFill>
                <a:schemeClr val="accent2"/>
              </a:solidFill>
              <a:ln w="19050">
                <a:noFill/>
              </a:ln>
              <a:effectLst/>
            </c:spPr>
            <c:extLst>
              <c:ext xmlns:c16="http://schemas.microsoft.com/office/drawing/2014/chart" uri="{C3380CC4-5D6E-409C-BE32-E72D297353CC}">
                <c16:uniqueId val="{0000000C-E1FD-4851-A0E8-D5169135A429}"/>
              </c:ext>
            </c:extLst>
          </c:dPt>
          <c:dPt>
            <c:idx val="2"/>
            <c:bubble3D val="0"/>
            <c:spPr>
              <a:solidFill>
                <a:schemeClr val="accent3"/>
              </a:solidFill>
              <a:ln w="19050">
                <a:noFill/>
              </a:ln>
              <a:effectLst/>
            </c:spPr>
            <c:extLst>
              <c:ext xmlns:c16="http://schemas.microsoft.com/office/drawing/2014/chart" uri="{C3380CC4-5D6E-409C-BE32-E72D297353CC}">
                <c16:uniqueId val="{0000000A-E1FD-4851-A0E8-D5169135A429}"/>
              </c:ext>
            </c:extLst>
          </c:dPt>
          <c:val>
            <c:numRef>
              <c:f>Sheet1!$B$2:$B$4</c:f>
              <c:numCache>
                <c:formatCode>0%</c:formatCode>
                <c:ptCount val="3"/>
                <c:pt idx="0">
                  <c:v>0.01</c:v>
                </c:pt>
                <c:pt idx="1">
                  <c:v>0.01</c:v>
                </c:pt>
                <c:pt idx="2">
                  <c:v>0.01</c:v>
                </c:pt>
              </c:numCache>
            </c:numRef>
          </c:val>
          <c:extLst>
            <c:ext xmlns:c16="http://schemas.microsoft.com/office/drawing/2014/chart" uri="{C3380CC4-5D6E-409C-BE32-E72D297353CC}">
              <c16:uniqueId val="{00000009-E1FD-4851-A0E8-D5169135A429}"/>
            </c:ext>
          </c:extLst>
        </c:ser>
        <c:dLbls>
          <c:showLegendKey val="0"/>
          <c:showVal val="0"/>
          <c:showCatName val="0"/>
          <c:showSerName val="0"/>
          <c:showPercent val="0"/>
          <c:showBubbleSize val="0"/>
          <c:showLeaderLines val="1"/>
        </c:dLbls>
        <c:firstSliceAng val="0"/>
        <c:holeSize val="10"/>
      </c:doughnutChart>
      <c:spPr>
        <a:noFill/>
        <a:ln>
          <a:noFill/>
        </a:ln>
        <a:effectLst/>
      </c:spPr>
    </c:plotArea>
    <c:plotVisOnly val="1"/>
    <c:dispBlanksAs val="gap"/>
    <c:showDLblsOverMax val="0"/>
  </c:chart>
  <c:spPr>
    <a:noFill/>
    <a:ln>
      <a:noFill/>
    </a:ln>
    <a:effectLst/>
  </c:spPr>
  <c:txPr>
    <a:bodyPr/>
    <a:lstStyle/>
    <a:p>
      <a:pPr>
        <a:defRPr>
          <a:latin typeface="IBM Plex Sans" panose="020B0503050203000203" pitchFamily="34" charset="0"/>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A$1</c:f>
              <c:strCache>
                <c:ptCount val="1"/>
                <c:pt idx="0">
                  <c:v> </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D67-4EC9-8F0D-7AA114F4ACF7}"/>
              </c:ext>
            </c:extLst>
          </c:dPt>
          <c:val>
            <c:numRef>
              <c:f>Sheet1!$A$2</c:f>
              <c:numCache>
                <c:formatCode>General</c:formatCode>
                <c:ptCount val="1"/>
              </c:numCache>
            </c:numRef>
          </c:val>
          <c:extLst>
            <c:ext xmlns:c16="http://schemas.microsoft.com/office/drawing/2014/chart" uri="{C3380CC4-5D6E-409C-BE32-E72D297353CC}">
              <c16:uniqueId val="{00000006-6D67-4EC9-8F0D-7AA114F4ACF7}"/>
            </c:ext>
          </c:extLst>
        </c:ser>
        <c:ser>
          <c:idx val="1"/>
          <c:order val="1"/>
          <c:tx>
            <c:strRef>
              <c:f>Sheet1!$B$1</c:f>
              <c:strCache>
                <c:ptCount val="1"/>
                <c:pt idx="0">
                  <c:v>Column1</c:v>
                </c:pt>
              </c:strCache>
            </c:strRef>
          </c:tx>
          <c:spPr>
            <a:ln>
              <a:noFill/>
            </a:ln>
          </c:spPr>
          <c:dPt>
            <c:idx val="0"/>
            <c:bubble3D val="0"/>
            <c:spPr>
              <a:solidFill>
                <a:srgbClr val="5C68FD"/>
              </a:solidFill>
              <a:ln w="19050">
                <a:noFill/>
              </a:ln>
              <a:effectLst/>
            </c:spPr>
            <c:extLst>
              <c:ext xmlns:c16="http://schemas.microsoft.com/office/drawing/2014/chart" uri="{C3380CC4-5D6E-409C-BE32-E72D297353CC}">
                <c16:uniqueId val="{00000008-6D67-4EC9-8F0D-7AA114F4ACF7}"/>
              </c:ext>
            </c:extLst>
          </c:dPt>
          <c:val>
            <c:numRef>
              <c:f>Sheet1!$B$2</c:f>
              <c:numCache>
                <c:formatCode>0%</c:formatCode>
                <c:ptCount val="1"/>
                <c:pt idx="0">
                  <c:v>0.01</c:v>
                </c:pt>
              </c:numCache>
            </c:numRef>
          </c:val>
          <c:extLst>
            <c:ext xmlns:c16="http://schemas.microsoft.com/office/drawing/2014/chart" uri="{C3380CC4-5D6E-409C-BE32-E72D297353CC}">
              <c16:uniqueId val="{0000000D-6D67-4EC9-8F0D-7AA114F4ACF7}"/>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noFill/>
          <a:latin typeface="IBM Plex Sans" panose="020B0503050203000203" pitchFamily="34" charset="0"/>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A$1</c:f>
              <c:strCache>
                <c:ptCount val="1"/>
                <c:pt idx="0">
                  <c:v> </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0A6-4BBD-86D3-336A4156FBD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0A6-4BBD-86D3-336A4156FBD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0A6-4BBD-86D3-336A4156FBD8}"/>
              </c:ext>
            </c:extLst>
          </c:dPt>
          <c:val>
            <c:numRef>
              <c:f>Sheet1!$A$2:$A$4</c:f>
              <c:numCache>
                <c:formatCode>General</c:formatCode>
                <c:ptCount val="3"/>
              </c:numCache>
            </c:numRef>
          </c:val>
          <c:extLst>
            <c:ext xmlns:c16="http://schemas.microsoft.com/office/drawing/2014/chart" uri="{C3380CC4-5D6E-409C-BE32-E72D297353CC}">
              <c16:uniqueId val="{00000006-F0A6-4BBD-86D3-336A4156FBD8}"/>
            </c:ext>
          </c:extLst>
        </c:ser>
        <c:ser>
          <c:idx val="1"/>
          <c:order val="1"/>
          <c:tx>
            <c:strRef>
              <c:f>Sheet1!$B$1</c:f>
              <c:strCache>
                <c:ptCount val="1"/>
                <c:pt idx="0">
                  <c:v>Column1</c:v>
                </c:pt>
              </c:strCache>
            </c:strRef>
          </c:tx>
          <c:dPt>
            <c:idx val="0"/>
            <c:bubble3D val="0"/>
            <c:spPr>
              <a:solidFill>
                <a:schemeClr val="accent1"/>
              </a:solidFill>
              <a:ln w="19050">
                <a:noFill/>
              </a:ln>
              <a:effectLst/>
            </c:spPr>
            <c:extLst>
              <c:ext xmlns:c16="http://schemas.microsoft.com/office/drawing/2014/chart" uri="{C3380CC4-5D6E-409C-BE32-E72D297353CC}">
                <c16:uniqueId val="{00000008-F0A6-4BBD-86D3-336A4156FBD8}"/>
              </c:ext>
            </c:extLst>
          </c:dPt>
          <c:dPt>
            <c:idx val="1"/>
            <c:bubble3D val="0"/>
            <c:spPr>
              <a:solidFill>
                <a:schemeClr val="accent2"/>
              </a:solidFill>
              <a:ln w="19050">
                <a:noFill/>
              </a:ln>
              <a:effectLst/>
            </c:spPr>
            <c:extLst>
              <c:ext xmlns:c16="http://schemas.microsoft.com/office/drawing/2014/chart" uri="{C3380CC4-5D6E-409C-BE32-E72D297353CC}">
                <c16:uniqueId val="{0000000A-F0A6-4BBD-86D3-336A4156FBD8}"/>
              </c:ext>
            </c:extLst>
          </c:dPt>
          <c:dPt>
            <c:idx val="2"/>
            <c:bubble3D val="0"/>
            <c:spPr>
              <a:solidFill>
                <a:schemeClr val="accent3"/>
              </a:solidFill>
              <a:ln w="19050">
                <a:noFill/>
              </a:ln>
              <a:effectLst/>
            </c:spPr>
            <c:extLst>
              <c:ext xmlns:c16="http://schemas.microsoft.com/office/drawing/2014/chart" uri="{C3380CC4-5D6E-409C-BE32-E72D297353CC}">
                <c16:uniqueId val="{0000000C-F0A6-4BBD-86D3-336A4156FBD8}"/>
              </c:ext>
            </c:extLst>
          </c:dPt>
          <c:val>
            <c:numRef>
              <c:f>Sheet1!$B$2:$B$4</c:f>
              <c:numCache>
                <c:formatCode>0%</c:formatCode>
                <c:ptCount val="3"/>
                <c:pt idx="0">
                  <c:v>0.01</c:v>
                </c:pt>
                <c:pt idx="1">
                  <c:v>0.01</c:v>
                </c:pt>
                <c:pt idx="2">
                  <c:v>0.01</c:v>
                </c:pt>
              </c:numCache>
            </c:numRef>
          </c:val>
          <c:extLst>
            <c:ext xmlns:c16="http://schemas.microsoft.com/office/drawing/2014/chart" uri="{C3380CC4-5D6E-409C-BE32-E72D297353CC}">
              <c16:uniqueId val="{0000000D-F0A6-4BBD-86D3-336A4156FBD8}"/>
            </c:ext>
          </c:extLst>
        </c:ser>
        <c:dLbls>
          <c:showLegendKey val="0"/>
          <c:showVal val="0"/>
          <c:showCatName val="0"/>
          <c:showSerName val="0"/>
          <c:showPercent val="0"/>
          <c:showBubbleSize val="0"/>
          <c:showLeaderLines val="1"/>
        </c:dLbls>
        <c:firstSliceAng val="0"/>
        <c:holeSize val="10"/>
      </c:doughnutChart>
      <c:spPr>
        <a:noFill/>
        <a:ln>
          <a:noFill/>
        </a:ln>
        <a:effectLst/>
      </c:spPr>
    </c:plotArea>
    <c:plotVisOnly val="1"/>
    <c:dispBlanksAs val="gap"/>
    <c:showDLblsOverMax val="0"/>
  </c:chart>
  <c:spPr>
    <a:noFill/>
    <a:ln>
      <a:noFill/>
    </a:ln>
    <a:effectLst/>
  </c:spPr>
  <c:txPr>
    <a:bodyPr/>
    <a:lstStyle/>
    <a:p>
      <a:pPr>
        <a:defRPr>
          <a:latin typeface="IBM Plex Sans" panose="020B0503050203000203" pitchFamily="34" charset="0"/>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A$1</c:f>
              <c:strCache>
                <c:ptCount val="1"/>
                <c:pt idx="0">
                  <c:v> </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976-459A-AC64-93CE8367BED2}"/>
              </c:ext>
            </c:extLst>
          </c:dPt>
          <c:val>
            <c:numRef>
              <c:f>Sheet1!$A$2</c:f>
              <c:numCache>
                <c:formatCode>General</c:formatCode>
                <c:ptCount val="1"/>
              </c:numCache>
            </c:numRef>
          </c:val>
          <c:extLst>
            <c:ext xmlns:c16="http://schemas.microsoft.com/office/drawing/2014/chart" uri="{C3380CC4-5D6E-409C-BE32-E72D297353CC}">
              <c16:uniqueId val="{00000002-9976-459A-AC64-93CE8367BED2}"/>
            </c:ext>
          </c:extLst>
        </c:ser>
        <c:ser>
          <c:idx val="1"/>
          <c:order val="1"/>
          <c:tx>
            <c:strRef>
              <c:f>Sheet1!$B$1</c:f>
              <c:strCache>
                <c:ptCount val="1"/>
                <c:pt idx="0">
                  <c:v>Column1</c:v>
                </c:pt>
              </c:strCache>
            </c:strRef>
          </c:tx>
          <c:spPr>
            <a:ln>
              <a:noFill/>
            </a:ln>
          </c:spPr>
          <c:dPt>
            <c:idx val="0"/>
            <c:bubble3D val="0"/>
            <c:spPr>
              <a:solidFill>
                <a:srgbClr val="5C68FD"/>
              </a:solidFill>
              <a:ln w="19050">
                <a:noFill/>
              </a:ln>
              <a:effectLst/>
            </c:spPr>
            <c:extLst>
              <c:ext xmlns:c16="http://schemas.microsoft.com/office/drawing/2014/chart" uri="{C3380CC4-5D6E-409C-BE32-E72D297353CC}">
                <c16:uniqueId val="{00000004-9976-459A-AC64-93CE8367BED2}"/>
              </c:ext>
            </c:extLst>
          </c:dPt>
          <c:val>
            <c:numRef>
              <c:f>Sheet1!$B$2</c:f>
              <c:numCache>
                <c:formatCode>0%</c:formatCode>
                <c:ptCount val="1"/>
                <c:pt idx="0">
                  <c:v>0.01</c:v>
                </c:pt>
              </c:numCache>
            </c:numRef>
          </c:val>
          <c:extLst>
            <c:ext xmlns:c16="http://schemas.microsoft.com/office/drawing/2014/chart" uri="{C3380CC4-5D6E-409C-BE32-E72D297353CC}">
              <c16:uniqueId val="{00000005-9976-459A-AC64-93CE8367BED2}"/>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noFill/>
          <a:latin typeface="IBM Plex Sans" panose="020B0503050203000203" pitchFamily="34" charset="0"/>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A$1</c:f>
              <c:strCache>
                <c:ptCount val="1"/>
                <c:pt idx="0">
                  <c:v> </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1FD-4851-A0E8-D5169135A42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1FD-4851-A0E8-D5169135A42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1FD-4851-A0E8-D5169135A429}"/>
              </c:ext>
            </c:extLst>
          </c:dPt>
          <c:val>
            <c:numRef>
              <c:f>Sheet1!$A$2:$A$4</c:f>
              <c:numCache>
                <c:formatCode>General</c:formatCode>
                <c:ptCount val="3"/>
              </c:numCache>
            </c:numRef>
          </c:val>
          <c:extLst>
            <c:ext xmlns:c16="http://schemas.microsoft.com/office/drawing/2014/chart" uri="{C3380CC4-5D6E-409C-BE32-E72D297353CC}">
              <c16:uniqueId val="{00000008-E1FD-4851-A0E8-D5169135A429}"/>
            </c:ext>
          </c:extLst>
        </c:ser>
        <c:ser>
          <c:idx val="1"/>
          <c:order val="1"/>
          <c:tx>
            <c:strRef>
              <c:f>Sheet1!$B$1</c:f>
              <c:strCache>
                <c:ptCount val="1"/>
                <c:pt idx="0">
                  <c:v>Column1</c:v>
                </c:pt>
              </c:strCache>
            </c:strRef>
          </c:tx>
          <c:dPt>
            <c:idx val="0"/>
            <c:bubble3D val="0"/>
            <c:spPr>
              <a:solidFill>
                <a:schemeClr val="accent1"/>
              </a:solidFill>
              <a:ln w="19050">
                <a:noFill/>
              </a:ln>
              <a:effectLst/>
            </c:spPr>
            <c:extLst>
              <c:ext xmlns:c16="http://schemas.microsoft.com/office/drawing/2014/chart" uri="{C3380CC4-5D6E-409C-BE32-E72D297353CC}">
                <c16:uniqueId val="{0000000B-E1FD-4851-A0E8-D5169135A429}"/>
              </c:ext>
            </c:extLst>
          </c:dPt>
          <c:dPt>
            <c:idx val="1"/>
            <c:bubble3D val="0"/>
            <c:spPr>
              <a:solidFill>
                <a:schemeClr val="accent2"/>
              </a:solidFill>
              <a:ln w="19050">
                <a:noFill/>
              </a:ln>
              <a:effectLst/>
            </c:spPr>
            <c:extLst>
              <c:ext xmlns:c16="http://schemas.microsoft.com/office/drawing/2014/chart" uri="{C3380CC4-5D6E-409C-BE32-E72D297353CC}">
                <c16:uniqueId val="{0000000C-E1FD-4851-A0E8-D5169135A429}"/>
              </c:ext>
            </c:extLst>
          </c:dPt>
          <c:dPt>
            <c:idx val="2"/>
            <c:bubble3D val="0"/>
            <c:spPr>
              <a:solidFill>
                <a:schemeClr val="accent3"/>
              </a:solidFill>
              <a:ln w="19050">
                <a:noFill/>
              </a:ln>
              <a:effectLst/>
            </c:spPr>
            <c:extLst>
              <c:ext xmlns:c16="http://schemas.microsoft.com/office/drawing/2014/chart" uri="{C3380CC4-5D6E-409C-BE32-E72D297353CC}">
                <c16:uniqueId val="{0000000A-E1FD-4851-A0E8-D5169135A429}"/>
              </c:ext>
            </c:extLst>
          </c:dPt>
          <c:val>
            <c:numRef>
              <c:f>Sheet1!$B$2:$B$4</c:f>
              <c:numCache>
                <c:formatCode>0%</c:formatCode>
                <c:ptCount val="3"/>
                <c:pt idx="0">
                  <c:v>0.01</c:v>
                </c:pt>
                <c:pt idx="1">
                  <c:v>0.01</c:v>
                </c:pt>
                <c:pt idx="2">
                  <c:v>0.01</c:v>
                </c:pt>
              </c:numCache>
            </c:numRef>
          </c:val>
          <c:extLst>
            <c:ext xmlns:c16="http://schemas.microsoft.com/office/drawing/2014/chart" uri="{C3380CC4-5D6E-409C-BE32-E72D297353CC}">
              <c16:uniqueId val="{00000009-E1FD-4851-A0E8-D5169135A429}"/>
            </c:ext>
          </c:extLst>
        </c:ser>
        <c:dLbls>
          <c:showLegendKey val="0"/>
          <c:showVal val="0"/>
          <c:showCatName val="0"/>
          <c:showSerName val="0"/>
          <c:showPercent val="0"/>
          <c:showBubbleSize val="0"/>
          <c:showLeaderLines val="1"/>
        </c:dLbls>
        <c:firstSliceAng val="0"/>
        <c:holeSize val="10"/>
      </c:doughnutChart>
      <c:spPr>
        <a:noFill/>
        <a:ln>
          <a:noFill/>
        </a:ln>
        <a:effectLst/>
      </c:spPr>
    </c:plotArea>
    <c:plotVisOnly val="1"/>
    <c:dispBlanksAs val="gap"/>
    <c:showDLblsOverMax val="0"/>
  </c:chart>
  <c:spPr>
    <a:noFill/>
    <a:ln>
      <a:noFill/>
    </a:ln>
    <a:effectLst/>
  </c:spPr>
  <c:txPr>
    <a:bodyPr/>
    <a:lstStyle/>
    <a:p>
      <a:pPr>
        <a:defRPr>
          <a:latin typeface="IBM Plex Sans" panose="020B0503050203000203" pitchFamily="34" charset="0"/>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A$1</c:f>
              <c:strCache>
                <c:ptCount val="1"/>
                <c:pt idx="0">
                  <c:v> </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D67-4EC9-8F0D-7AA114F4ACF7}"/>
              </c:ext>
            </c:extLst>
          </c:dPt>
          <c:val>
            <c:numRef>
              <c:f>Sheet1!$A$2</c:f>
              <c:numCache>
                <c:formatCode>General</c:formatCode>
                <c:ptCount val="1"/>
              </c:numCache>
            </c:numRef>
          </c:val>
          <c:extLst>
            <c:ext xmlns:c16="http://schemas.microsoft.com/office/drawing/2014/chart" uri="{C3380CC4-5D6E-409C-BE32-E72D297353CC}">
              <c16:uniqueId val="{00000006-6D67-4EC9-8F0D-7AA114F4ACF7}"/>
            </c:ext>
          </c:extLst>
        </c:ser>
        <c:ser>
          <c:idx val="1"/>
          <c:order val="1"/>
          <c:tx>
            <c:strRef>
              <c:f>Sheet1!$B$1</c:f>
              <c:strCache>
                <c:ptCount val="1"/>
                <c:pt idx="0">
                  <c:v>Column1</c:v>
                </c:pt>
              </c:strCache>
            </c:strRef>
          </c:tx>
          <c:spPr>
            <a:ln>
              <a:noFill/>
            </a:ln>
          </c:spPr>
          <c:dPt>
            <c:idx val="0"/>
            <c:bubble3D val="0"/>
            <c:spPr>
              <a:solidFill>
                <a:srgbClr val="5C68FD"/>
              </a:solidFill>
              <a:ln w="19050">
                <a:noFill/>
              </a:ln>
              <a:effectLst/>
            </c:spPr>
            <c:extLst>
              <c:ext xmlns:c16="http://schemas.microsoft.com/office/drawing/2014/chart" uri="{C3380CC4-5D6E-409C-BE32-E72D297353CC}">
                <c16:uniqueId val="{00000008-6D67-4EC9-8F0D-7AA114F4ACF7}"/>
              </c:ext>
            </c:extLst>
          </c:dPt>
          <c:val>
            <c:numRef>
              <c:f>Sheet1!$B$2</c:f>
              <c:numCache>
                <c:formatCode>0%</c:formatCode>
                <c:ptCount val="1"/>
                <c:pt idx="0">
                  <c:v>0.01</c:v>
                </c:pt>
              </c:numCache>
            </c:numRef>
          </c:val>
          <c:extLst>
            <c:ext xmlns:c16="http://schemas.microsoft.com/office/drawing/2014/chart" uri="{C3380CC4-5D6E-409C-BE32-E72D297353CC}">
              <c16:uniqueId val="{0000000D-6D67-4EC9-8F0D-7AA114F4ACF7}"/>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noFill/>
          <a:latin typeface="IBM Plex Sans" panose="020B0503050203000203"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19456" y="8705088"/>
            <a:ext cx="338328" cy="228600"/>
          </a:xfrm>
          <a:prstGeom prst="rect">
            <a:avLst/>
          </a:prstGeom>
        </p:spPr>
        <p:txBody>
          <a:bodyPr vert="horz" lIns="0" tIns="0" rIns="0" bIns="0" rtlCol="0" anchor="b"/>
          <a:lstStyle>
            <a:lvl1pPr algn="r">
              <a:defRPr sz="1200"/>
            </a:lvl1pPr>
          </a:lstStyle>
          <a:p>
            <a:pPr algn="l"/>
            <a:fld id="{614B4878-71CB-8F40-B9DD-F26F1F6CA014}" type="slidenum">
              <a:rPr lang="en-US" sz="600" smtClean="0">
                <a:solidFill>
                  <a:schemeClr val="bg1"/>
                </a:solidFill>
                <a:latin typeface="IBM Plex Sans Light" panose="020B0503050203000203" pitchFamily="34" charset="0"/>
                <a:ea typeface="IBM Plex Sans Light" charset="0"/>
                <a:cs typeface="IBM Plex Sans Light" charset="0"/>
              </a:rPr>
              <a:pPr algn="l"/>
              <a:t>‹#›</a:t>
            </a:fld>
            <a:endParaRPr lang="en-US" sz="600" dirty="0">
              <a:solidFill>
                <a:schemeClr val="bg1"/>
              </a:solidFill>
              <a:latin typeface="IBM Plex Sans Light" panose="020B0503050203000203" pitchFamily="34" charset="0"/>
              <a:ea typeface="IBM Plex Sans Light" charset="0"/>
              <a:cs typeface="IBM Plex Sans Light" charset="0"/>
            </a:endParaRPr>
          </a:p>
        </p:txBody>
      </p:sp>
      <p:sp>
        <p:nvSpPr>
          <p:cNvPr id="4" name="Footer Placeholder 3"/>
          <p:cNvSpPr>
            <a:spLocks noGrp="1"/>
          </p:cNvSpPr>
          <p:nvPr>
            <p:ph type="ftr" sz="quarter" idx="2"/>
          </p:nvPr>
        </p:nvSpPr>
        <p:spPr>
          <a:xfrm>
            <a:off x="630936" y="8705088"/>
            <a:ext cx="3657600" cy="228600"/>
          </a:xfrm>
          <a:prstGeom prst="rect">
            <a:avLst/>
          </a:prstGeom>
        </p:spPr>
        <p:txBody>
          <a:bodyPr vert="horz" lIns="0" tIns="0" rIns="0" bIns="0" rtlCol="0" anchor="b"/>
          <a:lstStyle>
            <a:lvl1pPr algn="l">
              <a:defRPr sz="1200"/>
            </a:lvl1pPr>
          </a:lstStyle>
          <a:p>
            <a:r>
              <a:rPr lang="en-US" sz="600" dirty="0">
                <a:solidFill>
                  <a:schemeClr val="bg1"/>
                </a:solidFill>
                <a:latin typeface="IBM Plex Sans Light" panose="020B0503050203000203" pitchFamily="34" charset="0"/>
                <a:ea typeface="IBM Plex Sans Light" charset="0"/>
                <a:cs typeface="IBM Plex Sans Light" charset="0"/>
              </a:rPr>
              <a:t>Group Name / DOC ID / Month XX, 2023 / © 2023 IBM Corporation</a:t>
            </a:r>
          </a:p>
        </p:txBody>
      </p:sp>
    </p:spTree>
    <p:extLst>
      <p:ext uri="{BB962C8B-B14F-4D97-AF65-F5344CB8AC3E}">
        <p14:creationId xmlns:p14="http://schemas.microsoft.com/office/powerpoint/2010/main" val="44802781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6710" y="228600"/>
            <a:ext cx="6419088" cy="3612324"/>
          </a:xfrm>
          <a:prstGeom prst="rect">
            <a:avLst/>
          </a:prstGeom>
          <a:noFill/>
          <a:ln w="12700">
            <a:solidFill>
              <a:prstClr val="black"/>
            </a:solidFill>
          </a:ln>
        </p:spPr>
        <p:txBody>
          <a:bodyPr vert="horz" lIns="91440" tIns="45720" rIns="91440" bIns="45720" rtlCol="0" anchor="ctr"/>
          <a:lstStyle/>
          <a:p>
            <a:endParaRPr lang="en-US" dirty="0"/>
          </a:p>
        </p:txBody>
      </p:sp>
      <p:sp>
        <p:nvSpPr>
          <p:cNvPr id="8" name="Notes Placeholder 7">
            <a:extLst>
              <a:ext uri="{FF2B5EF4-FFF2-40B4-BE49-F238E27FC236}">
                <a16:creationId xmlns:a16="http://schemas.microsoft.com/office/drawing/2014/main" id="{6ABF5568-9620-E34F-9423-054ABD0598F2}"/>
              </a:ext>
            </a:extLst>
          </p:cNvPr>
          <p:cNvSpPr>
            <a:spLocks noGrp="1"/>
          </p:cNvSpPr>
          <p:nvPr>
            <p:ph type="body" sz="quarter" idx="3"/>
          </p:nvPr>
        </p:nvSpPr>
        <p:spPr>
          <a:xfrm>
            <a:off x="206710" y="4087090"/>
            <a:ext cx="6419088" cy="4320309"/>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Slide Number Placeholder 6"/>
          <p:cNvSpPr>
            <a:spLocks noGrp="1"/>
          </p:cNvSpPr>
          <p:nvPr>
            <p:ph type="sldNum" sz="quarter" idx="5"/>
          </p:nvPr>
        </p:nvSpPr>
        <p:spPr>
          <a:xfrm>
            <a:off x="6300216" y="8705088"/>
            <a:ext cx="338328" cy="228600"/>
          </a:xfrm>
          <a:prstGeom prst="rect">
            <a:avLst/>
          </a:prstGeom>
        </p:spPr>
        <p:txBody>
          <a:bodyPr vert="horz" lIns="0" tIns="0" rIns="0" bIns="0" rtlCol="0" anchor="b"/>
          <a:lstStyle>
            <a:lvl1pPr algn="r">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fld id="{6E2E38B8-B0B4-AD41-AC6E-B781F46A9FD3}" type="slidenum">
              <a:rPr lang="en-US" smtClean="0"/>
              <a:pPr/>
              <a:t>‹#›</a:t>
            </a:fld>
            <a:endParaRPr lang="en-US" dirty="0"/>
          </a:p>
        </p:txBody>
      </p:sp>
      <p:sp>
        <p:nvSpPr>
          <p:cNvPr id="6" name="Footer Placeholder 5"/>
          <p:cNvSpPr>
            <a:spLocks noGrp="1"/>
          </p:cNvSpPr>
          <p:nvPr>
            <p:ph type="ftr" sz="quarter" idx="4"/>
          </p:nvPr>
        </p:nvSpPr>
        <p:spPr>
          <a:xfrm>
            <a:off x="219456" y="8705088"/>
            <a:ext cx="3657600" cy="228600"/>
          </a:xfrm>
          <a:prstGeom prst="rect">
            <a:avLst/>
          </a:prstGeom>
        </p:spPr>
        <p:txBody>
          <a:bodyPr vert="horz" lIns="0" tIns="0" rIns="0" bIns="0" rtlCol="0" anchor="b"/>
          <a:lstStyle>
            <a:lvl1pPr algn="l">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r>
              <a:rPr lang="en-US" dirty="0"/>
              <a:t>Footer</a:t>
            </a:r>
          </a:p>
        </p:txBody>
      </p:sp>
    </p:spTree>
    <p:extLst>
      <p:ext uri="{BB962C8B-B14F-4D97-AF65-F5344CB8AC3E}">
        <p14:creationId xmlns:p14="http://schemas.microsoft.com/office/powerpoint/2010/main" val="791598581"/>
      </p:ext>
    </p:extLst>
  </p:cSld>
  <p:clrMap bg1="lt1" tx1="dk1" bg2="lt2" tx2="dk2" accent1="accent1" accent2="accent2" accent3="accent3" accent4="accent4" accent5="accent5" accent6="accent6" hlink="hlink" folHlink="folHlink"/>
  <p:hf hdr="0" ftr="0" dt="0"/>
  <p:notesStyle>
    <a:lvl1pPr marL="0" algn="l" defTabSz="2438522" rtl="0" eaLnBrk="1" latinLnBrk="0" hangingPunct="1">
      <a:lnSpc>
        <a:spcPct val="110000"/>
      </a:lnSpc>
      <a:spcBef>
        <a:spcPts val="0"/>
      </a:spcBef>
      <a:defRPr sz="1000" b="0" i="0" kern="1200">
        <a:solidFill>
          <a:schemeClr val="bg1"/>
        </a:solidFill>
        <a:latin typeface="IBM Plex Sans Light" panose="020B0403050203000203" pitchFamily="34" charset="0"/>
        <a:ea typeface="+mn-ea"/>
        <a:cs typeface="+mn-cs"/>
      </a:defRPr>
    </a:lvl1pPr>
    <a:lvl2pPr marL="465690" indent="-452991" algn="l" defTabSz="2438522" rtl="0" eaLnBrk="1" latinLnBrk="0" hangingPunct="1">
      <a:lnSpc>
        <a:spcPct val="110000"/>
      </a:lnSpc>
      <a:spcBef>
        <a:spcPts val="0"/>
      </a:spcBef>
      <a:buClr>
        <a:schemeClr val="bg1"/>
      </a:buClr>
      <a:buFont typeface="Arial" panose="020B0604020202020204" pitchFamily="34" charset="0"/>
      <a:buChar char="•"/>
      <a:tabLst/>
      <a:defRPr sz="1000" b="0" i="0" kern="1200">
        <a:solidFill>
          <a:schemeClr val="bg1"/>
        </a:solidFill>
        <a:latin typeface="IBM Plex Sans Light" panose="020B0403050203000203" pitchFamily="34" charset="0"/>
        <a:ea typeface="+mn-ea"/>
        <a:cs typeface="+mn-cs"/>
      </a:defRPr>
    </a:lvl2pPr>
    <a:lvl3pPr marL="926638" indent="-463319" algn="l" defTabSz="2438522" rtl="0" eaLnBrk="1" latinLnBrk="0" hangingPunct="1">
      <a:lnSpc>
        <a:spcPct val="110000"/>
      </a:lnSpc>
      <a:spcBef>
        <a:spcPts val="0"/>
      </a:spcBef>
      <a:buClr>
        <a:schemeClr val="bg1"/>
      </a:buClr>
      <a:buFont typeface="Arial" panose="020B0604020202020204" pitchFamily="34" charset="0"/>
      <a:buChar char="•"/>
      <a:tabLst/>
      <a:defRPr sz="1000" b="0" i="0" kern="1200">
        <a:solidFill>
          <a:schemeClr val="bg1"/>
        </a:solidFill>
        <a:latin typeface="IBM Plex Sans Light" panose="020B0403050203000203" pitchFamily="34" charset="0"/>
        <a:ea typeface="+mn-ea"/>
        <a:cs typeface="+mn-cs"/>
      </a:defRPr>
    </a:lvl3pPr>
    <a:lvl4pPr marL="1682580" indent="-463319" algn="l" defTabSz="2438522" rtl="0" eaLnBrk="1" latinLnBrk="0" hangingPunct="1">
      <a:lnSpc>
        <a:spcPct val="110000"/>
      </a:lnSpc>
      <a:spcBef>
        <a:spcPts val="0"/>
      </a:spcBef>
      <a:buClr>
        <a:schemeClr val="bg1"/>
      </a:buClr>
      <a:buFont typeface="Arial" panose="020B0604020202020204" pitchFamily="34" charset="0"/>
      <a:buChar char="•"/>
      <a:tabLst/>
      <a:defRPr sz="1000" b="0" i="0" kern="1200">
        <a:solidFill>
          <a:schemeClr val="bg1"/>
        </a:solidFill>
        <a:latin typeface="IBM Plex Sans Light" panose="020B0403050203000203" pitchFamily="34" charset="0"/>
        <a:ea typeface="+mn-ea"/>
        <a:cs typeface="+mn-cs"/>
      </a:defRPr>
    </a:lvl4pPr>
    <a:lvl5pPr marL="465690" marR="0" indent="-452991" algn="l" defTabSz="2438522" rtl="0" eaLnBrk="1" fontAlgn="base" latinLnBrk="0" hangingPunct="1">
      <a:lnSpc>
        <a:spcPct val="100000"/>
      </a:lnSpc>
      <a:spcBef>
        <a:spcPts val="1600"/>
      </a:spcBef>
      <a:spcAft>
        <a:spcPct val="0"/>
      </a:spcAft>
      <a:buClr>
        <a:srgbClr val="000000"/>
      </a:buClr>
      <a:buSzTx/>
      <a:buFont typeface="IBM Plex Sans Light" charset="-120"/>
      <a:buChar char="»"/>
      <a:tabLst/>
      <a:defRPr sz="2000" b="0" i="0" kern="1200">
        <a:solidFill>
          <a:schemeClr val="bg1"/>
        </a:solidFill>
        <a:latin typeface="IBM Plex Sans Light" panose="020B0503050203000203" pitchFamily="34" charset="0"/>
        <a:ea typeface="+mn-ea"/>
        <a:cs typeface="+mn-cs"/>
      </a:defRPr>
    </a:lvl5pPr>
    <a:lvl6pPr marL="6096305" algn="l" defTabSz="2438522" rtl="0" eaLnBrk="1" latinLnBrk="0" hangingPunct="1">
      <a:defRPr sz="3200" kern="1200">
        <a:solidFill>
          <a:schemeClr val="tx1"/>
        </a:solidFill>
        <a:latin typeface="+mn-lt"/>
        <a:ea typeface="+mn-ea"/>
        <a:cs typeface="+mn-cs"/>
      </a:defRPr>
    </a:lvl6pPr>
    <a:lvl7pPr marL="7315566" algn="l" defTabSz="2438522" rtl="0" eaLnBrk="1" latinLnBrk="0" hangingPunct="1">
      <a:defRPr sz="3200" kern="1200">
        <a:solidFill>
          <a:schemeClr val="tx1"/>
        </a:solidFill>
        <a:latin typeface="+mn-lt"/>
        <a:ea typeface="+mn-ea"/>
        <a:cs typeface="+mn-cs"/>
      </a:defRPr>
    </a:lvl7pPr>
    <a:lvl8pPr marL="8534827" algn="l" defTabSz="2438522" rtl="0" eaLnBrk="1" latinLnBrk="0" hangingPunct="1">
      <a:defRPr sz="3200" kern="1200">
        <a:solidFill>
          <a:schemeClr val="tx1"/>
        </a:solidFill>
        <a:latin typeface="+mn-lt"/>
        <a:ea typeface="+mn-ea"/>
        <a:cs typeface="+mn-cs"/>
      </a:defRPr>
    </a:lvl8pPr>
    <a:lvl9pPr marL="9754088" algn="l" defTabSz="2438522" rtl="0" eaLnBrk="1" latinLnBrk="0" hangingPunct="1">
      <a:defRPr sz="3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ibm.com/watsonx" TargetMode="External"/><Relationship Id="rId7" Type="http://schemas.openxmlformats.org/officeDocument/2006/relationships/hyperlink" Target="https://www.credly.com/org/ibm/badge/watsonx-orchestrate-sales-foundation" TargetMode="External"/><Relationship Id="rId2" Type="http://schemas.openxmlformats.org/officeDocument/2006/relationships/slide" Target="../slides/slide1.xml"/><Relationship Id="rId1" Type="http://schemas.openxmlformats.org/officeDocument/2006/relationships/notesMaster" Target="../notesMasters/notesMaster1.xml"/><Relationship Id="rId6" Type="http://schemas.openxmlformats.org/officeDocument/2006/relationships/hyperlink" Target="https://learn.ibm.com/course/view.php?id=13175" TargetMode="External"/><Relationship Id="rId5" Type="http://schemas.openxmlformats.org/officeDocument/2006/relationships/hyperlink" Target="https://yourlearning.ibm.com/activity/PLAN-402D037C5668" TargetMode="External"/><Relationship Id="rId4" Type="http://schemas.openxmlformats.org/officeDocument/2006/relationships/hyperlink" Target="https://ibm.seismic.com/Link/Content/DCbHf2RCFTPf3G9Cc2PBGggJWfGV"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ibm.com/case-studies/avid-solutions-international" TargetMode="External"/><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https://www.ibm.com/case-studies/ibm-human-resources-watsonx-orchestrate" TargetMode="External"/><Relationship Id="rId5" Type="http://schemas.openxmlformats.org/officeDocument/2006/relationships/hyperlink" Target="https://www.ibm.com/case-studies/flocareer" TargetMode="External"/><Relationship Id="rId4" Type="http://schemas.openxmlformats.org/officeDocument/2006/relationships/hyperlink" Target="https://www.ibm.com/case-studies/sport-clips"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ibm.com/account/reg/us-en/signup?formid=urx-52411"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Welcome to the IBM watsonx Orchestrate client presentation. </a:t>
            </a:r>
            <a:r>
              <a:rPr lang="en-US" sz="1000" b="0" i="0" kern="1200" dirty="0">
                <a:solidFill>
                  <a:schemeClr val="bg1"/>
                </a:solidFill>
                <a:latin typeface="+mn-lt"/>
                <a:ea typeface="+mn-ea"/>
                <a:cs typeface="Arial" panose="020B0604020202020204" pitchFamily="34" charset="0"/>
              </a:rPr>
              <a:t>The objective of this presentation is to enable sellers how to present watson</a:t>
            </a:r>
            <a:r>
              <a:rPr lang="en-US" dirty="0">
                <a:latin typeface="+mn-lt"/>
                <a:cs typeface="Arial" panose="020B0604020202020204" pitchFamily="34" charset="0"/>
              </a:rPr>
              <a:t>x Orchestrate to prospective and existing clients.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effectLst/>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This presentation assumes that both the seller and their target audience are familiar with watsonx, IBM’s AI and data platform, and how clients across many different industries are using it to augment their business performance and productivity to effectively compete in the marketplace.</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Clients wishing to learn more about IBM watsonx Orchestrate can access the link below.</a:t>
            </a: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dirty="0">
                <a:latin typeface="+mn-lt"/>
                <a:hlinkClick r:id="rId3"/>
              </a:rPr>
              <a:t>https://www.ibm.com/watsonx</a:t>
            </a:r>
            <a:endParaRPr lang="en-US" sz="1000"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b="1" dirty="0">
                <a:latin typeface="+mn-lt"/>
              </a:rPr>
              <a:t>Note to sellers:</a:t>
            </a:r>
            <a:r>
              <a:rPr lang="en-US" b="1" dirty="0">
                <a:latin typeface="+mn-lt"/>
              </a:rPr>
              <a:t> </a:t>
            </a:r>
            <a:endParaRPr lang="en-US" sz="1000"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0" dirty="0">
                <a:latin typeface="+mn-lt"/>
              </a:rPr>
              <a:t>Replace the current contact information with your name, title, and contact details on the title slide.</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dirty="0">
                <a:latin typeface="+mn-lt"/>
              </a:rPr>
              <a:t>For the most recent client presentation, please reference the watsonX Orchestrate Sales Kit on Seismic:</a:t>
            </a:r>
            <a:br>
              <a:rPr lang="en-US" dirty="0">
                <a:latin typeface="+mn-lt"/>
              </a:rPr>
            </a:br>
            <a:r>
              <a:rPr lang="en-US" dirty="0">
                <a:effectLst/>
                <a:latin typeface="+mn-lt"/>
                <a:hlinkClick r:id="rId4"/>
              </a:rPr>
              <a:t>https://ibm.seismic.com/Link/Content/DCbHf2RCFTPf3G9Cc2PBGggJWfGV</a:t>
            </a:r>
            <a:endParaRPr lang="en-US" b="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dirty="0">
                <a:latin typeface="+mn-lt"/>
              </a:rPr>
              <a:t>AI Fundamentals Level 1 course:</a:t>
            </a:r>
            <a:br>
              <a:rPr lang="en-US" dirty="0">
                <a:latin typeface="+mn-lt"/>
              </a:rPr>
            </a:br>
            <a:r>
              <a:rPr lang="en-US" dirty="0">
                <a:latin typeface="+mn-lt"/>
                <a:hlinkClick r:id="rId5"/>
              </a:rPr>
              <a:t>https://yourlearning.ibm.com/activity/PLAN-402D037C5668</a:t>
            </a:r>
            <a:r>
              <a:rPr lang="en-US" dirty="0">
                <a:latin typeface="+mn-lt"/>
              </a:rPr>
              <a:t> (IBM)</a:t>
            </a:r>
            <a:br>
              <a:rPr lang="en-US" dirty="0">
                <a:latin typeface="+mn-lt"/>
              </a:rPr>
            </a:br>
            <a:r>
              <a:rPr lang="en-US" dirty="0">
                <a:latin typeface="+mn-lt"/>
                <a:hlinkClick r:id="rId6"/>
              </a:rPr>
              <a:t>https://learn.ibm.com/course/view.php?id=13175</a:t>
            </a:r>
            <a:r>
              <a:rPr lang="en-US" dirty="0">
                <a:latin typeface="+mn-lt"/>
              </a:rPr>
              <a:t> (Partner Plus)</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dirty="0">
                <a:latin typeface="+mn-lt"/>
              </a:rPr>
              <a:t>Badge related to the course:</a:t>
            </a:r>
            <a:br>
              <a:rPr lang="en-US" dirty="0">
                <a:latin typeface="+mn-lt"/>
              </a:rPr>
            </a:br>
            <a:r>
              <a:rPr lang="en-US" dirty="0">
                <a:latin typeface="+mn-lt"/>
                <a:hlinkClick r:id="rId7"/>
              </a:rPr>
              <a:t>https://www.credly.com/org/ibm/badge/watsonx-orchestrate-sales-foundation</a:t>
            </a:r>
            <a:br>
              <a:rPr lang="en-US" dirty="0">
                <a:latin typeface="+mn-lt"/>
              </a:rPr>
            </a:br>
            <a:endParaRPr lang="en-US" dirty="0">
              <a:latin typeface="+mn-lt"/>
            </a:endParaRPr>
          </a:p>
          <a:p>
            <a:pPr marR="0" lvl="0" algn="l" defTabSz="2438522" rtl="0" eaLnBrk="1" fontAlgn="auto" latinLnBrk="0" hangingPunct="1">
              <a:lnSpc>
                <a:spcPct val="110000"/>
              </a:lnSpc>
              <a:spcBef>
                <a:spcPts val="0"/>
              </a:spcBef>
              <a:spcAft>
                <a:spcPts val="0"/>
              </a:spcAft>
              <a:buClrTx/>
              <a:buSzTx/>
              <a:tabLst/>
              <a:defRPr/>
            </a:pPr>
            <a:r>
              <a:rPr lang="en-US" sz="1000" b="1" u="sng" dirty="0">
                <a:latin typeface="+mn-lt"/>
              </a:rPr>
              <a:t>Acronyms </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ACE </a:t>
            </a:r>
            <a:r>
              <a:rPr lang="en-US" dirty="0">
                <a:latin typeface="+mn-lt"/>
              </a:rPr>
              <a:t>- App Connect Enterprise</a:t>
            </a:r>
            <a:endParaRPr lang="en-US"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i="0" u="none" strike="noStrike" dirty="0">
                <a:solidFill>
                  <a:srgbClr val="000000"/>
                </a:solidFill>
                <a:effectLst/>
                <a:latin typeface="+mn-lt"/>
              </a:rPr>
              <a:t>API - </a:t>
            </a:r>
            <a:r>
              <a:rPr lang="en-US" sz="1000" i="0" u="none" strike="noStrike" dirty="0">
                <a:solidFill>
                  <a:srgbClr val="000000"/>
                </a:solidFill>
                <a:effectLst/>
                <a:latin typeface="+mn-lt"/>
              </a:rPr>
              <a:t>Application Programming Interface</a:t>
            </a:r>
            <a:endParaRPr lang="en-US" sz="1000" b="1" i="0" u="none" strike="noStrike" dirty="0">
              <a:solidFill>
                <a:srgbClr val="000000"/>
              </a:solidFill>
              <a:effectLst/>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AI</a:t>
            </a:r>
            <a:r>
              <a:rPr lang="en-US" dirty="0">
                <a:latin typeface="+mn-lt"/>
              </a:rPr>
              <a:t> – Artificial Intelligence</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Gen AI </a:t>
            </a:r>
            <a:r>
              <a:rPr lang="en-US" dirty="0">
                <a:latin typeface="+mn-lt"/>
              </a:rPr>
              <a:t>– generative AI</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HR</a:t>
            </a:r>
            <a:r>
              <a:rPr lang="en-US" dirty="0">
                <a:latin typeface="+mn-lt"/>
              </a:rPr>
              <a:t> – Human Resources</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IT </a:t>
            </a:r>
            <a:r>
              <a:rPr lang="en-US" dirty="0">
                <a:latin typeface="+mn-lt"/>
              </a:rPr>
              <a:t>– Information Technology</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LLM</a:t>
            </a:r>
            <a:r>
              <a:rPr lang="en-US" dirty="0">
                <a:latin typeface="+mn-lt"/>
              </a:rPr>
              <a:t> – Large Language Model</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OOTB</a:t>
            </a:r>
            <a:r>
              <a:rPr lang="en-US" b="0" dirty="0">
                <a:latin typeface="+mn-lt"/>
              </a:rPr>
              <a:t> – Out-of-the-box</a:t>
            </a:r>
            <a:endParaRPr lang="en-US"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Orchestrate </a:t>
            </a:r>
            <a:r>
              <a:rPr lang="en-US" dirty="0">
                <a:latin typeface="+mn-lt"/>
              </a:rPr>
              <a:t>– IBM watsonx Orchestrate™</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OS</a:t>
            </a:r>
            <a:r>
              <a:rPr lang="en-US" dirty="0">
                <a:latin typeface="+mn-lt"/>
              </a:rPr>
              <a:t> - OpenScale</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Req</a:t>
            </a:r>
            <a:r>
              <a:rPr lang="en-US" dirty="0">
                <a:latin typeface="+mn-lt"/>
              </a:rPr>
              <a:t> – Requisition</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RPA</a:t>
            </a:r>
            <a:r>
              <a:rPr lang="en-US" dirty="0">
                <a:latin typeface="+mn-lt"/>
              </a:rPr>
              <a:t> – Robotic Process Automation</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SaaS</a:t>
            </a:r>
            <a:r>
              <a:rPr lang="en-US" dirty="0">
                <a:latin typeface="+mn-lt"/>
              </a:rPr>
              <a:t> – Software as a Service</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i="0" u="none" strike="noStrike" dirty="0">
                <a:solidFill>
                  <a:srgbClr val="000000"/>
                </a:solidFill>
                <a:effectLst/>
                <a:latin typeface="+mn-lt"/>
              </a:rPr>
              <a:t>SDK</a:t>
            </a:r>
            <a:r>
              <a:rPr lang="en-US" sz="1000" i="0" u="none" strike="noStrike" dirty="0">
                <a:solidFill>
                  <a:srgbClr val="000000"/>
                </a:solidFill>
                <a:effectLst/>
                <a:latin typeface="+mn-lt"/>
              </a:rPr>
              <a:t> -</a:t>
            </a:r>
            <a:r>
              <a:rPr lang="en-US" sz="1000" b="1" i="0" u="none" strike="noStrike" dirty="0">
                <a:solidFill>
                  <a:srgbClr val="000000"/>
                </a:solidFill>
                <a:effectLst/>
                <a:latin typeface="+mn-lt"/>
              </a:rPr>
              <a:t> </a:t>
            </a:r>
            <a:r>
              <a:rPr lang="en-US" sz="1000" b="0" i="0" u="none" strike="noStrike" dirty="0">
                <a:solidFill>
                  <a:srgbClr val="000000"/>
                </a:solidFill>
                <a:effectLst/>
                <a:latin typeface="+mn-lt"/>
              </a:rPr>
              <a:t>Software Development Kit</a:t>
            </a:r>
            <a:endParaRPr lang="en-US" sz="1000" b="0" i="0" dirty="0">
              <a:solidFill>
                <a:srgbClr val="444444"/>
              </a:solidFill>
              <a:effectLst/>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WO</a:t>
            </a:r>
            <a:r>
              <a:rPr lang="en-US" dirty="0">
                <a:latin typeface="+mn-lt"/>
              </a:rPr>
              <a:t> – IBM watsonx Orchestrate™</a:t>
            </a:r>
          </a:p>
          <a:p>
            <a:pPr marR="0" lvl="0" algn="l" defTabSz="2438522" rtl="0" eaLnBrk="1" fontAlgn="auto" latinLnBrk="0" hangingPunct="1">
              <a:lnSpc>
                <a:spcPct val="110000"/>
              </a:lnSpc>
              <a:spcBef>
                <a:spcPts val="0"/>
              </a:spcBef>
              <a:spcAft>
                <a:spcPts val="0"/>
              </a:spcAft>
              <a:buClrTx/>
              <a:buSzTx/>
              <a:tabLst/>
              <a:defRPr/>
            </a:pPr>
            <a:endParaRPr lang="en-US" dirty="0">
              <a:latin typeface="+mn-lt"/>
            </a:endParaRPr>
          </a:p>
          <a:p>
            <a:pPr marR="0" lvl="0" algn="l" defTabSz="2438522" rtl="0" eaLnBrk="1" fontAlgn="auto" latinLnBrk="0" hangingPunct="1">
              <a:lnSpc>
                <a:spcPct val="110000"/>
              </a:lnSpc>
              <a:spcBef>
                <a:spcPts val="0"/>
              </a:spcBef>
              <a:spcAft>
                <a:spcPts val="0"/>
              </a:spcAft>
              <a:buClrTx/>
              <a:buSzTx/>
              <a:tabLst/>
              <a:defRPr/>
            </a:pPr>
            <a:endParaRPr lang="en-US" dirty="0">
              <a:latin typeface="+mn-lt"/>
            </a:endParaRPr>
          </a:p>
          <a:p>
            <a:pPr marR="0" lvl="0" algn="l" defTabSz="2438522" rtl="0" eaLnBrk="1" fontAlgn="auto" latinLnBrk="0" hangingPunct="1">
              <a:lnSpc>
                <a:spcPct val="110000"/>
              </a:lnSpc>
              <a:spcBef>
                <a:spcPts val="0"/>
              </a:spcBef>
              <a:spcAft>
                <a:spcPts val="0"/>
              </a:spcAft>
              <a:buClrTx/>
              <a:buSzTx/>
              <a:tabLst/>
              <a:defRPr/>
            </a:pPr>
            <a:endParaRPr lang="en-US" dirty="0">
              <a:latin typeface="+mn-lt"/>
            </a:endParaRPr>
          </a:p>
          <a:p>
            <a:pPr marR="0" lvl="0" algn="l" defTabSz="2438522" rtl="0" eaLnBrk="1" fontAlgn="auto" latinLnBrk="0" hangingPunct="1">
              <a:lnSpc>
                <a:spcPct val="110000"/>
              </a:lnSpc>
              <a:spcBef>
                <a:spcPts val="0"/>
              </a:spcBef>
              <a:spcAft>
                <a:spcPts val="0"/>
              </a:spcAft>
              <a:buClrTx/>
              <a:buSzTx/>
              <a:tabLst/>
              <a:defRPr/>
            </a:pPr>
            <a:endParaRPr lang="en-US" dirty="0">
              <a:latin typeface="+mn-lt"/>
            </a:endParaRPr>
          </a:p>
          <a:p>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1</a:t>
            </a:fld>
            <a:endParaRPr lang="en-US" dirty="0"/>
          </a:p>
        </p:txBody>
      </p:sp>
    </p:spTree>
    <p:extLst>
      <p:ext uri="{BB962C8B-B14F-4D97-AF65-F5344CB8AC3E}">
        <p14:creationId xmlns:p14="http://schemas.microsoft.com/office/powerpoint/2010/main" val="37093960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8000" dirty="0"/>
              <a:t>IBM’s AI Assistants are designed to help customers, employees, and knowledge workers fulfill complex tasks. These are not meant to be co-pilots.  These AI Assistants augment existing productivity tools, bring in critical knowledge, infuse Gen AI to fast track users through tasks to ensure highest levels of productivity and quality outcome. </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Helvetica Neue"/>
                <a:cs typeface="Helvetica Neue"/>
                <a:sym typeface="Helvetica Neue"/>
              </a:rPr>
              <a:pPr marL="0" marR="0" lvl="0" indent="0" algn="r" defTabSz="1829379" rtl="0" eaLnBrk="1" fontAlgn="auto" latinLnBrk="0" hangingPunct="1">
                <a:lnSpc>
                  <a:spcPct val="100000"/>
                </a:lnSpc>
                <a:spcBef>
                  <a:spcPts val="0"/>
                </a:spcBef>
                <a:spcAft>
                  <a:spcPts val="0"/>
                </a:spcAft>
                <a:buClrTx/>
                <a:buSzTx/>
                <a:buFontTx/>
                <a:buNone/>
                <a:tabLst/>
                <a:defRPr/>
              </a:pPr>
              <a:t>10</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Helvetica Neue"/>
              <a:cs typeface="Helvetica Neue"/>
              <a:sym typeface="Helvetica Neue"/>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Helvetica Neue"/>
                <a:cs typeface="Helvetica Neue"/>
                <a:sym typeface="Helvetica Neue"/>
              </a:rPr>
              <a:t>Footer</a:t>
            </a:r>
          </a:p>
        </p:txBody>
      </p:sp>
    </p:spTree>
    <p:extLst>
      <p:ext uri="{BB962C8B-B14F-4D97-AF65-F5344CB8AC3E}">
        <p14:creationId xmlns:p14="http://schemas.microsoft.com/office/powerpoint/2010/main" val="10982983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12065" lvl="1" indent="0" defTabSz="914416">
              <a:buNone/>
              <a:defRPr/>
            </a:pPr>
            <a:r>
              <a:rPr lang="en-US" dirty="0">
                <a:latin typeface="IBM Plex Sans Light"/>
                <a:cs typeface="Calibri"/>
              </a:rPr>
              <a:t>Employees and customers can leverage AI Assistants like watsonx Orchestrate to automate complex processes involving the multiple tools they already use everyday. The AI Assistants leverage large language models to understand and guide the users through complex processes and orchestrate the existing and new automations to get things done. </a:t>
            </a:r>
          </a:p>
          <a:p>
            <a:pPr marL="12065" lvl="1" indent="0" defTabSz="914416">
              <a:buNone/>
              <a:defRPr/>
            </a:pPr>
            <a:endParaRPr lang="en-US" dirty="0">
              <a:latin typeface="IBM Plex Sans Light"/>
              <a:cs typeface="Calibri"/>
            </a:endParaRPr>
          </a:p>
          <a:p>
            <a:pPr marL="12065" marR="0" lvl="1" indent="0" algn="l" defTabSz="914416" rtl="0" eaLnBrk="1" fontAlgn="auto" latinLnBrk="0" hangingPunct="1">
              <a:lnSpc>
                <a:spcPct val="110000"/>
              </a:lnSpc>
              <a:spcBef>
                <a:spcPts val="0"/>
              </a:spcBef>
              <a:spcAft>
                <a:spcPts val="0"/>
              </a:spcAft>
              <a:buClr>
                <a:schemeClr val="bg1"/>
              </a:buClr>
              <a:buSzTx/>
              <a:buFont typeface="Arial" panose="020B0604020202020204" pitchFamily="34" charset="0"/>
              <a:buNone/>
              <a:tabLst/>
              <a:defRPr/>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Picture an HR Talent Recruiter – typically they’re jumping from Workday to Excel to Outlook to LinkedIn, stitching and manipulating data, switching screens, waiting for manager’s approvals. It’s a frustrating experience for employees and hampers enterprise productivity.</a:t>
            </a:r>
            <a:endParaRPr lang="en-US" dirty="0">
              <a:latin typeface="IBM Plex Sans Light"/>
              <a:cs typeface="Calibri"/>
            </a:endParaRPr>
          </a:p>
          <a:p>
            <a:pPr marL="12065" lvl="1" indent="0" defTabSz="914416">
              <a:buNone/>
              <a:defRPr/>
            </a:pPr>
            <a:endParaRPr lang="en-US" dirty="0">
              <a:latin typeface="IBM Plex Sans Light"/>
              <a:cs typeface="Calibri"/>
            </a:endParaRPr>
          </a:p>
          <a:p>
            <a:pPr marL="12065" lvl="1" indent="0" defTabSz="914416">
              <a:buNone/>
              <a:defRPr/>
            </a:pPr>
            <a:r>
              <a:rPr lang="en-US" dirty="0">
                <a:latin typeface="IBM Plex Sans Light"/>
                <a:cs typeface="Calibri"/>
              </a:rPr>
              <a:t>AI Assistants use foundation models to manage skill execution – skills being digital automations that wrapper integrations to applications, systems, workflows and AI models – and ultimately reduce the time and effort the employee spends accomplishing a single task.    </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Helvetica Neue"/>
                <a:cs typeface="Helvetica Neue"/>
                <a:sym typeface="Helvetica Neue"/>
              </a:rPr>
              <a:pPr marL="0" marR="0" lvl="0" indent="0" algn="r" defTabSz="1829379" rtl="0" eaLnBrk="1" fontAlgn="auto" latinLnBrk="0" hangingPunct="1">
                <a:lnSpc>
                  <a:spcPct val="100000"/>
                </a:lnSpc>
                <a:spcBef>
                  <a:spcPts val="0"/>
                </a:spcBef>
                <a:spcAft>
                  <a:spcPts val="0"/>
                </a:spcAft>
                <a:buClrTx/>
                <a:buSzTx/>
                <a:buFontTx/>
                <a:buNone/>
                <a:tabLst/>
                <a:defRPr/>
              </a:pPr>
              <a:t>11</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Helvetica Neue"/>
              <a:cs typeface="Helvetica Neue"/>
              <a:sym typeface="Helvetica Neue"/>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Helvetica Neue"/>
                <a:cs typeface="Helvetica Neue"/>
                <a:sym typeface="Helvetica Neue"/>
              </a:rPr>
              <a:t>Footer</a:t>
            </a:r>
          </a:p>
        </p:txBody>
      </p:sp>
    </p:spTree>
    <p:extLst>
      <p:ext uri="{BB962C8B-B14F-4D97-AF65-F5344CB8AC3E}">
        <p14:creationId xmlns:p14="http://schemas.microsoft.com/office/powerpoint/2010/main" val="30953627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b="0" dirty="0">
                <a:effectLst/>
                <a:latin typeface="+mn-lt"/>
              </a:rPr>
              <a:t>IBM watsonx Orchestrate is the platform through which IBM delivers AI assistants for enterprise productivity.</a:t>
            </a:r>
          </a:p>
          <a:p>
            <a:endParaRPr lang="en-US" b="0" dirty="0">
              <a:effectLst/>
              <a:latin typeface="+mn-lt"/>
            </a:endParaRPr>
          </a:p>
          <a:p>
            <a:r>
              <a:rPr lang="en-US" b="0" dirty="0">
                <a:effectLst/>
                <a:latin typeface="+mn-lt"/>
              </a:rPr>
              <a:t>Orchestrate has a highly conversational front-end experience for customers, employees, and experts. Through that conversational experience, Orchestrate is able to invoke advanced skills of various types, including generative AI and automation skills. Automation skills will execute automations, allowing the expert or employee to fast track through the outcome they set out to achieve. </a:t>
            </a:r>
          </a:p>
          <a:p>
            <a:endParaRPr lang="en-US" b="0" dirty="0">
              <a:effectLst/>
              <a:latin typeface="+mn-lt"/>
            </a:endParaRPr>
          </a:p>
          <a:p>
            <a:r>
              <a:rPr lang="en-US" b="0" dirty="0">
                <a:effectLst/>
                <a:latin typeface="+mn-lt"/>
              </a:rPr>
              <a:t>Using Orchestrate, enterprises are now able to democratize the availability of those automations through a simple natural language interface, which all users can easily access. Generative AI comes in handy as it powers the conversational experience, and it can also power different levels of self-service</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cs typeface="Calibri"/>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b="1" dirty="0">
                <a:latin typeface="+mn-lt"/>
                <a:cs typeface="Calibri"/>
              </a:rPr>
              <a:t>Acronyms:</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cs typeface="Calibri"/>
              </a:rPr>
              <a:t>SME</a:t>
            </a:r>
            <a:r>
              <a:rPr lang="en-US" dirty="0">
                <a:latin typeface="+mn-lt"/>
                <a:cs typeface="Calibri"/>
              </a:rPr>
              <a:t> – Subject matter expert</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2</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7451351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sz="1200" b="0" dirty="0">
                <a:effectLst/>
                <a:latin typeface="+mn-lt"/>
              </a:rPr>
              <a:t>IBM watsonx Orchestrate offers a unified platform for builders to launch and manage AI assistants at </a:t>
            </a:r>
            <a:r>
              <a:rPr lang="en-US" sz="1200" b="0" dirty="0" err="1">
                <a:effectLst/>
                <a:latin typeface="+mn-lt"/>
              </a:rPr>
              <a:t>scale.It</a:t>
            </a:r>
            <a:r>
              <a:rPr lang="en-US" sz="1200" b="0" dirty="0">
                <a:effectLst/>
                <a:latin typeface="+mn-lt"/>
              </a:rPr>
              <a:t> includes an assistant assembler to design and build sophisticated AI assistants that can actually guide users through complex actions. Orchestrate contains a comprehensive skills catalog with thousands of prebuilt skills across HR, finance, procurement, and sales. Orchestrate can also connect to IBM automation systems as well as third party vendor automation systems. If those automations don't exist, builders have access to a low-code, simplified offering automation builder. Builders can then build automations and trigger them as skills directly from Orchestrate. Orchestrate has enterprise readiness components that includes catalog management, analytics and access and federated controls to ensure that the implementation remains aligned to the security and compliance controls of an enterprise.</a:t>
            </a:r>
          </a:p>
          <a:p>
            <a:endParaRPr lang="en-US" sz="1200" dirty="0">
              <a:latin typeface="+mn-lt"/>
              <a:cs typeface="Calibri"/>
            </a:endParaRPr>
          </a:p>
          <a:p>
            <a:r>
              <a:rPr lang="en-US" sz="1200" b="1" dirty="0">
                <a:latin typeface="+mn-lt"/>
                <a:cs typeface="Calibri"/>
              </a:rPr>
              <a:t>Acronyms: </a:t>
            </a:r>
          </a:p>
          <a:p>
            <a:pPr marL="171450" indent="-171450">
              <a:buFont typeface="Arial" panose="020B0604020202020204" pitchFamily="34" charset="0"/>
              <a:buChar char="•"/>
            </a:pPr>
            <a:r>
              <a:rPr lang="en-US" sz="1200" b="1" dirty="0">
                <a:latin typeface="+mn-lt"/>
                <a:cs typeface="Calibri"/>
              </a:rPr>
              <a:t>CP4BA</a:t>
            </a:r>
            <a:r>
              <a:rPr lang="en-US" sz="1200" dirty="0">
                <a:latin typeface="+mn-lt"/>
                <a:cs typeface="Calibri"/>
              </a:rPr>
              <a:t> – Cloud Pak for Business Automation</a:t>
            </a:r>
          </a:p>
          <a:p>
            <a:pPr marL="171450" indent="-171450">
              <a:buFont typeface="Arial" panose="020B0604020202020204" pitchFamily="34" charset="0"/>
              <a:buChar char="•"/>
            </a:pPr>
            <a:r>
              <a:rPr lang="en-US" sz="1200" b="1" dirty="0">
                <a:latin typeface="+mn-lt"/>
                <a:cs typeface="Calibri"/>
              </a:rPr>
              <a:t>SaaS</a:t>
            </a:r>
            <a:r>
              <a:rPr lang="en-US" sz="1200" dirty="0">
                <a:latin typeface="+mn-lt"/>
                <a:cs typeface="Calibri"/>
              </a:rPr>
              <a:t> – Software as a Service</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200" dirty="0">
              <a:cs typeface="Calibri"/>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Helvetica Neue"/>
                <a:cs typeface="Helvetica Neue"/>
                <a:sym typeface="Helvetica Neue"/>
              </a:rPr>
              <a:pPr marL="0" marR="0" lvl="0" indent="0" algn="r" defTabSz="1829379" rtl="0" eaLnBrk="1" fontAlgn="auto" latinLnBrk="0" hangingPunct="1">
                <a:lnSpc>
                  <a:spcPct val="100000"/>
                </a:lnSpc>
                <a:spcBef>
                  <a:spcPts val="0"/>
                </a:spcBef>
                <a:spcAft>
                  <a:spcPts val="0"/>
                </a:spcAft>
                <a:buClrTx/>
                <a:buSzTx/>
                <a:buFontTx/>
                <a:buNone/>
                <a:tabLst/>
                <a:defRPr/>
              </a:pPr>
              <a:t>13</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Helvetica Neue"/>
              <a:cs typeface="Helvetica Neue"/>
              <a:sym typeface="Helvetica Neue"/>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Helvetica Neue"/>
                <a:cs typeface="Helvetica Neue"/>
                <a:sym typeface="Helvetica Neue"/>
              </a:rPr>
              <a:t>Footer</a:t>
            </a:r>
          </a:p>
        </p:txBody>
      </p:sp>
    </p:spTree>
    <p:extLst>
      <p:ext uri="{BB962C8B-B14F-4D97-AF65-F5344CB8AC3E}">
        <p14:creationId xmlns:p14="http://schemas.microsoft.com/office/powerpoint/2010/main" val="2219955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48EDE5-0AB7-F942-9966-AF571474B6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sym typeface="Helvetica"/>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sym typeface="Helvetica"/>
            </a:endParaRPr>
          </a:p>
        </p:txBody>
      </p:sp>
    </p:spTree>
    <p:extLst>
      <p:ext uri="{BB962C8B-B14F-4D97-AF65-F5344CB8AC3E}">
        <p14:creationId xmlns:p14="http://schemas.microsoft.com/office/powerpoint/2010/main" val="31719453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59946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59946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1288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59946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a:xfrm>
            <a:off x="206710" y="4087090"/>
            <a:ext cx="6419088" cy="4846598"/>
          </a:xfrm>
        </p:spPr>
        <p:txBody>
          <a:bodyPr/>
          <a:lstStyle/>
          <a:p>
            <a:r>
              <a:rPr lang="en-US" b="0" dirty="0">
                <a:effectLst/>
                <a:latin typeface="+mn-lt"/>
              </a:rPr>
              <a:t>IBM watsonx </a:t>
            </a:r>
            <a:r>
              <a:rPr lang="en-US" dirty="0">
                <a:latin typeface="+mn-lt"/>
              </a:rPr>
              <a:t>O</a:t>
            </a:r>
            <a:r>
              <a:rPr lang="en-US" b="0" dirty="0">
                <a:effectLst/>
                <a:latin typeface="+mn-lt"/>
              </a:rPr>
              <a:t>rchestrate deliver AI assistants that go beyond what traditional bots or copilots can do. </a:t>
            </a:r>
            <a:r>
              <a:rPr lang="en-US" dirty="0">
                <a:latin typeface="+mn-lt"/>
              </a:rPr>
              <a:t>AI assistants </a:t>
            </a:r>
            <a:r>
              <a:rPr lang="en-US" b="0" dirty="0">
                <a:effectLst/>
                <a:latin typeface="+mn-lt"/>
              </a:rPr>
              <a:t>are focused on end-to-end enterprise productivity, not just a simple augmentation of a productivity tool. Orchestrate is a platform that allows enterprise to drive intelligent interactions for consumers, internal employees, and internal experts all through one single platform. It allows enterprises to expand expertise and drive productivity for all those personas. The platform itself is designed to accelerate time to value for those same enterprises.</a:t>
            </a:r>
          </a:p>
          <a:p>
            <a:endParaRPr lang="en-US" dirty="0">
              <a:latin typeface="+mn-lt"/>
            </a:endParaRPr>
          </a:p>
          <a:p>
            <a:r>
              <a:rPr lang="en-US" dirty="0">
                <a:latin typeface="+mn-lt"/>
              </a:rPr>
              <a:t>W</a:t>
            </a:r>
            <a:r>
              <a:rPr lang="en-US" b="0" dirty="0">
                <a:effectLst/>
                <a:latin typeface="+mn-lt"/>
              </a:rPr>
              <a:t>hen it comes to intelligent interactions, </a:t>
            </a:r>
            <a:r>
              <a:rPr lang="en-US" dirty="0">
                <a:latin typeface="+mn-lt"/>
              </a:rPr>
              <a:t>generative AI</a:t>
            </a:r>
            <a:r>
              <a:rPr lang="en-US" b="0" dirty="0">
                <a:effectLst/>
                <a:latin typeface="+mn-lt"/>
              </a:rPr>
              <a:t> is the main player. Orchestrate uses a transformer-based model so that it can truly understand what users are looking for. Orchestrate can clarify and topic switch and use those techniques to make sure the conversation feels seamless. </a:t>
            </a:r>
            <a:r>
              <a:rPr lang="en-US" dirty="0">
                <a:latin typeface="+mn-lt"/>
              </a:rPr>
              <a:t>Orchestrate</a:t>
            </a:r>
            <a:r>
              <a:rPr lang="en-US" b="0" dirty="0">
                <a:effectLst/>
                <a:latin typeface="+mn-lt"/>
              </a:rPr>
              <a:t> can understand and hold context </a:t>
            </a:r>
            <a:r>
              <a:rPr lang="en-US" dirty="0">
                <a:latin typeface="+mn-lt"/>
              </a:rPr>
              <a:t>so that it can be </a:t>
            </a:r>
            <a:r>
              <a:rPr lang="en-US" b="0" dirty="0">
                <a:effectLst/>
                <a:latin typeface="+mn-lt"/>
              </a:rPr>
              <a:t>aware of what the user is really looking to do and it can use that context to generate personalized experiences.</a:t>
            </a:r>
          </a:p>
          <a:p>
            <a:endParaRPr lang="en-US" b="0" dirty="0">
              <a:effectLst/>
              <a:latin typeface="+mn-lt"/>
            </a:endParaRPr>
          </a:p>
          <a:p>
            <a:r>
              <a:rPr lang="en-US" dirty="0">
                <a:latin typeface="+mn-lt"/>
              </a:rPr>
              <a:t>O</a:t>
            </a:r>
            <a:r>
              <a:rPr lang="en-US" b="0" dirty="0">
                <a:effectLst/>
                <a:latin typeface="+mn-lt"/>
              </a:rPr>
              <a:t>rchestrate can even guide users to complete tasks so that enterprises not necessarily duplicating automations or providing complex information responses when the digital self-serve capability already exists and we just want to guide and teach users through how to go through it.</a:t>
            </a:r>
          </a:p>
          <a:p>
            <a:endParaRPr lang="en-US" dirty="0">
              <a:latin typeface="+mn-lt"/>
            </a:endParaRPr>
          </a:p>
          <a:p>
            <a:r>
              <a:rPr lang="en-US" b="0" dirty="0">
                <a:effectLst/>
                <a:latin typeface="+mn-lt"/>
              </a:rPr>
              <a:t>The main and core way by which users are going to be productive is that they're able to expand their expertise and unlock thousands of prebuilt and custom skills. Those custom skills are surfaced with generative AI so that they can advance user tasks. Tasks can be run in parallel allowing users to multitask as they go through their day-to-day job. </a:t>
            </a:r>
          </a:p>
          <a:p>
            <a:endParaRPr lang="en-US" dirty="0">
              <a:latin typeface="+mn-lt"/>
            </a:endParaRPr>
          </a:p>
          <a:p>
            <a:r>
              <a:rPr lang="en-US" b="0" dirty="0">
                <a:effectLst/>
                <a:latin typeface="+mn-lt"/>
              </a:rPr>
              <a:t>The Orchestrate platform includes builder modules to accelerate and fast track users to standing these AI assistants up and having them go live across the enterprise. It allows teams to design flows for complex and nuanced journeys with an assistant builder. Orchestrate allows to build automations within a simplified low-code experience and we use generative AI to accelerate training and enhance those skills in order to make them production ready.</a:t>
            </a:r>
          </a:p>
          <a:p>
            <a:pPr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9</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2742995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effectLst/>
                <a:latin typeface="+mn-lt"/>
              </a:rPr>
              <a:t>As many people may already know or will learn through out this presentation, watsonx Orchestrate is IBM’s AI assistant platform designed to transform enterprise productivity. It does so by combining generative AI with best in class business automation capabilities and surfacing these through a highly conversational interface. This type of solution is top of mind for leaders across a variety of domains - ranging from the CIO (Chief Information Officer) to the CHRO (Chief Human Resources Officer) to the CPO (Chief Procurement Officer). They all have one thing in common - they are expected to drive productivity across their teams by leveraging generative AI and automation.</a:t>
            </a:r>
          </a:p>
          <a:p>
            <a:br>
              <a:rPr lang="en-US" dirty="0">
                <a:effectLst/>
                <a:latin typeface="+mn-lt"/>
              </a:rPr>
            </a:br>
            <a:endParaRPr lang="en-US" dirty="0">
              <a:effectLst/>
              <a:latin typeface="+mn-lt"/>
            </a:endParaRPr>
          </a:p>
          <a:p>
            <a:endParaRPr lang="en-BR">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a:t>
            </a:fld>
            <a:endParaRPr lang="en-US"/>
          </a:p>
        </p:txBody>
      </p:sp>
    </p:spTree>
    <p:extLst>
      <p:ext uri="{BB962C8B-B14F-4D97-AF65-F5344CB8AC3E}">
        <p14:creationId xmlns:p14="http://schemas.microsoft.com/office/powerpoint/2010/main" val="15760242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IBM leads the market in business automation with AI as seen in top rankings by IDC, Forrester, Gartner, and so on. IBM has leveraged decades of experience in business automation and AI, bringing them together to deliver this next generation of AI </a:t>
            </a:r>
            <a:r>
              <a:rPr lang="en-US" kern="100" dirty="0">
                <a:latin typeface="+mn-lt"/>
                <a:ea typeface="Calibri" panose="020F0502020204030204" pitchFamily="34" charset="0"/>
                <a:cs typeface="Times New Roman" panose="02020603050405020304" pitchFamily="18" charset="0"/>
              </a:rPr>
              <a:t>a</a:t>
            </a:r>
            <a:r>
              <a:rPr lang="en-US" kern="100" dirty="0">
                <a:effectLst/>
                <a:latin typeface="+mn-lt"/>
                <a:ea typeface="Calibri" panose="020F0502020204030204" pitchFamily="34" charset="0"/>
                <a:cs typeface="Times New Roman" panose="02020603050405020304" pitchFamily="18" charset="0"/>
              </a:rPr>
              <a:t>ssistants. </a:t>
            </a:r>
          </a:p>
        </p:txBody>
      </p:sp>
      <p:sp>
        <p:nvSpPr>
          <p:cNvPr id="4" name="Slide Number Placeholder 3"/>
          <p:cNvSpPr>
            <a:spLocks noGrp="1"/>
          </p:cNvSpPr>
          <p:nvPr>
            <p:ph type="sldNum" sz="quarter" idx="5"/>
          </p:nvPr>
        </p:nvSpPr>
        <p:spPr/>
        <p:txBody>
          <a:bodyPr/>
          <a:lstStyle/>
          <a:p>
            <a:fld id="{6E2E38B8-B0B4-AD41-AC6E-B781F46A9FD3}" type="slidenum">
              <a:rPr lang="en-US" smtClean="0"/>
              <a:pPr/>
              <a:t>20</a:t>
            </a:fld>
            <a:endParaRPr lang="en-US"/>
          </a:p>
        </p:txBody>
      </p:sp>
    </p:spTree>
    <p:extLst>
      <p:ext uri="{BB962C8B-B14F-4D97-AF65-F5344CB8AC3E}">
        <p14:creationId xmlns:p14="http://schemas.microsoft.com/office/powerpoint/2010/main" val="22922560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cs typeface="Calibri"/>
              </a:rPr>
              <a:t>Users can access generative AI capabilities in watsonx Orchestrate through watsonx.ai or 3</a:t>
            </a:r>
            <a:r>
              <a:rPr lang="en-US" baseline="30000" dirty="0">
                <a:latin typeface="+mn-lt"/>
                <a:cs typeface="Calibri"/>
              </a:rPr>
              <a:t>rd</a:t>
            </a:r>
            <a:r>
              <a:rPr lang="en-US" dirty="0">
                <a:latin typeface="+mn-lt"/>
                <a:cs typeface="Calibri"/>
              </a:rPr>
              <a:t> party LLMs (Large Language Models). IBM watsonx.ai delivers IBM developed fine-tuned models prebuilt in watsonx Orchestrate. Users of watsonx.ai can also serve OpenScale (OS) or custom models to Orchestrate. And users of 3</a:t>
            </a:r>
            <a:r>
              <a:rPr lang="en-US" baseline="30000" dirty="0">
                <a:latin typeface="+mn-lt"/>
                <a:cs typeface="Calibri"/>
              </a:rPr>
              <a:t>rd</a:t>
            </a:r>
            <a:r>
              <a:rPr lang="en-US" dirty="0">
                <a:latin typeface="+mn-lt"/>
                <a:cs typeface="Calibri"/>
              </a:rPr>
              <a:t> party LLMs can serve their models to Orchestrate (via OpenAI endpoint), making it easy to customize Orchestrate to unique employee needs.</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21</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8845489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b="0" dirty="0">
                <a:effectLst/>
                <a:latin typeface="+mn-lt"/>
              </a:rPr>
              <a:t>Skills are a core capability of IBM watsonx Orchestrate. IBM continues to invest in building thousands of prebuilt skills to align them to key entry point use cases. Orchestrate allows the ability to discover and train automations that already exist because they've been built after years and years of investments.</a:t>
            </a:r>
          </a:p>
          <a:p>
            <a:endParaRPr lang="en-US" dirty="0">
              <a:latin typeface="+mn-lt"/>
            </a:endParaRPr>
          </a:p>
          <a:p>
            <a:r>
              <a:rPr lang="en-US" b="0" dirty="0">
                <a:effectLst/>
                <a:latin typeface="+mn-lt"/>
              </a:rPr>
              <a:t>When automations don't exist, users can build them and they can build their own automations in the simplified automation builder low-code interface. By doing so, enterprises can bring thousands of personalized skills within each Orchestrate AI assistant and fast track users to the outcome they're looking for.</a:t>
            </a:r>
          </a:p>
          <a:p>
            <a:endParaRPr lang="en-US" dirty="0">
              <a:latin typeface="+mn-lt"/>
            </a:endParaRPr>
          </a:p>
          <a:p>
            <a:r>
              <a:rPr lang="en-US" dirty="0">
                <a:latin typeface="+mn-lt"/>
              </a:rPr>
              <a:t>S</a:t>
            </a:r>
            <a:r>
              <a:rPr lang="en-US" b="0" dirty="0">
                <a:effectLst/>
                <a:latin typeface="+mn-lt"/>
              </a:rPr>
              <a:t>kills originate from three sources:</a:t>
            </a:r>
          </a:p>
          <a:p>
            <a:pPr marL="228600" indent="-228600">
              <a:buFont typeface="+mj-lt"/>
              <a:buAutoNum type="arabicPeriod"/>
            </a:pPr>
            <a:r>
              <a:rPr lang="en-US" b="0" dirty="0">
                <a:effectLst/>
                <a:latin typeface="+mn-lt"/>
              </a:rPr>
              <a:t>Users can access a catalog with thousands of prebuilt skills aligned to domains and use cases that are repeatable and therefore no specialized training is needed to unlock those skills.</a:t>
            </a:r>
          </a:p>
          <a:p>
            <a:pPr marL="228600" indent="-228600">
              <a:buFont typeface="+mj-lt"/>
              <a:buAutoNum type="arabicPeriod"/>
            </a:pPr>
            <a:r>
              <a:rPr lang="en-US" b="0" dirty="0">
                <a:effectLst/>
                <a:latin typeface="+mn-lt"/>
              </a:rPr>
              <a:t>The second source is that with the new Automation </a:t>
            </a:r>
            <a:r>
              <a:rPr lang="en-US" dirty="0">
                <a:latin typeface="+mn-lt"/>
              </a:rPr>
              <a:t>B</a:t>
            </a:r>
            <a:r>
              <a:rPr lang="en-US" b="0" dirty="0">
                <a:effectLst/>
                <a:latin typeface="+mn-lt"/>
              </a:rPr>
              <a:t>uilder released in December 2023, users can discover and train automations from existing automation systems such as IBM RPA or third-party vendors.</a:t>
            </a:r>
          </a:p>
          <a:p>
            <a:pPr marL="228600" indent="-228600">
              <a:buFont typeface="+mj-lt"/>
              <a:buAutoNum type="arabicPeriod"/>
            </a:pPr>
            <a:r>
              <a:rPr lang="en-US" b="0" dirty="0">
                <a:effectLst/>
                <a:latin typeface="+mn-lt"/>
              </a:rPr>
              <a:t>And the third source is users can now build their own within IBM’s newly released Automation </a:t>
            </a:r>
            <a:r>
              <a:rPr lang="en-US" dirty="0">
                <a:latin typeface="+mn-lt"/>
              </a:rPr>
              <a:t>S</a:t>
            </a:r>
            <a:r>
              <a:rPr lang="en-US" b="0" dirty="0">
                <a:effectLst/>
                <a:latin typeface="+mn-lt"/>
              </a:rPr>
              <a:t>ervice </a:t>
            </a:r>
            <a:r>
              <a:rPr lang="en-US" dirty="0">
                <a:latin typeface="+mn-lt"/>
              </a:rPr>
              <a:t>B</a:t>
            </a:r>
            <a:r>
              <a:rPr lang="en-US" b="0" dirty="0">
                <a:effectLst/>
                <a:latin typeface="+mn-lt"/>
              </a:rPr>
              <a:t>uilder. Automation Service </a:t>
            </a:r>
            <a:r>
              <a:rPr lang="en-US" dirty="0">
                <a:latin typeface="+mn-lt"/>
              </a:rPr>
              <a:t>B</a:t>
            </a:r>
            <a:r>
              <a:rPr lang="en-US" b="0" dirty="0">
                <a:effectLst/>
                <a:latin typeface="+mn-lt"/>
              </a:rPr>
              <a:t>uilder is a low-code authoring experience that allows teams to combine decisions, tasks and workflows and codify them as skills that can then be triggered by users.</a:t>
            </a:r>
          </a:p>
          <a:p>
            <a:br>
              <a:rPr lang="en-US" b="0" dirty="0">
                <a:effectLst/>
                <a:latin typeface="+mn-lt"/>
              </a:rPr>
            </a:br>
            <a:br>
              <a:rPr lang="en-US" dirty="0">
                <a:latin typeface="+mn-lt"/>
              </a:rPr>
            </a:br>
            <a:r>
              <a:rPr lang="en-US" dirty="0">
                <a:latin typeface="+mn-lt"/>
              </a:rPr>
              <a:t> </a:t>
            </a:r>
          </a:p>
        </p:txBody>
      </p:sp>
      <p:sp>
        <p:nvSpPr>
          <p:cNvPr id="4" name="Slide Number Placeholder 3"/>
          <p:cNvSpPr>
            <a:spLocks noGrp="1"/>
          </p:cNvSpPr>
          <p:nvPr>
            <p:ph type="sldNum" sz="quarter" idx="5"/>
          </p:nvPr>
        </p:nvSpPr>
        <p:spPr/>
        <p:txBody>
          <a:bodyPr/>
          <a:lstStyle/>
          <a:p>
            <a:fld id="{6E2E38B8-B0B4-AD41-AC6E-B781F46A9FD3}" type="slidenum">
              <a:rPr lang="en-US" smtClean="0"/>
              <a:pPr/>
              <a:t>22</a:t>
            </a:fld>
            <a:endParaRPr lang="en-US" dirty="0"/>
          </a:p>
        </p:txBody>
      </p:sp>
    </p:spTree>
    <p:extLst>
      <p:ext uri="{BB962C8B-B14F-4D97-AF65-F5344CB8AC3E}">
        <p14:creationId xmlns:p14="http://schemas.microsoft.com/office/powerpoint/2010/main" val="39546005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200" dirty="0">
                <a:cs typeface="Calibri"/>
              </a:rPr>
              <a:t>The assistant builder in </a:t>
            </a:r>
            <a:r>
              <a:rPr lang="en-US" sz="1200" dirty="0" err="1">
                <a:cs typeface="Calibri"/>
              </a:rPr>
              <a:t>watsonx</a:t>
            </a:r>
            <a:r>
              <a:rPr lang="en-US" sz="1200" dirty="0">
                <a:cs typeface="Calibri"/>
              </a:rPr>
              <a:t> Orchestrate allows teams to accomplish complex journeys by guiding users to self serve when navigation is complex. When users are working through complex digital experiences, they can leverage state of the art natural language understanding to help resolve ambiguous conversations. The assistant builder enables you to design a variety of self serve experiences with no-code tooling, guiding users through existing digital journeys, offering up information, and completing transactions on their behalf. And the no-code extension framework enables you to call back end systems or leverage existing automations – making the most of what you already have. </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Helvetica Neue"/>
                <a:cs typeface="Helvetica Neue"/>
                <a:sym typeface="Helvetica Neue"/>
              </a:rPr>
              <a:pPr marL="0" marR="0" lvl="0" indent="0" algn="r" defTabSz="1829379" rtl="0" eaLnBrk="1" fontAlgn="auto" latinLnBrk="0" hangingPunct="1">
                <a:lnSpc>
                  <a:spcPct val="100000"/>
                </a:lnSpc>
                <a:spcBef>
                  <a:spcPts val="0"/>
                </a:spcBef>
                <a:spcAft>
                  <a:spcPts val="0"/>
                </a:spcAft>
                <a:buClrTx/>
                <a:buSzTx/>
                <a:buFontTx/>
                <a:buNone/>
                <a:tabLst/>
                <a:defRPr/>
              </a:pPr>
              <a:t>23</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Helvetica Neue"/>
              <a:cs typeface="Helvetica Neue"/>
              <a:sym typeface="Helvetica Neue"/>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Helvetica Neue"/>
                <a:cs typeface="Helvetica Neue"/>
                <a:sym typeface="Helvetica Neue"/>
              </a:rPr>
              <a:t>Footer</a:t>
            </a:r>
          </a:p>
        </p:txBody>
      </p:sp>
    </p:spTree>
    <p:extLst>
      <p:ext uri="{BB962C8B-B14F-4D97-AF65-F5344CB8AC3E}">
        <p14:creationId xmlns:p14="http://schemas.microsoft.com/office/powerpoint/2010/main" val="2172121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a:xfrm>
            <a:off x="219456" y="4107000"/>
            <a:ext cx="6419088" cy="4826688"/>
          </a:xfrm>
        </p:spPr>
        <p:txBody>
          <a:bodyPr/>
          <a:lstStyle/>
          <a:p>
            <a:pPr marL="0" marR="0" lvl="0" indent="0" algn="l" defTabSz="2438522" rtl="0" eaLnBrk="1" fontAlgn="auto" latinLnBrk="0" hangingPunct="1">
              <a:lnSpc>
                <a:spcPct val="100000"/>
              </a:lnSpc>
              <a:spcBef>
                <a:spcPts val="0"/>
              </a:spcBef>
              <a:spcAft>
                <a:spcPts val="0"/>
              </a:spcAft>
              <a:buClrTx/>
              <a:buSzTx/>
              <a:buFontTx/>
              <a:buNone/>
              <a:tabLst/>
              <a:defRPr/>
            </a:pPr>
            <a:r>
              <a:rPr lang="en-US" sz="1000" dirty="0">
                <a:latin typeface="+mn-lt"/>
              </a:rPr>
              <a:t>IBM’s own experience in digitizing HR functions allowed IBM to bring AI and automation closer together. Orchestrate helped IBM understand the type of conversational and generative AI that is needed to work at scale, and the value that automation brings to expert knowledge workers to automate the daily functions of their lives. Th</a:t>
            </a:r>
            <a:r>
              <a:rPr lang="en-US" dirty="0">
                <a:latin typeface="+mn-lt"/>
              </a:rPr>
              <a:t>e HR team at IBM (a company that has over 200,000 employees across 177 countries) has successfully deployed watsonx Orchestrate across their enterprise, saving thousands of hours for workers each year. </a:t>
            </a:r>
          </a:p>
          <a:p>
            <a:pPr marR="0" lvl="0" indent="0" algn="l" defTabSz="2438522" rtl="0" eaLnBrk="1" fontAlgn="auto" latinLnBrk="0" hangingPunct="1">
              <a:lnSpc>
                <a:spcPct val="100000"/>
              </a:lnSpc>
              <a:spcAft>
                <a:spcPts val="0"/>
              </a:spcAft>
              <a:buClrTx/>
              <a:buSzTx/>
              <a:buFontTx/>
              <a:buNone/>
              <a:tabLst/>
              <a:defRPr/>
            </a:pPr>
            <a:endParaRPr lang="en-US" sz="1000" dirty="0">
              <a:latin typeface="+mn-lt"/>
            </a:endParaRPr>
          </a:p>
          <a:p>
            <a:pPr marR="0" lvl="0" indent="0" algn="l" defTabSz="2438522" rtl="0" eaLnBrk="1" fontAlgn="auto" latinLnBrk="0" hangingPunct="1">
              <a:lnSpc>
                <a:spcPct val="100000"/>
              </a:lnSpc>
              <a:spcAft>
                <a:spcPts val="0"/>
              </a:spcAft>
              <a:buClrTx/>
              <a:buSzTx/>
              <a:buFontTx/>
              <a:buNone/>
              <a:tabLst/>
              <a:defRPr/>
            </a:pPr>
            <a:endParaRPr lang="en-US" sz="1000" dirty="0">
              <a:latin typeface="+mn-lt"/>
            </a:endParaRPr>
          </a:p>
          <a:p>
            <a:pPr marL="0" marR="0" lvl="0" indent="0" algn="l" defTabSz="2438522" rtl="0" eaLnBrk="1" fontAlgn="auto" latinLnBrk="0" hangingPunct="1">
              <a:lnSpc>
                <a:spcPct val="100000"/>
              </a:lnSpc>
              <a:spcBef>
                <a:spcPts val="0"/>
              </a:spcBef>
              <a:spcAft>
                <a:spcPts val="0"/>
              </a:spcAft>
              <a:buClrTx/>
              <a:buSzTx/>
              <a:buFontTx/>
              <a:buNone/>
              <a:tabLst/>
              <a:defRPr/>
            </a:pPr>
            <a:r>
              <a:rPr lang="en-US" b="0" dirty="0">
                <a:effectLst/>
                <a:latin typeface="+mn-lt"/>
              </a:rPr>
              <a:t>All of these capabilities are currently being used within IBM transforming productivity with the power of generative AI and automation. From AskHR to </a:t>
            </a:r>
            <a:r>
              <a:rPr lang="en-US" b="0" dirty="0" err="1">
                <a:effectLst/>
                <a:latin typeface="+mn-lt"/>
              </a:rPr>
              <a:t>AskIT</a:t>
            </a:r>
            <a:r>
              <a:rPr lang="en-US" b="0" dirty="0">
                <a:effectLst/>
                <a:latin typeface="+mn-lt"/>
              </a:rPr>
              <a:t> to </a:t>
            </a:r>
            <a:r>
              <a:rPr lang="en-US" b="0" dirty="0" err="1">
                <a:effectLst/>
                <a:latin typeface="+mn-lt"/>
              </a:rPr>
              <a:t>AskIBM</a:t>
            </a:r>
            <a:r>
              <a:rPr lang="en-US" b="0" dirty="0">
                <a:effectLst/>
                <a:latin typeface="+mn-lt"/>
              </a:rPr>
              <a:t>, IBM watsonx Orchestrate is used in the daily lives of IBMers to drive productivity, whether it's supporting clients or internal talent transformation processes.</a:t>
            </a:r>
          </a:p>
          <a:p>
            <a:pPr marR="0" lvl="0" indent="0" algn="l" defTabSz="2438522" rtl="0" eaLnBrk="1" fontAlgn="auto" latinLnBrk="0" hangingPunct="1">
              <a:lnSpc>
                <a:spcPct val="100000"/>
              </a:lnSpc>
              <a:spcAft>
                <a:spcPts val="0"/>
              </a:spcAft>
              <a:buClrTx/>
              <a:buSzTx/>
              <a:buFontTx/>
              <a:buNone/>
              <a:tabLst/>
              <a:defRPr/>
            </a:pPr>
            <a:endParaRPr lang="en-US" sz="1000" dirty="0">
              <a:latin typeface="+mn-lt"/>
            </a:endParaRPr>
          </a:p>
          <a:p>
            <a:pPr defTabSz="4876800">
              <a:lnSpc>
                <a:spcPct val="100000"/>
              </a:lnSpc>
            </a:pPr>
            <a:r>
              <a:rPr lang="en-US" sz="1000" kern="0" dirty="0">
                <a:solidFill>
                  <a:srgbClr val="000000"/>
                </a:solidFill>
                <a:latin typeface="+mn-lt"/>
              </a:rPr>
              <a:t>Digitizing supply chain</a:t>
            </a:r>
          </a:p>
          <a:p>
            <a:pPr indent="-171450" defTabSz="4876800">
              <a:lnSpc>
                <a:spcPct val="100000"/>
              </a:lnSpc>
              <a:buFont typeface="Arial" panose="020B0604020202020204" pitchFamily="34" charset="0"/>
              <a:buChar char="•"/>
            </a:pPr>
            <a:r>
              <a:rPr lang="en-US" sz="1000" kern="0" dirty="0">
                <a:solidFill>
                  <a:srgbClr val="000000"/>
                </a:solidFill>
                <a:latin typeface="+mn-lt"/>
              </a:rPr>
              <a:t>98% on-time client deliveries during market disruption</a:t>
            </a:r>
          </a:p>
          <a:p>
            <a:pPr indent="-171450" defTabSz="4876800">
              <a:lnSpc>
                <a:spcPct val="100000"/>
              </a:lnSpc>
              <a:buFont typeface="Arial" panose="020B0604020202020204" pitchFamily="34" charset="0"/>
              <a:buChar char="•"/>
            </a:pPr>
            <a:r>
              <a:rPr lang="en-US" sz="1000" kern="0" dirty="0">
                <a:solidFill>
                  <a:srgbClr val="000000"/>
                </a:solidFill>
                <a:latin typeface="+mn-lt"/>
              </a:rPr>
              <a:t>200K+ lbs. reduction in non-essential plastics</a:t>
            </a:r>
          </a:p>
          <a:p>
            <a:pPr indent="-171450" defTabSz="4876800">
              <a:lnSpc>
                <a:spcPct val="100000"/>
              </a:lnSpc>
              <a:buFont typeface="Arial" panose="020B0604020202020204" pitchFamily="34" charset="0"/>
              <a:buChar char="•"/>
            </a:pPr>
            <a:endParaRPr lang="en-US" sz="1000" kern="0" dirty="0">
              <a:solidFill>
                <a:srgbClr val="000000"/>
              </a:solidFill>
              <a:latin typeface="+mn-lt"/>
            </a:endParaRPr>
          </a:p>
          <a:p>
            <a:pPr defTabSz="4876800">
              <a:lnSpc>
                <a:spcPct val="100000"/>
              </a:lnSpc>
            </a:pPr>
            <a:r>
              <a:rPr lang="en-US" sz="1000" kern="0" dirty="0">
                <a:solidFill>
                  <a:srgbClr val="000000"/>
                </a:solidFill>
                <a:latin typeface="+mn-lt"/>
              </a:rPr>
              <a:t>Modernizing lead to cash</a:t>
            </a:r>
          </a:p>
          <a:p>
            <a:pPr indent="-171450" defTabSz="4876800">
              <a:lnSpc>
                <a:spcPct val="100000"/>
              </a:lnSpc>
              <a:buFont typeface="Arial" panose="020B0604020202020204" pitchFamily="34" charset="0"/>
              <a:buChar char="•"/>
            </a:pPr>
            <a:r>
              <a:rPr lang="en-US" sz="1000" kern="0" dirty="0">
                <a:solidFill>
                  <a:srgbClr val="000000"/>
                </a:solidFill>
                <a:latin typeface="+mn-lt"/>
              </a:rPr>
              <a:t>252K seller hours saved with pricing analytics</a:t>
            </a:r>
          </a:p>
          <a:p>
            <a:pPr indent="-171450" defTabSz="4876800">
              <a:lnSpc>
                <a:spcPct val="100000"/>
              </a:lnSpc>
              <a:buFont typeface="Arial" panose="020B0604020202020204" pitchFamily="34" charset="0"/>
              <a:buChar char="•"/>
            </a:pPr>
            <a:r>
              <a:rPr lang="en-US" sz="1000" kern="0" dirty="0">
                <a:solidFill>
                  <a:srgbClr val="000000"/>
                </a:solidFill>
                <a:latin typeface="+mn-lt"/>
              </a:rPr>
              <a:t>97% reduction in billing and invoicing cycle time</a:t>
            </a:r>
            <a:endParaRPr lang="en-US" sz="1000" dirty="0">
              <a:latin typeface="+mn-lt"/>
            </a:endParaRPr>
          </a:p>
          <a:p>
            <a:pPr marR="0" lvl="0" indent="0" algn="l" defTabSz="2438522" rtl="0" eaLnBrk="1" fontAlgn="auto" latinLnBrk="0" hangingPunct="1">
              <a:lnSpc>
                <a:spcPct val="100000"/>
              </a:lnSpc>
              <a:spcAft>
                <a:spcPts val="0"/>
              </a:spcAft>
              <a:buClrTx/>
              <a:buSzTx/>
              <a:buFontTx/>
              <a:buNone/>
              <a:tabLst/>
              <a:defRPr/>
            </a:pPr>
            <a:endParaRPr lang="en-US" sz="1000" dirty="0">
              <a:latin typeface="+mn-lt"/>
            </a:endParaRPr>
          </a:p>
          <a:p>
            <a:pPr>
              <a:lnSpc>
                <a:spcPct val="100000"/>
              </a:lnSpc>
            </a:pPr>
            <a:r>
              <a:rPr lang="en-US" sz="1000" b="1" kern="0" dirty="0">
                <a:latin typeface="+mn-lt"/>
              </a:rPr>
              <a:t>External customer support</a:t>
            </a:r>
          </a:p>
          <a:p>
            <a:pPr indent="-171450">
              <a:lnSpc>
                <a:spcPct val="100000"/>
              </a:lnSpc>
              <a:buFont typeface="Arial" panose="020B0604020202020204" pitchFamily="34" charset="0"/>
              <a:buChar char="•"/>
            </a:pPr>
            <a:r>
              <a:rPr lang="en-US" sz="1000" kern="0" dirty="0">
                <a:latin typeface="+mn-lt"/>
              </a:rPr>
              <a:t>Summarization of cases to automatically create knowledge articles and for use in case handoffs</a:t>
            </a:r>
          </a:p>
          <a:p>
            <a:pPr indent="-171450">
              <a:lnSpc>
                <a:spcPct val="100000"/>
              </a:lnSpc>
              <a:buFont typeface="Arial" panose="020B0604020202020204" pitchFamily="34" charset="0"/>
              <a:buChar char="•"/>
            </a:pPr>
            <a:r>
              <a:rPr lang="en-US" sz="1000" kern="0" dirty="0">
                <a:latin typeface="+mn-lt"/>
              </a:rPr>
              <a:t>Additional self-serve topics for clients with improved conversational capabilities via chatbots, with less effort </a:t>
            </a:r>
            <a:br>
              <a:rPr lang="en-US" sz="1000" kern="0" dirty="0">
                <a:latin typeface="+mn-lt"/>
              </a:rPr>
            </a:br>
            <a:r>
              <a:rPr lang="en-US" sz="1000" kern="0" dirty="0">
                <a:latin typeface="+mn-lt"/>
              </a:rPr>
              <a:t>in training</a:t>
            </a:r>
          </a:p>
          <a:p>
            <a:pPr indent="-171450">
              <a:lnSpc>
                <a:spcPct val="100000"/>
              </a:lnSpc>
              <a:buFont typeface="Arial" panose="020B0604020202020204" pitchFamily="34" charset="0"/>
              <a:buChar char="•"/>
            </a:pPr>
            <a:r>
              <a:rPr lang="en-US" sz="1000" kern="0" dirty="0">
                <a:latin typeface="+mn-lt"/>
              </a:rPr>
              <a:t>Improved quality of search results</a:t>
            </a:r>
          </a:p>
          <a:p>
            <a:pPr marR="0" lvl="0" indent="0" algn="l" defTabSz="2438522" rtl="0" eaLnBrk="1" fontAlgn="auto" latinLnBrk="0" hangingPunct="1">
              <a:lnSpc>
                <a:spcPct val="100000"/>
              </a:lnSpc>
              <a:spcAft>
                <a:spcPts val="0"/>
              </a:spcAft>
              <a:buClrTx/>
              <a:buSzTx/>
              <a:buFontTx/>
              <a:buNone/>
              <a:tabLst/>
              <a:defRPr/>
            </a:pPr>
            <a:endParaRPr lang="en-US" sz="1000" dirty="0">
              <a:latin typeface="+mn-lt"/>
            </a:endParaRPr>
          </a:p>
          <a:p>
            <a:pPr>
              <a:lnSpc>
                <a:spcPct val="100000"/>
              </a:lnSpc>
            </a:pPr>
            <a:r>
              <a:rPr lang="en-US" sz="1000" b="1" kern="0" dirty="0">
                <a:latin typeface="+mn-lt"/>
              </a:rPr>
              <a:t>Internal operations</a:t>
            </a:r>
          </a:p>
          <a:p>
            <a:pPr indent="-171450">
              <a:lnSpc>
                <a:spcPct val="100000"/>
              </a:lnSpc>
              <a:buFont typeface="Arial" panose="020B0604020202020204" pitchFamily="34" charset="0"/>
              <a:buChar char="•"/>
            </a:pPr>
            <a:r>
              <a:rPr lang="en-US" sz="1000" kern="0" dirty="0">
                <a:latin typeface="+mn-lt"/>
              </a:rPr>
              <a:t>Enable internal users to find solutions and get answers through an easy, compelling conversational UX (User Experience)</a:t>
            </a:r>
          </a:p>
          <a:p>
            <a:pPr marR="0" lvl="0" indent="0" algn="l" defTabSz="2438522" rtl="0" eaLnBrk="1" fontAlgn="auto" latinLnBrk="0" hangingPunct="1">
              <a:lnSpc>
                <a:spcPct val="100000"/>
              </a:lnSpc>
              <a:spcAft>
                <a:spcPts val="0"/>
              </a:spcAft>
              <a:buClrTx/>
              <a:buSzTx/>
              <a:buFontTx/>
              <a:buNone/>
              <a:tabLst/>
              <a:defRPr/>
            </a:pPr>
            <a:endParaRPr lang="en-US" sz="1000" dirty="0">
              <a:latin typeface="+mn-lt"/>
            </a:endParaRPr>
          </a:p>
          <a:p>
            <a:pPr>
              <a:lnSpc>
                <a:spcPct val="100000"/>
              </a:lnSpc>
            </a:pPr>
            <a:r>
              <a:rPr lang="en-US" sz="1000" b="1" kern="0" dirty="0">
                <a:latin typeface="+mn-lt"/>
              </a:rPr>
              <a:t>Promotion management</a:t>
            </a:r>
          </a:p>
          <a:p>
            <a:pPr indent="-171450">
              <a:lnSpc>
                <a:spcPct val="100000"/>
              </a:lnSpc>
              <a:buFont typeface="Arial" panose="020B0604020202020204" pitchFamily="34" charset="0"/>
              <a:buChar char="•"/>
            </a:pPr>
            <a:r>
              <a:rPr lang="en-US" sz="1000" kern="0" dirty="0">
                <a:latin typeface="+mn-lt"/>
              </a:rPr>
              <a:t>Simplify, standardize, and automate HR promotions processing</a:t>
            </a:r>
          </a:p>
          <a:p>
            <a:pPr>
              <a:lnSpc>
                <a:spcPct val="100000"/>
              </a:lnSpc>
            </a:pPr>
            <a:endParaRPr lang="en-US" sz="1000" kern="0" dirty="0">
              <a:latin typeface="+mn-lt"/>
            </a:endParaRPr>
          </a:p>
          <a:p>
            <a:pPr>
              <a:lnSpc>
                <a:spcPct val="100000"/>
              </a:lnSpc>
            </a:pPr>
            <a:r>
              <a:rPr lang="en-US" sz="1000" b="1" kern="0" dirty="0">
                <a:latin typeface="+mn-lt"/>
              </a:rPr>
              <a:t>Staff augmentation automation</a:t>
            </a:r>
          </a:p>
          <a:p>
            <a:pPr indent="-171450">
              <a:lnSpc>
                <a:spcPct val="100000"/>
              </a:lnSpc>
              <a:buFont typeface="Arial" panose="020B0604020202020204" pitchFamily="34" charset="0"/>
              <a:buChar char="•"/>
            </a:pPr>
            <a:r>
              <a:rPr lang="en-US" sz="1000" kern="0" dirty="0">
                <a:latin typeface="+mn-lt"/>
              </a:rPr>
              <a:t>Automate identify-select-onboard end-to-end workflow with speed and quality</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24</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7283269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Clients are already delivering new productive experiences to their employees and customers with watsonx Orchestrate.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Avid Solutions uses Orchestrate to improve employee and customer happiness and has seen a 25% reduction in the time </a:t>
            </a:r>
            <a:r>
              <a:rPr lang="en-US" dirty="0">
                <a:solidFill>
                  <a:srgbClr val="000000"/>
                </a:solidFill>
                <a:latin typeface="+mn-lt"/>
              </a:rPr>
              <a:t>it takes to onboard new customers. </a:t>
            </a: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solidFill>
                  <a:srgbClr val="000000"/>
                </a:solidFill>
                <a:latin typeface="+mn-lt"/>
              </a:rPr>
              <a:t>Case Study: </a:t>
            </a:r>
            <a:r>
              <a:rPr lang="en-US" dirty="0">
                <a:solidFill>
                  <a:srgbClr val="000000"/>
                </a:solidFill>
                <a:latin typeface="+mn-lt"/>
                <a:hlinkClick r:id="rId3"/>
              </a:rPr>
              <a:t>https://www.ibm.com/case-studies/avid-solutions-international</a:t>
            </a:r>
            <a:endParaRPr lang="en-US" dirty="0">
              <a:solidFill>
                <a:srgbClr val="000000"/>
              </a:solidFill>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solidFill>
                <a:srgbClr val="000000"/>
              </a:solidFill>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solidFill>
                  <a:srgbClr val="000000"/>
                </a:solidFill>
                <a:latin typeface="+mn-lt"/>
              </a:rPr>
              <a:t>Sport Clips is using AI to expand staff and drive employee engagement and is aiming to grow their staff by 30% with the help of responsible AI and intelligent automation delivered through watsonx Orchestrate. </a:t>
            </a: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solidFill>
                  <a:srgbClr val="000000"/>
                </a:solidFill>
                <a:latin typeface="+mn-lt"/>
              </a:rPr>
              <a:t>Case Study: </a:t>
            </a:r>
            <a:r>
              <a:rPr lang="en-US" dirty="0">
                <a:solidFill>
                  <a:srgbClr val="000000"/>
                </a:solidFill>
                <a:latin typeface="+mn-lt"/>
                <a:hlinkClick r:id="rId4"/>
              </a:rPr>
              <a:t>https://www.ibm.com/case-studies/sport-clips</a:t>
            </a:r>
            <a:endParaRPr lang="en-US" dirty="0">
              <a:solidFill>
                <a:srgbClr val="000000"/>
              </a:solidFill>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solidFill>
                <a:srgbClr val="000000"/>
              </a:solidFill>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solidFill>
                  <a:srgbClr val="000000"/>
                </a:solidFill>
                <a:latin typeface="+mn-lt"/>
              </a:rPr>
              <a:t>FloCareer is supporting job candidate satisfaction with intelligent automation and aims to grow their staff by 10-20%.</a:t>
            </a: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solidFill>
                  <a:srgbClr val="000000"/>
                </a:solidFill>
                <a:latin typeface="+mn-lt"/>
              </a:rPr>
              <a:t>Case Study: </a:t>
            </a:r>
            <a:r>
              <a:rPr lang="en-US" dirty="0">
                <a:solidFill>
                  <a:srgbClr val="000000"/>
                </a:solidFill>
                <a:latin typeface="+mn-lt"/>
                <a:hlinkClick r:id="rId5"/>
              </a:rPr>
              <a:t>https://www.ibm.com/case-studies/flocareer</a:t>
            </a:r>
            <a:endParaRPr lang="en-US" dirty="0">
              <a:solidFill>
                <a:srgbClr val="000000"/>
              </a:solidFill>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solidFill>
                <a:srgbClr val="000000"/>
              </a:solidFill>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solidFill>
                  <a:srgbClr val="000000"/>
                </a:solidFill>
                <a:latin typeface="+mn-lt"/>
              </a:rPr>
              <a:t>And lastly, IBM HR empowers human staff to devote more of their time to high value work by saving them 12,000 hours in manual tasks in 1 quarter. </a:t>
            </a: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Case Study: </a:t>
            </a:r>
            <a:r>
              <a:rPr lang="en-US" dirty="0">
                <a:latin typeface="+mn-lt"/>
                <a:hlinkClick r:id="rId6"/>
              </a:rPr>
              <a:t>https://www.ibm.com/case-studies/ibm-human-resources-watsonx-orchestrate</a:t>
            </a:r>
            <a:endParaRPr lang="en-US"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25</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18862828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Getting started with watsonx Orchestrate </a:t>
            </a:r>
            <a:endParaRPr lang="en-BR"/>
          </a:p>
        </p:txBody>
      </p:sp>
      <p:sp>
        <p:nvSpPr>
          <p:cNvPr id="4" name="Slide Number Placeholder 3"/>
          <p:cNvSpPr>
            <a:spLocks noGrp="1"/>
          </p:cNvSpPr>
          <p:nvPr>
            <p:ph type="sldNum" sz="quarter" idx="5"/>
          </p:nvPr>
        </p:nvSpPr>
        <p:spPr/>
        <p:txBody>
          <a:bodyPr/>
          <a:lstStyle/>
          <a:p>
            <a:fld id="{6E2E38B8-B0B4-AD41-AC6E-B781F46A9FD3}" type="slidenum">
              <a:rPr lang="en-US" smtClean="0"/>
              <a:pPr/>
              <a:t>26</a:t>
            </a:fld>
            <a:endParaRPr lang="en-US"/>
          </a:p>
        </p:txBody>
      </p:sp>
    </p:spTree>
    <p:extLst>
      <p:ext uri="{BB962C8B-B14F-4D97-AF65-F5344CB8AC3E}">
        <p14:creationId xmlns:p14="http://schemas.microsoft.com/office/powerpoint/2010/main" val="34570810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a:defRPr/>
            </a:pPr>
            <a:r>
              <a:rPr lang="en-US" dirty="0">
                <a:solidFill>
                  <a:srgbClr val="000000"/>
                </a:solidFill>
                <a:effectLst/>
                <a:latin typeface="+mn-lt"/>
                <a:ea typeface="Calibri" panose="020F0502020204030204" pitchFamily="34" charset="0"/>
                <a:cs typeface="Times New Roman (Body CS)"/>
              </a:rPr>
              <a:t>Every enterprise across every industry is pursuing productivity. In the same way IBM helps enterprises, IBM is driving extreme productivity by living in IBM hybrid cloud and AI strategy and digitally transforming IBM as Client Zero. </a:t>
            </a:r>
            <a:endParaRPr lang="en-US" dirty="0">
              <a:effectLst/>
              <a:latin typeface="+mn-lt"/>
              <a:ea typeface="Calibri" panose="020F0502020204030204" pitchFamily="34" charset="0"/>
              <a:cs typeface="Times New Roman (Body CS)"/>
            </a:endParaRPr>
          </a:p>
          <a:p>
            <a:endParaRPr lang="en-US" dirty="0">
              <a:latin typeface="+mn-lt"/>
            </a:endParaRPr>
          </a:p>
          <a:p>
            <a:r>
              <a:rPr lang="en-US" dirty="0">
                <a:effectLst/>
                <a:latin typeface="+mn-lt"/>
                <a:ea typeface="Calibri" panose="020F0502020204030204" pitchFamily="34" charset="0"/>
                <a:cs typeface="Times New Roman (Body CS)"/>
              </a:rPr>
              <a:t>Eliminating operational complexity, simplifying end-to-end workflows, automating manual tasks, and deploying AI across all operations is unleashing the productivity of IBM’s people and fueling investments in IBM’s growth.</a:t>
            </a:r>
          </a:p>
          <a:p>
            <a:endParaRPr lang="en-US" dirty="0">
              <a:solidFill>
                <a:srgbClr val="1849BD"/>
              </a:solidFill>
              <a:effectLst/>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Enterprises </a:t>
            </a:r>
            <a:r>
              <a:rPr lang="en-US" dirty="0">
                <a:effectLst/>
                <a:latin typeface="+mn-lt"/>
              </a:rPr>
              <a:t>look to IBM to help deliver innovative and meaningful solutions with speed and efficiency. There is no better place to test IBM solutions than internally, with the leading offerings and capabilities from IBM Technology, IBM Research, and strategic partners; and the business transformation expertise from IBM Consulting.</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effectLst/>
              <a:latin typeface="+mn-lt"/>
            </a:endParaRPr>
          </a:p>
          <a:p>
            <a:r>
              <a:rPr lang="en-US" b="0" dirty="0">
                <a:effectLst/>
                <a:latin typeface="+mn-lt"/>
              </a:rPr>
              <a:t>The best way to understand what AI assistants can do for an organization is to try them directly.</a:t>
            </a:r>
            <a:r>
              <a:rPr lang="en-US" dirty="0">
                <a:latin typeface="+mn-lt"/>
              </a:rPr>
              <a:t> </a:t>
            </a:r>
            <a:r>
              <a:rPr lang="en-US" b="0" dirty="0">
                <a:effectLst/>
                <a:latin typeface="+mn-lt"/>
              </a:rPr>
              <a:t>To get started, IBM offers a variety of ways by which enterprises can access and unlock productivity. Clients can take interactive tours to learn more about IBM AI assistant platform – IBM watsonx Orchestrate. Clients can schedule deep-dives with IBM experts, or they can engage with a set of IBM experts and define their use cases through a best in class strategy session.</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effectLst/>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effectLst/>
                <a:latin typeface="+mn-lt"/>
              </a:rPr>
              <a:t>Product Tour:</a:t>
            </a: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effectLst/>
                <a:latin typeface="+mn-lt"/>
                <a:hlinkClick r:id="rId3"/>
              </a:rPr>
              <a:t>https://www.ibm.com/account/reg/us-en/signup?formid=urx-52411</a:t>
            </a:r>
            <a:endParaRPr lang="en-US" dirty="0">
              <a:effectLst/>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effectLst/>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effectLst/>
              <a:latin typeface="+mn-lt"/>
            </a:endParaRPr>
          </a:p>
          <a:p>
            <a:endParaRPr lang="en-US" dirty="0">
              <a:latin typeface="+mn-lt"/>
            </a:endParaRPr>
          </a:p>
          <a:p>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7</a:t>
            </a:fld>
            <a:endParaRPr lang="en-US"/>
          </a:p>
        </p:txBody>
      </p:sp>
    </p:spTree>
    <p:extLst>
      <p:ext uri="{BB962C8B-B14F-4D97-AF65-F5344CB8AC3E}">
        <p14:creationId xmlns:p14="http://schemas.microsoft.com/office/powerpoint/2010/main" val="40437827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kern="0" dirty="0">
                <a:latin typeface="+mn-lt"/>
              </a:rPr>
              <a:t>This slide is self explanatory and requires no speaker notes.</a:t>
            </a:r>
          </a:p>
          <a:p>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8</a:t>
            </a:fld>
            <a:endParaRPr lang="en-US" dirty="0"/>
          </a:p>
        </p:txBody>
      </p:sp>
    </p:spTree>
    <p:extLst>
      <p:ext uri="{BB962C8B-B14F-4D97-AF65-F5344CB8AC3E}">
        <p14:creationId xmlns:p14="http://schemas.microsoft.com/office/powerpoint/2010/main" val="41090341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BR">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9</a:t>
            </a:fld>
            <a:endParaRPr lang="en-US"/>
          </a:p>
        </p:txBody>
      </p:sp>
    </p:spTree>
    <p:extLst>
      <p:ext uri="{BB962C8B-B14F-4D97-AF65-F5344CB8AC3E}">
        <p14:creationId xmlns:p14="http://schemas.microsoft.com/office/powerpoint/2010/main" val="4215483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baseline="0" dirty="0">
                <a:latin typeface="+mn-lt"/>
              </a:rPr>
              <a:t>Over the last decade, technology has played an increasingly critical role in every moment and transaction in our lives. Enterprises have leaned into AI and automation based experiences across the daily life of consumers to stand out amongst ever-growing customer expectations. At the end of the day, customers are expecting experiences that match the technological innovations available on the market – they will pick the insurance provider that gives them near-instant access to a personalized auto insurance quote, they will choose the financial institution that makes it easy for them to be pre-approved for a loan, they will stick around for the business that lets them return orders with ease.</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a:p>
            <a:endParaRPr lang="en-US" dirty="0">
              <a:latin typeface="+mn-lt"/>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42864705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Within customer care we see an opportunity for conversational and generative AI to transform the way your consumers self serve.</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30</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22655036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31</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8983586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32</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083426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33</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5189242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The advent of generative AI and the continued evolution of automation technologies have ushered in a new wave of what experiences will look like. The emergence of AI assistants (aka co-pilots) that sits alongside consumers and employees and fast-tracks them to that gratifying self-serve moment – the real outcome that businesses all seek to offer. These AI assistants need to work with the variety of back-end systems and processes required to automate experiences. Augmented by generative AI, these AI assistants offer a path to deliver personalized, contextualized, and business grounded informational help at every step of the way.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The path to adopt these AI assistants at scale has been paved from years of experience put into production AI and automation.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4</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10982983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914416" rtl="0" eaLnBrk="1" fontAlgn="auto" latinLnBrk="0" hangingPunct="1">
              <a:lnSpc>
                <a:spcPct val="110000"/>
              </a:lnSpc>
              <a:spcBef>
                <a:spcPts val="0"/>
              </a:spcBef>
              <a:spcAft>
                <a:spcPts val="0"/>
              </a:spcAft>
              <a:buClrTx/>
              <a:buSzTx/>
              <a:buFontTx/>
              <a:buNone/>
              <a:tabLst/>
              <a:defRPr/>
            </a:pPr>
            <a:r>
              <a:rPr lang="en-US" dirty="0">
                <a:latin typeface="+mn-lt"/>
              </a:rPr>
              <a:t>While brands have explored the use of AI Assistants to drive frictionless customer experiences, we believe there is an opportunity to maximize ROI on your AI and automation investments by tackling the next big challenge: driving employee productivity. Across enterprises worldwide, the </a:t>
            </a:r>
            <a:r>
              <a:rPr lang="en-US" dirty="0">
                <a:effectLst/>
                <a:latin typeface="+mn-lt"/>
              </a:rPr>
              <a:t>need to boost productivity is growing quickly, it has become a key imperative to keep brands healthy and competitive in the market</a:t>
            </a:r>
            <a:r>
              <a:rPr lang="en-US" b="1" dirty="0">
                <a:effectLst/>
                <a:latin typeface="+mn-lt"/>
              </a:rPr>
              <a:t>. </a:t>
            </a:r>
            <a:r>
              <a:rPr lang="en-US" dirty="0">
                <a:latin typeface="+mn-lt"/>
              </a:rPr>
              <a:t>B</a:t>
            </a:r>
            <a:r>
              <a:rPr lang="en-US" b="0" dirty="0">
                <a:effectLst/>
                <a:latin typeface="+mn-lt"/>
              </a:rPr>
              <a:t>etween the thousands of internal applications that need to be used, gigabytes of data, and knowledge required, it is becoming increasingly more difficult for employees to stay productive in the workplace.</a:t>
            </a:r>
            <a:endParaRPr lang="en-US" dirty="0">
              <a:latin typeface="+mn-lt"/>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5</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21524242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914416" rtl="0" eaLnBrk="1" fontAlgn="auto" latinLnBrk="0" hangingPunct="1">
              <a:lnSpc>
                <a:spcPct val="110000"/>
              </a:lnSpc>
              <a:spcBef>
                <a:spcPts val="0"/>
              </a:spcBef>
              <a:spcAft>
                <a:spcPts val="0"/>
              </a:spcAft>
              <a:buClrTx/>
              <a:buSzTx/>
              <a:buFontTx/>
              <a:buNone/>
              <a:tabLst/>
              <a:defRPr/>
            </a:pPr>
            <a:r>
              <a:rPr lang="en-US" dirty="0">
                <a:effectLst/>
                <a:latin typeface="+mn-lt"/>
                <a:cs typeface="Calibri"/>
              </a:rPr>
              <a:t>Picture an expert across any domain of an organization. Let’s pick the best HR Talent Recruiter in a company – their passion and focus is to discover, hire, onboard, and retain net new talent. The best recruiters need to spend their time reviewing candidates and building a strong relationship with qualified talent to accelerate them to that critical moment of getting them hired. Recruiters realize that behind each task there are a lot of manual steps as automations for that specific flow and </a:t>
            </a:r>
            <a:r>
              <a:rPr lang="en-US" dirty="0">
                <a:latin typeface="+mn-lt"/>
              </a:rPr>
              <a:t>their requirements are unique and don’t bubble up to the corporate priority list of standard repetitive tasks. </a:t>
            </a:r>
            <a:r>
              <a:rPr lang="en-US" dirty="0">
                <a:effectLst/>
                <a:latin typeface="+mn-lt"/>
                <a:cs typeface="Calibri"/>
              </a:rPr>
              <a:t>This leaves the recruiter having to jump from application to application, stitching and manipulating data like important fields of a job requisition between those tools and then reconciling that data to ensure that the job posting is truly reflective. </a:t>
            </a:r>
          </a:p>
          <a:p>
            <a:pPr marL="0" marR="0" lvl="0" indent="0" algn="l" defTabSz="914416" rtl="0" eaLnBrk="1" fontAlgn="auto" latinLnBrk="0" hangingPunct="1">
              <a:lnSpc>
                <a:spcPct val="110000"/>
              </a:lnSpc>
              <a:spcBef>
                <a:spcPts val="0"/>
              </a:spcBef>
              <a:spcAft>
                <a:spcPts val="0"/>
              </a:spcAft>
              <a:buClrTx/>
              <a:buSzTx/>
              <a:buFontTx/>
              <a:buNone/>
              <a:tabLst/>
              <a:defRPr/>
            </a:pPr>
            <a:endParaRPr lang="en-US" dirty="0">
              <a:effectLst/>
              <a:latin typeface="+mn-lt"/>
              <a:cs typeface="Calibri"/>
            </a:endParaRPr>
          </a:p>
          <a:p>
            <a:pPr defTabSz="914416">
              <a:defRPr/>
            </a:pPr>
            <a:r>
              <a:rPr lang="en-US" dirty="0">
                <a:effectLst/>
                <a:latin typeface="+mn-lt"/>
                <a:cs typeface="Calibri"/>
              </a:rPr>
              <a:t>On top of that, </a:t>
            </a:r>
            <a:r>
              <a:rPr lang="en-US" dirty="0">
                <a:latin typeface="+mn-lt"/>
                <a:cs typeface="Calibri"/>
              </a:rPr>
              <a:t>recruiters</a:t>
            </a:r>
            <a:r>
              <a:rPr lang="en-US" dirty="0">
                <a:effectLst/>
                <a:latin typeface="+mn-lt"/>
                <a:cs typeface="Calibri"/>
              </a:rPr>
              <a:t> are faced with the challenge of using tools in which they are unfamiliar and spend too much of their time trying to understand processes in which they are not an expert. </a:t>
            </a:r>
            <a:r>
              <a:rPr lang="en-US" b="0" dirty="0">
                <a:effectLst/>
                <a:latin typeface="+mn-lt"/>
              </a:rPr>
              <a:t>And when they're about to reach that conclusion, they realize they don't know how to handle exceptions and they need to seek further approvals, thus delaying their outcome one more time.</a:t>
            </a:r>
          </a:p>
          <a:p>
            <a:pPr marL="0" marR="0" lvl="0" indent="0" algn="l" defTabSz="914416" rtl="0" eaLnBrk="1" fontAlgn="auto" latinLnBrk="0" hangingPunct="1">
              <a:lnSpc>
                <a:spcPct val="110000"/>
              </a:lnSpc>
              <a:spcBef>
                <a:spcPts val="0"/>
              </a:spcBef>
              <a:spcAft>
                <a:spcPts val="0"/>
              </a:spcAft>
              <a:buClrTx/>
              <a:buSzTx/>
              <a:buFontTx/>
              <a:buNone/>
              <a:tabLst/>
              <a:defRPr/>
            </a:pPr>
            <a:endParaRPr lang="en-US" dirty="0">
              <a:latin typeface="+mn-lt"/>
              <a:cs typeface="Calibri"/>
            </a:endParaRPr>
          </a:p>
          <a:p>
            <a:pPr defTabSz="914416">
              <a:defRPr/>
            </a:pPr>
            <a:r>
              <a:rPr lang="en-US" dirty="0">
                <a:effectLst/>
                <a:latin typeface="+mn-lt"/>
                <a:cs typeface="Calibri"/>
              </a:rPr>
              <a:t>This same </a:t>
            </a:r>
            <a:r>
              <a:rPr lang="en-US" dirty="0">
                <a:latin typeface="+mn-lt"/>
                <a:cs typeface="Calibri"/>
              </a:rPr>
              <a:t>pattern applies to other experts across the enterprise. For example, for </a:t>
            </a:r>
            <a:r>
              <a:rPr lang="en-US" dirty="0">
                <a:effectLst/>
                <a:latin typeface="+mn-lt"/>
                <a:cs typeface="Calibri"/>
              </a:rPr>
              <a:t>sellers looking to prospect and engage with customers and having to reconcile prospecting data with existing CRM (Customer Relationship Management) clien</a:t>
            </a:r>
            <a:r>
              <a:rPr lang="en-US" dirty="0">
                <a:latin typeface="+mn-lt"/>
                <a:cs typeface="Calibri"/>
              </a:rPr>
              <a:t>t data. It also applies to </a:t>
            </a:r>
            <a:r>
              <a:rPr lang="en-US" dirty="0">
                <a:effectLst/>
                <a:latin typeface="+mn-lt"/>
                <a:cs typeface="Calibri"/>
              </a:rPr>
              <a:t>procurement specialists inundated </a:t>
            </a:r>
            <a:r>
              <a:rPr lang="en-US" b="0" dirty="0">
                <a:effectLst/>
                <a:latin typeface="+mn-lt"/>
              </a:rPr>
              <a:t>with requests from both vendors and suppliers.</a:t>
            </a:r>
          </a:p>
          <a:p>
            <a:pPr marL="0" marR="0" lvl="0" indent="0" algn="l" defTabSz="914416" rtl="0" eaLnBrk="1" fontAlgn="auto" latinLnBrk="0" hangingPunct="1">
              <a:lnSpc>
                <a:spcPct val="110000"/>
              </a:lnSpc>
              <a:spcBef>
                <a:spcPts val="0"/>
              </a:spcBef>
              <a:spcAft>
                <a:spcPts val="0"/>
              </a:spcAft>
              <a:buClrTx/>
              <a:buSzTx/>
              <a:buFontTx/>
              <a:buNone/>
              <a:tabLst/>
              <a:defRPr/>
            </a:pPr>
            <a:endParaRPr lang="en-US" dirty="0">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1184152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914416" rtl="0" eaLnBrk="1" fontAlgn="auto" latinLnBrk="0" hangingPunct="1">
              <a:lnSpc>
                <a:spcPct val="110000"/>
              </a:lnSpc>
              <a:spcBef>
                <a:spcPts val="0"/>
              </a:spcBef>
              <a:spcAft>
                <a:spcPts val="0"/>
              </a:spcAft>
              <a:buClrTx/>
              <a:buSzTx/>
              <a:buFontTx/>
              <a:buNone/>
              <a:tabLst/>
              <a:defRPr/>
            </a:pPr>
            <a:r>
              <a:rPr lang="en-US" dirty="0">
                <a:latin typeface="+mn-lt"/>
              </a:rPr>
              <a:t>The need for automation is growing faster than technology can be rolled out. Traditional automation solutions are focused on streamlining mission-critical business processes; however, employees still face productivity issues in their day-to-day work. Employee needs for accessible and intelligent automation are unmet because their requirements are unique and don’t typically bubble up to the corporate priority list of standard repetitive tasks</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24383213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defTabSz="914416">
              <a:spcBef>
                <a:spcPts val="0"/>
              </a:spcBef>
              <a:spcAft>
                <a:spcPts val="0"/>
              </a:spcAft>
              <a:buClrTx/>
              <a:buSzTx/>
              <a:defRPr/>
            </a:pPr>
            <a:r>
              <a:rPr lang="en-US" dirty="0">
                <a:latin typeface="+mn-lt"/>
                <a:cs typeface="Calibri"/>
              </a:rPr>
              <a:t>Looking closely at the friction points hindering employee productivity, it’s easy to see that employees are tasked with using multiple tools and systems in which they are sometimes unfamiliar with how to use, completing manual tasks and hunting for information, and trying to complete tasks that they are not experts in - wasting time just trying to figure out how to get something done. </a:t>
            </a:r>
          </a:p>
          <a:p>
            <a:pPr defTabSz="914416">
              <a:spcBef>
                <a:spcPts val="0"/>
              </a:spcBef>
              <a:spcAft>
                <a:spcPts val="0"/>
              </a:spcAft>
              <a:buClrTx/>
              <a:buSzTx/>
              <a:defRPr/>
            </a:pPr>
            <a:endParaRPr lang="en-US" dirty="0">
              <a:latin typeface="+mn-lt"/>
              <a:cs typeface="Calibri"/>
            </a:endParaRPr>
          </a:p>
          <a:p>
            <a:r>
              <a:rPr lang="en-US" b="0" dirty="0">
                <a:effectLst/>
                <a:latin typeface="+mn-lt"/>
              </a:rPr>
              <a:t>On the left-hand side, there are experts performing expert level tasks and they need to spend hours performing manual stitching of data and flows. They need to learn to use typically 13+ applications and systems and try to remain expert and proficient with all of them. </a:t>
            </a:r>
            <a:r>
              <a:rPr lang="en-US" dirty="0">
                <a:latin typeface="+mn-lt"/>
              </a:rPr>
              <a:t>O</a:t>
            </a:r>
            <a:r>
              <a:rPr lang="en-US" b="0" dirty="0">
                <a:effectLst/>
                <a:latin typeface="+mn-lt"/>
              </a:rPr>
              <a:t>ften, they struggle to stay up to date on relevant information as it continuously evolves.</a:t>
            </a:r>
          </a:p>
          <a:p>
            <a:endParaRPr lang="en-US" b="0" dirty="0">
              <a:effectLst/>
              <a:latin typeface="+mn-lt"/>
            </a:endParaRPr>
          </a:p>
          <a:p>
            <a:r>
              <a:rPr lang="en-US" b="0" dirty="0">
                <a:effectLst/>
                <a:latin typeface="+mn-lt"/>
              </a:rPr>
              <a:t>On the right-hand side, those same employees are very often not experts in other tasks that the enterprise requires of them. For example, they'll spend hours figuring out how to fulfill a simple HR or IT administrative task. They have no idea where they can get help because there's hundreds and hundreds and thousands of applications that could help them. However, it is difficult for them to keep up and they feel stuck because they don't even know what kind of information, they need to fulfill those kind of tasks.</a:t>
            </a:r>
          </a:p>
          <a:p>
            <a:pPr defTabSz="914416">
              <a:spcBef>
                <a:spcPts val="0"/>
              </a:spcBef>
              <a:spcAft>
                <a:spcPts val="0"/>
              </a:spcAft>
              <a:buClrTx/>
              <a:buSzTx/>
              <a:defRPr/>
            </a:pPr>
            <a:endParaRPr lang="en-US" dirty="0">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900170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12065" lvl="1" indent="0" defTabSz="914416">
              <a:buNone/>
              <a:defRPr/>
            </a:pPr>
            <a:r>
              <a:rPr lang="en-US" dirty="0">
                <a:latin typeface="+mn-lt"/>
              </a:rPr>
              <a:t>It is time to </a:t>
            </a:r>
            <a:r>
              <a:rPr lang="en-US" b="1" dirty="0">
                <a:latin typeface="+mn-lt"/>
              </a:rPr>
              <a:t>REIMAGINE WORK. </a:t>
            </a:r>
            <a:r>
              <a:rPr lang="en-US" b="0" dirty="0">
                <a:latin typeface="+mn-lt"/>
              </a:rPr>
              <a:t>With</a:t>
            </a:r>
            <a:r>
              <a:rPr lang="en-US" b="1" dirty="0">
                <a:latin typeface="+mn-lt"/>
              </a:rPr>
              <a:t> </a:t>
            </a:r>
            <a:r>
              <a:rPr lang="en-US" dirty="0">
                <a:latin typeface="+mn-lt"/>
              </a:rPr>
              <a:t>AI Assistants, enterprises can harness the power of AI and automation, and free up individuals from the drudgery of work: copy and pasting or editing data in applications, clicking from system to system, chasing after work and people</a:t>
            </a:r>
            <a:r>
              <a:rPr lang="en-US" dirty="0">
                <a:latin typeface="+mn-lt"/>
                <a:cs typeface="Calibri" panose="020F0502020204030204"/>
              </a:rPr>
              <a:t>. </a:t>
            </a:r>
            <a:r>
              <a:rPr lang="en-US" dirty="0">
                <a:latin typeface="+mn-lt"/>
              </a:rPr>
              <a:t>Individuals no longer need to build expert knowledge of how to run software applications, execute business processes, or adhere to enterprise policies. Rather, employees can stay focused on business development and innovation – the higher-level work that is important to the business.</a:t>
            </a:r>
            <a:endParaRPr lang="en-US" dirty="0">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9</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41014933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13.emf"/></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3.emf"/></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560959" y="12096093"/>
            <a:ext cx="4953000" cy="1143000"/>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6656388" y="12001501"/>
            <a:ext cx="4953000" cy="1237592"/>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6795180"/>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12735719" y="384049"/>
            <a:ext cx="11075384" cy="8574086"/>
          </a:xfrm>
          <a:prstGeom prst="rect">
            <a:avLst/>
          </a:prstGeom>
        </p:spPr>
        <p:txBody>
          <a:bodyPr/>
          <a:lstStyle>
            <a:lvl1pPr defTabSz="1161288">
              <a:lnSpc>
                <a:spcPct val="100000"/>
              </a:lnSpc>
              <a:spcBef>
                <a:spcPts val="0"/>
              </a:spcBef>
              <a:defRPr sz="6400" b="0" i="0">
                <a:solidFill>
                  <a:schemeClr val="tx1"/>
                </a:solidFill>
                <a:latin typeface="IBM Plex Sans Light" panose="020B0403050203000203" pitchFamily="34" charset="0"/>
              </a:defRPr>
            </a:lvl1pPr>
            <a:lvl2pPr defTabSz="1161288">
              <a:lnSpc>
                <a:spcPct val="100000"/>
              </a:lnSpc>
              <a:spcBef>
                <a:spcPts val="0"/>
              </a:spcBef>
              <a:defRPr sz="6400" b="0" i="0">
                <a:solidFill>
                  <a:schemeClr val="tx1"/>
                </a:solidFill>
                <a:latin typeface="IBM Plex Sans Light" panose="020B0403050203000203" pitchFamily="34" charset="0"/>
              </a:defRPr>
            </a:lvl2pPr>
            <a:lvl3pPr defTabSz="1161288">
              <a:lnSpc>
                <a:spcPct val="100000"/>
              </a:lnSpc>
              <a:spcBef>
                <a:spcPts val="0"/>
              </a:spcBef>
              <a:defRPr sz="6400" b="0" i="0">
                <a:solidFill>
                  <a:schemeClr val="tx1"/>
                </a:solidFill>
                <a:latin typeface="IBM Plex Sans Light" panose="020B0403050203000203" pitchFamily="34" charset="0"/>
              </a:defRPr>
            </a:lvl3pPr>
            <a:lvl4pPr defTabSz="1161288">
              <a:lnSpc>
                <a:spcPct val="100000"/>
              </a:lnSpc>
              <a:spcBef>
                <a:spcPts val="0"/>
              </a:spcBef>
              <a:defRPr sz="6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2206079"/>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p:nvPicPr>
        <p:blipFill>
          <a:blip r:embed="rId3"/>
          <a:srcRect/>
          <a:stretch/>
        </p:blipFill>
        <p:spPr>
          <a:xfrm>
            <a:off x="22386420" y="12547346"/>
            <a:ext cx="1391080" cy="554955"/>
          </a:xfrm>
          <a:prstGeom prst="rect">
            <a:avLst/>
          </a:prstGeom>
        </p:spPr>
      </p:pic>
    </p:spTree>
    <p:extLst>
      <p:ext uri="{BB962C8B-B14F-4D97-AF65-F5344CB8AC3E}">
        <p14:creationId xmlns:p14="http://schemas.microsoft.com/office/powerpoint/2010/main" val="74587788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45" y="1225"/>
            <a:ext cx="24359291"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p:nvPicPr>
        <p:blipFill>
          <a:blip r:embed="rId3"/>
          <a:srcRect/>
          <a:stretch/>
        </p:blipFill>
        <p:spPr>
          <a:xfrm>
            <a:off x="22386420" y="12547346"/>
            <a:ext cx="1391080" cy="554955"/>
          </a:xfrm>
          <a:prstGeom prst="rect">
            <a:avLst/>
          </a:prstGeom>
        </p:spPr>
      </p:pic>
    </p:spTree>
    <p:extLst>
      <p:ext uri="{BB962C8B-B14F-4D97-AF65-F5344CB8AC3E}">
        <p14:creationId xmlns:p14="http://schemas.microsoft.com/office/powerpoint/2010/main" val="230472291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45" y="1219"/>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p:nvPicPr>
        <p:blipFill>
          <a:blip r:embed="rId3"/>
          <a:srcRect/>
          <a:stretch/>
        </p:blipFill>
        <p:spPr>
          <a:xfrm>
            <a:off x="22386420" y="12547346"/>
            <a:ext cx="1391080" cy="554955"/>
          </a:xfrm>
          <a:prstGeom prst="rect">
            <a:avLst/>
          </a:prstGeom>
        </p:spPr>
      </p:pic>
    </p:spTree>
    <p:extLst>
      <p:ext uri="{BB962C8B-B14F-4D97-AF65-F5344CB8AC3E}">
        <p14:creationId xmlns:p14="http://schemas.microsoft.com/office/powerpoint/2010/main" val="25416342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7951831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579" indent="0">
              <a:buNone/>
              <a:defRPr/>
            </a:lvl3pPr>
            <a:lvl4pPr marL="1159818" indent="0">
              <a:buNone/>
              <a:defRPr/>
            </a:lvl4pPr>
            <a:lvl5pPr marL="16846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579" indent="0">
              <a:buNone/>
              <a:defRPr/>
            </a:lvl3pPr>
            <a:lvl4pPr marL="1159818" indent="0">
              <a:buNone/>
              <a:defRPr/>
            </a:lvl4pPr>
            <a:lvl5pPr marL="16846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8691091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97"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6638519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97"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2071843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1" y="243840"/>
            <a:ext cx="23411507" cy="11744960"/>
          </a:xfrm>
        </p:spPr>
        <p:txBody>
          <a:bodyPr/>
          <a:lstStyle>
            <a:lvl1pPr>
              <a:defRPr sz="25597"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4218824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3" y="536448"/>
            <a:ext cx="14835358"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8634212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09450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5200"/>
            <a:ext cx="14662150" cy="97170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471603199"/>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3"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434339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399">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723800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3926003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7589142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713730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1" y="536448"/>
            <a:ext cx="11047209"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3160241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0585057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8878106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9213881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72"/>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p:nvCxnSpPr>
        <p:spPr bwMode="auto">
          <a:xfrm flipV="1">
            <a:off x="12193588" y="626538"/>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p:nvCxnSpPr>
        <p:spPr bwMode="auto">
          <a:xfrm flipV="1">
            <a:off x="18280871" y="626540"/>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p:nvCxnSpPr>
        <p:spPr bwMode="auto">
          <a:xfrm>
            <a:off x="12781301"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901128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00" y="9296400"/>
            <a:ext cx="11050588" cy="3543300"/>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0587" y="9296400"/>
            <a:ext cx="11049000" cy="3543300"/>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574675" y="385200"/>
            <a:ext cx="7632176" cy="6288087"/>
          </a:xfrm>
          <a:prstGeom prst="rect">
            <a:avLst/>
          </a:prstGeom>
        </p:spPr>
        <p:txBody>
          <a:bodyPr/>
          <a:lstStyle>
            <a:lvl1pPr defTabSz="1161288">
              <a:lnSpc>
                <a:spcPct val="100000"/>
              </a:lnSpc>
              <a:spcBef>
                <a:spcPts val="0"/>
              </a:spcBef>
              <a:defRPr sz="6400" b="0" i="0">
                <a:solidFill>
                  <a:schemeClr val="tx1"/>
                </a:solidFill>
                <a:latin typeface="IBM Plex Sans Light" panose="020B0403050203000203" pitchFamily="34" charset="0"/>
              </a:defRPr>
            </a:lvl1pPr>
            <a:lvl2pPr defTabSz="1161288">
              <a:lnSpc>
                <a:spcPct val="100000"/>
              </a:lnSpc>
              <a:spcBef>
                <a:spcPts val="0"/>
              </a:spcBef>
              <a:defRPr sz="6400" b="0" i="0">
                <a:solidFill>
                  <a:schemeClr val="tx1"/>
                </a:solidFill>
                <a:latin typeface="IBM Plex Sans Light" panose="020B0403050203000203" pitchFamily="34" charset="0"/>
              </a:defRPr>
            </a:lvl2pPr>
            <a:lvl3pPr defTabSz="1161288">
              <a:lnSpc>
                <a:spcPct val="100000"/>
              </a:lnSpc>
              <a:spcBef>
                <a:spcPts val="0"/>
              </a:spcBef>
              <a:defRPr sz="6400" b="0" i="0">
                <a:solidFill>
                  <a:schemeClr val="tx1"/>
                </a:solidFill>
                <a:latin typeface="IBM Plex Sans Light" panose="020B0403050203000203" pitchFamily="34" charset="0"/>
              </a:defRPr>
            </a:lvl3pPr>
            <a:lvl4pPr defTabSz="1161288">
              <a:lnSpc>
                <a:spcPct val="100000"/>
              </a:lnSpc>
              <a:spcBef>
                <a:spcPts val="0"/>
              </a:spcBef>
              <a:defRPr sz="6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12760587" y="385199"/>
            <a:ext cx="7632176" cy="6288087"/>
          </a:xfrm>
          <a:prstGeom prst="rect">
            <a:avLst/>
          </a:prstGeom>
        </p:spPr>
        <p:txBody>
          <a:bodyPr/>
          <a:lstStyle>
            <a:lvl1pPr defTabSz="1161288">
              <a:lnSpc>
                <a:spcPct val="100000"/>
              </a:lnSpc>
              <a:spcBef>
                <a:spcPts val="0"/>
              </a:spcBef>
              <a:defRPr sz="6400" b="0" i="0">
                <a:solidFill>
                  <a:schemeClr val="tx1"/>
                </a:solidFill>
                <a:latin typeface="IBM Plex Sans Light" panose="020B0403050203000203" pitchFamily="34" charset="0"/>
              </a:defRPr>
            </a:lvl1pPr>
            <a:lvl2pPr defTabSz="1161288">
              <a:lnSpc>
                <a:spcPct val="100000"/>
              </a:lnSpc>
              <a:spcBef>
                <a:spcPts val="0"/>
              </a:spcBef>
              <a:defRPr sz="6400" b="0" i="0">
                <a:solidFill>
                  <a:schemeClr val="tx1"/>
                </a:solidFill>
                <a:latin typeface="IBM Plex Sans Light" panose="020B0403050203000203" pitchFamily="34" charset="0"/>
              </a:defRPr>
            </a:lvl2pPr>
            <a:lvl3pPr defTabSz="1161288">
              <a:lnSpc>
                <a:spcPct val="100000"/>
              </a:lnSpc>
              <a:spcBef>
                <a:spcPts val="0"/>
              </a:spcBef>
              <a:defRPr sz="6400" b="0" i="0">
                <a:solidFill>
                  <a:schemeClr val="tx1"/>
                </a:solidFill>
                <a:latin typeface="IBM Plex Sans Light" panose="020B0403050203000203" pitchFamily="34" charset="0"/>
              </a:defRPr>
            </a:lvl3pPr>
            <a:lvl4pPr defTabSz="1161288">
              <a:lnSpc>
                <a:spcPct val="100000"/>
              </a:lnSpc>
              <a:spcBef>
                <a:spcPts val="0"/>
              </a:spcBef>
              <a:defRPr sz="6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47478196"/>
      </p:ext>
    </p:extLst>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2"/>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72"/>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p:nvCxnSpPr>
        <p:spPr bwMode="auto">
          <a:xfrm flipV="1">
            <a:off x="12193588" y="626538"/>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p:nvCxnSpPr>
        <p:spPr bwMode="auto">
          <a:xfrm>
            <a:off x="609684"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p:nvCxnSpPr>
        <p:spPr bwMode="auto">
          <a:xfrm>
            <a:off x="12781301"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p:nvCxnSpPr>
        <p:spPr bwMode="auto">
          <a:xfrm flipV="1">
            <a:off x="18284428" y="626540"/>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5472260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4"/>
            <a:ext cx="24387175" cy="6851901"/>
          </a:xfrm>
          <a:noFill/>
        </p:spPr>
        <p:txBody>
          <a:bodyPr lIns="182880" tIns="164592" rIns="228600" bIns="228600"/>
          <a:lstStyle>
            <a:lvl1pPr>
              <a:defRPr sz="12799">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72"/>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72"/>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7"/>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7"/>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p:nvCxnSpPr>
        <p:spPr bwMode="auto">
          <a:xfrm flipV="1">
            <a:off x="6096794" y="7444380"/>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p:nvCxnSpPr>
        <p:spPr bwMode="auto">
          <a:xfrm flipV="1">
            <a:off x="12193588" y="7444380"/>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p:nvCxnSpPr>
        <p:spPr bwMode="auto">
          <a:xfrm flipV="1">
            <a:off x="18290381" y="7444380"/>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7531824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9504004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4"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7">
                <a:solidFill>
                  <a:schemeClr val="tx1"/>
                </a:solidFill>
              </a:defRPr>
            </a:lvl2pPr>
            <a:lvl3pPr>
              <a:buClr>
                <a:srgbClr val="001141"/>
              </a:buClr>
              <a:defRPr sz="2667">
                <a:solidFill>
                  <a:schemeClr val="tx1"/>
                </a:solidFill>
              </a:defRPr>
            </a:lvl3pPr>
            <a:lvl4pPr>
              <a:buClr>
                <a:srgbClr val="001141"/>
              </a:buClr>
              <a:defRPr sz="2667">
                <a:solidFill>
                  <a:schemeClr val="tx1"/>
                </a:solidFill>
              </a:defRPr>
            </a:lvl4pPr>
            <a:lvl5pPr>
              <a:buClr>
                <a:srgbClr val="001141"/>
              </a:buClr>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4529015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p:nvCxnSpPr>
        <p:spPr bwMode="auto">
          <a:xfrm flipV="1">
            <a:off x="12193588" y="626538"/>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p:nvCxnSpPr>
        <p:spPr bwMode="auto">
          <a:xfrm flipV="1">
            <a:off x="6090844" y="626538"/>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p:nvCxnSpPr>
        <p:spPr bwMode="auto">
          <a:xfrm flipV="1">
            <a:off x="18284431" y="626538"/>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5506243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4"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4166980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7864530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3"/>
            <a:ext cx="4901822" cy="8672576"/>
          </a:xfrm>
        </p:spPr>
        <p:txBody>
          <a:bodyPr/>
          <a:lstStyle>
            <a:lvl1pPr>
              <a:spcBef>
                <a:spcPts val="800"/>
              </a:spcBef>
              <a:defRPr sz="3733">
                <a:solidFill>
                  <a:schemeClr val="tx1"/>
                </a:solidFill>
              </a:defRPr>
            </a:lvl1pPr>
            <a:lvl2pPr>
              <a:spcBef>
                <a:spcPts val="2933"/>
              </a:spcBef>
              <a:defRPr sz="3733">
                <a:solidFill>
                  <a:schemeClr val="tx1"/>
                </a:solidFill>
              </a:defRPr>
            </a:lvl2pPr>
            <a:lvl3pPr>
              <a:spcBef>
                <a:spcPts val="2933"/>
              </a:spcBef>
              <a:defRPr sz="3733">
                <a:solidFill>
                  <a:schemeClr val="tx1"/>
                </a:solidFill>
              </a:defRPr>
            </a:lvl3pPr>
            <a:lvl4pPr>
              <a:spcBef>
                <a:spcPts val="2933"/>
              </a:spcBef>
              <a:defRPr sz="3733">
                <a:solidFill>
                  <a:schemeClr val="tx1"/>
                </a:solidFill>
              </a:defRPr>
            </a:lvl4pPr>
            <a:lvl5pPr>
              <a:spcBef>
                <a:spcPts val="2933"/>
              </a:spcBef>
              <a:defRPr sz="37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323751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7">
                <a:solidFill>
                  <a:schemeClr val="tx1"/>
                </a:solidFill>
              </a:defRPr>
            </a:lvl1pPr>
            <a:lvl2pPr>
              <a:spcBef>
                <a:spcPts val="800"/>
              </a:spcBef>
              <a:defRPr sz="2667">
                <a:solidFill>
                  <a:schemeClr val="tx1"/>
                </a:solidFill>
              </a:defRPr>
            </a:lvl2pPr>
            <a:lvl3pPr>
              <a:spcBef>
                <a:spcPts val="800"/>
              </a:spcBef>
              <a:defRPr sz="2667">
                <a:solidFill>
                  <a:schemeClr val="tx1"/>
                </a:solidFill>
              </a:defRPr>
            </a:lvl3pPr>
            <a:lvl4pPr>
              <a:spcBef>
                <a:spcPts val="800"/>
              </a:spcBef>
              <a:defRPr sz="2667">
                <a:solidFill>
                  <a:schemeClr val="tx1"/>
                </a:solidFill>
              </a:defRPr>
            </a:lvl4pPr>
            <a:lvl5pPr>
              <a:spcBef>
                <a:spcPts val="800"/>
              </a:spcBef>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399">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4545254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150364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385200"/>
            <a:ext cx="4949825" cy="1906588"/>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385200"/>
            <a:ext cx="4949825" cy="1903413"/>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1907912"/>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385200"/>
            <a:ext cx="4949825"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00000"/>
              </a:lnSpc>
              <a:spcBef>
                <a:spcPts val="0"/>
              </a:spcBef>
              <a:defRPr sz="1600" b="0" i="0">
                <a:solidFill>
                  <a:schemeClr val="tx1"/>
                </a:solidFill>
                <a:latin typeface="IBM Plex Sans Light" panose="020B0403050203000203" pitchFamily="34" charset="0"/>
              </a:defRPr>
            </a:lvl2pPr>
            <a:lvl3pPr marL="292608" indent="-146304">
              <a:lnSpc>
                <a:spcPct val="100000"/>
              </a:lnSpc>
              <a:spcBef>
                <a:spcPts val="0"/>
              </a:spcBef>
              <a:defRPr sz="1600" b="0" i="0">
                <a:solidFill>
                  <a:schemeClr val="tx1"/>
                </a:solidFill>
                <a:latin typeface="IBM Plex Sans Light" panose="020B0403050203000203" pitchFamily="34" charset="0"/>
              </a:defRPr>
            </a:lvl3pPr>
            <a:lvl4pPr marL="438912" indent="-146304">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7"/>
            <a:ext cx="4951413" cy="967304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3067"/>
            <a:ext cx="4953000" cy="9666845"/>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083368050"/>
      </p:ext>
    </p:extLst>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6270693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046216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7">
                <a:solidFill>
                  <a:schemeClr val="tx1"/>
                </a:solidFill>
              </a:defRPr>
            </a:lvl1pPr>
            <a:lvl2pPr marL="0" indent="0">
              <a:spcBef>
                <a:spcPts val="0"/>
              </a:spcBef>
              <a:buNone/>
              <a:defRPr/>
            </a:lvl2pPr>
            <a:lvl3pPr marL="537579" indent="0">
              <a:buNone/>
              <a:defRPr/>
            </a:lvl3pPr>
            <a:lvl4pPr marL="1159818" indent="0">
              <a:buNone/>
              <a:defRPr/>
            </a:lvl4pPr>
            <a:lvl5pPr marL="1684698"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3090462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ibm sign-off (blue60)">
    <p:spTree>
      <p:nvGrpSpPr>
        <p:cNvPr id="1" name=""/>
        <p:cNvGrpSpPr/>
        <p:nvPr/>
      </p:nvGrpSpPr>
      <p:grpSpPr>
        <a:xfrm>
          <a:off x="0" y="0"/>
          <a:ext cx="0" cy="0"/>
          <a:chOff x="0" y="0"/>
          <a:chExt cx="0" cy="0"/>
        </a:xfrm>
      </p:grpSpPr>
      <p:pic>
        <p:nvPicPr>
          <p:cNvPr id="5" name="Picture"/>
          <p:cNvPicPr>
            <a:picLocks noChangeAspect="1"/>
          </p:cNvPicPr>
          <p:nvPr/>
        </p:nvPicPr>
        <p:blipFill>
          <a:blip r:embed="rId2"/>
          <a:srcRect/>
          <a:stretch/>
        </p:blipFill>
        <p:spPr>
          <a:xfrm>
            <a:off x="10463224" y="6167695"/>
            <a:ext cx="3460733" cy="1380616"/>
          </a:xfrm>
          <a:prstGeom prst="rect">
            <a:avLst/>
          </a:prstGeom>
        </p:spPr>
      </p:pic>
    </p:spTree>
    <p:extLst>
      <p:ext uri="{BB962C8B-B14F-4D97-AF65-F5344CB8AC3E}">
        <p14:creationId xmlns:p14="http://schemas.microsoft.com/office/powerpoint/2010/main" val="389189506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ibm sign-off (blue80)">
    <p:spTree>
      <p:nvGrpSpPr>
        <p:cNvPr id="1" name=""/>
        <p:cNvGrpSpPr/>
        <p:nvPr/>
      </p:nvGrpSpPr>
      <p:grpSpPr>
        <a:xfrm>
          <a:off x="0" y="0"/>
          <a:ext cx="0" cy="0"/>
          <a:chOff x="0" y="0"/>
          <a:chExt cx="0" cy="0"/>
        </a:xfrm>
      </p:grpSpPr>
      <p:pic>
        <p:nvPicPr>
          <p:cNvPr id="5" name="Picture"/>
          <p:cNvPicPr>
            <a:picLocks noChangeAspect="1"/>
          </p:cNvPicPr>
          <p:nvPr/>
        </p:nvPicPr>
        <p:blipFill>
          <a:blip r:embed="rId2"/>
          <a:srcRect/>
          <a:stretch/>
        </p:blipFill>
        <p:spPr>
          <a:xfrm>
            <a:off x="10463227" y="6167695"/>
            <a:ext cx="3460728" cy="1380616"/>
          </a:xfrm>
          <a:prstGeom prst="rect">
            <a:avLst/>
          </a:prstGeom>
        </p:spPr>
      </p:pic>
    </p:spTree>
    <p:extLst>
      <p:ext uri="{BB962C8B-B14F-4D97-AF65-F5344CB8AC3E}">
        <p14:creationId xmlns:p14="http://schemas.microsoft.com/office/powerpoint/2010/main" val="293925458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ibm sign-off (black)">
    <p:spTree>
      <p:nvGrpSpPr>
        <p:cNvPr id="1" name=""/>
        <p:cNvGrpSpPr/>
        <p:nvPr/>
      </p:nvGrpSpPr>
      <p:grpSpPr>
        <a:xfrm>
          <a:off x="0" y="0"/>
          <a:ext cx="0" cy="0"/>
          <a:chOff x="0" y="0"/>
          <a:chExt cx="0" cy="0"/>
        </a:xfrm>
      </p:grpSpPr>
      <p:pic>
        <p:nvPicPr>
          <p:cNvPr id="5" name="Picture"/>
          <p:cNvPicPr>
            <a:picLocks noChangeAspect="1"/>
          </p:cNvPicPr>
          <p:nvPr/>
        </p:nvPicPr>
        <p:blipFill>
          <a:blip r:embed="rId2"/>
          <a:srcRect/>
          <a:stretch/>
        </p:blipFill>
        <p:spPr>
          <a:xfrm>
            <a:off x="10463224" y="6167695"/>
            <a:ext cx="3460733" cy="1380619"/>
          </a:xfrm>
          <a:prstGeom prst="rect">
            <a:avLst/>
          </a:prstGeom>
        </p:spPr>
      </p:pic>
    </p:spTree>
    <p:extLst>
      <p:ext uri="{BB962C8B-B14F-4D97-AF65-F5344CB8AC3E}">
        <p14:creationId xmlns:p14="http://schemas.microsoft.com/office/powerpoint/2010/main" val="2748386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38498" y="383877"/>
            <a:ext cx="11050588" cy="2859088"/>
          </a:xfrm>
        </p:spPr>
        <p:txBody>
          <a:bodyPr rIns="457200"/>
          <a:lstStyle>
            <a:lvl1pPr>
              <a:lnSpc>
                <a:spcPct val="100000"/>
              </a:lnSpc>
              <a:defRPr sz="5687">
                <a:solidFill>
                  <a:schemeClr val="tx2"/>
                </a:solidFill>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72023" y="12952565"/>
            <a:ext cx="240482" cy="218779"/>
          </a:xfrm>
          <a:prstGeom prst="rect">
            <a:avLst/>
          </a:prstGeom>
          <a:ln w="12700">
            <a:miter lim="400000"/>
          </a:ln>
        </p:spPr>
        <p:txBody>
          <a:bodyPr wrap="none" lIns="0" tIns="0" rIns="0" bIns="0" anchor="ctr">
            <a:spAutoFit/>
          </a:bodyPr>
          <a:lstStyle>
            <a:lvl1pPr algn="r">
              <a:defRPr sz="1421"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8" y="12804239"/>
            <a:ext cx="4956176" cy="381000"/>
          </a:xfrm>
        </p:spPr>
        <p:txBody>
          <a:bodyPr/>
          <a:lstStyle/>
          <a:p>
            <a:r>
              <a:rPr lang="en-US"/>
              <a:t>IBM watsonx Orchestrate / © 2024 IBM Corporation</a:t>
            </a:r>
          </a:p>
        </p:txBody>
      </p:sp>
    </p:spTree>
    <p:extLst>
      <p:ext uri="{BB962C8B-B14F-4D97-AF65-F5344CB8AC3E}">
        <p14:creationId xmlns:p14="http://schemas.microsoft.com/office/powerpoint/2010/main" val="3504444989"/>
      </p:ext>
    </p:extLst>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4239" y="3184"/>
          <a:ext cx="4233" cy="3173"/>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4" name="Object 3" hidden="1"/>
                      <p:cNvPicPr/>
                      <p:nvPr/>
                    </p:nvPicPr>
                    <p:blipFill>
                      <a:blip r:embed="rId4"/>
                      <a:stretch>
                        <a:fillRect/>
                      </a:stretch>
                    </p:blipFill>
                    <p:spPr>
                      <a:xfrm>
                        <a:off x="4239" y="3184"/>
                        <a:ext cx="4233" cy="3173"/>
                      </a:xfrm>
                      <a:prstGeom prst="rect">
                        <a:avLst/>
                      </a:prstGeom>
                    </p:spPr>
                  </p:pic>
                </p:oleObj>
              </mc:Fallback>
            </mc:AlternateContent>
          </a:graphicData>
        </a:graphic>
      </p:graphicFrame>
      <p:sp>
        <p:nvSpPr>
          <p:cNvPr id="2" name="Title 1"/>
          <p:cNvSpPr>
            <a:spLocks noGrp="1"/>
          </p:cNvSpPr>
          <p:nvPr>
            <p:ph type="title"/>
          </p:nvPr>
        </p:nvSpPr>
        <p:spPr>
          <a:xfrm>
            <a:off x="518155" y="250339"/>
            <a:ext cx="22549669" cy="1148976"/>
          </a:xfrm>
        </p:spPr>
        <p:txBody>
          <a:bodyPr/>
          <a:lstStyle>
            <a:lvl1pPr>
              <a:defRPr>
                <a:latin typeface="IBM Plex Sans" panose="020B0503050203000203"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hasCustomPrompt="1"/>
          </p:nvPr>
        </p:nvSpPr>
        <p:spPr/>
        <p:txBody>
          <a:bodyPr/>
          <a:lstStyle>
            <a:lvl1pPr>
              <a:buClr>
                <a:schemeClr val="tx1"/>
              </a:buClr>
              <a:defRPr>
                <a:solidFill>
                  <a:schemeClr val="tx1"/>
                </a:solidFill>
                <a:latin typeface="IBM Plex Sans" panose="020B0503050203000203" pitchFamily="34" charset="0"/>
                <a:cs typeface="Arial" pitchFamily="34" charset="0"/>
              </a:defRPr>
            </a:lvl1pPr>
            <a:lvl2pPr>
              <a:buClr>
                <a:schemeClr val="tx1"/>
              </a:buClr>
              <a:defRPr>
                <a:solidFill>
                  <a:schemeClr val="tx1"/>
                </a:solidFill>
                <a:latin typeface="IBM Plex Sans" panose="020B0503050203000203" pitchFamily="34" charset="0"/>
                <a:cs typeface="Arial" pitchFamily="34" charset="0"/>
              </a:defRPr>
            </a:lvl2pPr>
            <a:lvl3pPr>
              <a:buClr>
                <a:schemeClr val="tx1"/>
              </a:buClr>
              <a:defRPr>
                <a:solidFill>
                  <a:schemeClr val="tx1"/>
                </a:solidFill>
                <a:latin typeface="IBM Plex Sans" panose="020B0503050203000203" pitchFamily="34" charset="0"/>
                <a:cs typeface="Arial" pitchFamily="34" charset="0"/>
              </a:defRPr>
            </a:lvl3pPr>
            <a:lvl4pPr>
              <a:buClr>
                <a:schemeClr val="tx1"/>
              </a:buClr>
              <a:defRPr>
                <a:solidFill>
                  <a:schemeClr val="tx1"/>
                </a:solidFill>
                <a:latin typeface="IBM Plex Sans" panose="020B0503050203000203" pitchFamily="34" charset="0"/>
              </a:defRPr>
            </a:lvl4pPr>
            <a:lvl5pPr>
              <a:defRPr>
                <a:latin typeface="HelvNeue Light for IBM"/>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Box 4"/>
          <p:cNvSpPr txBox="1"/>
          <p:nvPr userDrawn="1"/>
        </p:nvSpPr>
        <p:spPr>
          <a:xfrm>
            <a:off x="876420" y="13256762"/>
            <a:ext cx="1960786" cy="341632"/>
          </a:xfrm>
          <a:prstGeom prst="rect">
            <a:avLst/>
          </a:prstGeom>
          <a:noFill/>
        </p:spPr>
        <p:txBody>
          <a:bodyPr wrap="square" rtlCol="0" anchor="ctr">
            <a:spAutoFit/>
          </a:bodyPr>
          <a:lstStyle/>
          <a:p>
            <a:pPr fontAlgn="base">
              <a:lnSpc>
                <a:spcPct val="90000"/>
              </a:lnSpc>
              <a:spcBef>
                <a:spcPct val="0"/>
              </a:spcBef>
              <a:spcAft>
                <a:spcPct val="0"/>
              </a:spcAft>
            </a:pPr>
            <a:fld id="{9E5EBD0D-1F63-4584-AD74-0E25721BCF58}" type="slidenum">
              <a:rPr lang="en-US" sz="1800">
                <a:solidFill>
                  <a:srgbClr val="000000"/>
                </a:solidFill>
                <a:latin typeface="IBM Plex Sans" panose="020B0503050203000203" pitchFamily="34" charset="0"/>
                <a:cs typeface="Arial" panose="020B0604020202020204" pitchFamily="34" charset="0"/>
              </a:rPr>
              <a:pPr fontAlgn="base">
                <a:lnSpc>
                  <a:spcPct val="90000"/>
                </a:lnSpc>
                <a:spcBef>
                  <a:spcPct val="0"/>
                </a:spcBef>
                <a:spcAft>
                  <a:spcPct val="0"/>
                </a:spcAft>
              </a:pPr>
              <a:t>‹#›</a:t>
            </a:fld>
            <a:endParaRPr lang="en-US" sz="1800">
              <a:solidFill>
                <a:srgbClr val="000000"/>
              </a:solidFill>
              <a:latin typeface="IBM Plex Sans" panose="020B0503050203000203" pitchFamily="34" charset="0"/>
              <a:cs typeface="Arial" panose="020B0604020202020204" pitchFamily="34" charset="0"/>
            </a:endParaRPr>
          </a:p>
        </p:txBody>
      </p:sp>
    </p:spTree>
    <p:extLst>
      <p:ext uri="{BB962C8B-B14F-4D97-AF65-F5344CB8AC3E}">
        <p14:creationId xmlns:p14="http://schemas.microsoft.com/office/powerpoint/2010/main" val="50325925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x">
  <p:cSld name="4_Text, 4 columns ">
    <p:spTree>
      <p:nvGrpSpPr>
        <p:cNvPr id="1" name=""/>
        <p:cNvGrpSpPr/>
        <p:nvPr/>
      </p:nvGrpSpPr>
      <p:grpSpPr>
        <a:xfrm>
          <a:off x="0" y="0"/>
          <a:ext cx="0" cy="0"/>
          <a:chOff x="0" y="0"/>
          <a:chExt cx="0" cy="0"/>
        </a:xfrm>
      </p:grpSpPr>
      <p:sp>
        <p:nvSpPr>
          <p:cNvPr id="185" name="幻灯片编号"/>
          <p:cNvSpPr txBox="1">
            <a:spLocks noGrp="1"/>
          </p:cNvSpPr>
          <p:nvPr>
            <p:ph type="sldNum" sz="quarter" idx="2"/>
          </p:nvPr>
        </p:nvSpPr>
        <p:spPr>
          <a:xfrm>
            <a:off x="23544693" y="12951799"/>
            <a:ext cx="270907" cy="246222"/>
          </a:xfrm>
          <a:prstGeom prst="rect">
            <a:avLst/>
          </a:prstGeom>
        </p:spPr>
        <p:txBody>
          <a:bodyPr/>
          <a:lstStyle/>
          <a:p>
            <a:fld id="{86CB4B4D-7CA3-9044-876B-883B54F8677D}" type="slidenum">
              <a:rPr/>
              <a:t>‹#›</a:t>
            </a:fld>
            <a:endParaRPr/>
          </a:p>
        </p:txBody>
      </p:sp>
      <p:sp>
        <p:nvSpPr>
          <p:cNvPr id="186" name="Text Placeholder 3"/>
          <p:cNvSpPr>
            <a:spLocks noGrp="1"/>
          </p:cNvSpPr>
          <p:nvPr>
            <p:ph type="body" sz="quarter" idx="21"/>
          </p:nvPr>
        </p:nvSpPr>
        <p:spPr>
          <a:xfrm>
            <a:off x="6668371" y="3429000"/>
            <a:ext cx="4952059"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Efficitur scelerisque velit. Vestibulum viverra, ante ac placerat pulvinar, erat risus pellentesque urna, ac posuere nibh nulla eu mi. Fusce scelerisque ultrices eros quis dignissim. Pellentesque mollis nibh at nibh imperdiet, sed ullamcorper velit posuere. Integer et velit blandit.</a:t>
            </a:r>
          </a:p>
        </p:txBody>
      </p:sp>
      <p:sp>
        <p:nvSpPr>
          <p:cNvPr id="187" name="Text Placeholder 4"/>
          <p:cNvSpPr>
            <a:spLocks noGrp="1"/>
          </p:cNvSpPr>
          <p:nvPr>
            <p:ph type="body" sz="quarter" idx="22"/>
          </p:nvPr>
        </p:nvSpPr>
        <p:spPr>
          <a:xfrm>
            <a:off x="12765163" y="3429000"/>
            <a:ext cx="4953645"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b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88" name="Text Placeholder 5"/>
          <p:cNvSpPr>
            <a:spLocks noGrp="1"/>
          </p:cNvSpPr>
          <p:nvPr>
            <p:ph type="body" sz="quarter" idx="23"/>
          </p:nvPr>
        </p:nvSpPr>
        <p:spPr>
          <a:xfrm>
            <a:off x="18861959" y="3429000"/>
            <a:ext cx="4959996"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a:t>
            </a:r>
          </a:p>
        </p:txBody>
      </p:sp>
      <p:sp>
        <p:nvSpPr>
          <p:cNvPr id="189" name="Title 1"/>
          <p:cNvSpPr txBox="1">
            <a:spLocks noGrp="1"/>
          </p:cNvSpPr>
          <p:nvPr>
            <p:ph type="body" sz="quarter" idx="24"/>
          </p:nvPr>
        </p:nvSpPr>
        <p:spPr>
          <a:xfrm>
            <a:off x="567006" y="569917"/>
            <a:ext cx="4950471" cy="1525590"/>
          </a:xfrm>
          <a:prstGeom prst="rect">
            <a:avLst/>
          </a:prstGeom>
        </p:spPr>
        <p:txBody>
          <a:bodyPr/>
          <a:lstStyle>
            <a:lvl1pPr>
              <a:defRPr sz="2800"/>
            </a:lvl1pPr>
          </a:lstStyle>
          <a:p>
            <a:r>
              <a:t>28/36/44pt short headline, 3 lines maximum, sentence case</a:t>
            </a:r>
          </a:p>
        </p:txBody>
      </p:sp>
      <p:sp>
        <p:nvSpPr>
          <p:cNvPr id="190" name="Text Placeholder 2"/>
          <p:cNvSpPr txBox="1">
            <a:spLocks noGrp="1"/>
          </p:cNvSpPr>
          <p:nvPr>
            <p:ph type="body" sz="quarter" idx="25"/>
          </p:nvPr>
        </p:nvSpPr>
        <p:spPr>
          <a:xfrm>
            <a:off x="568403" y="3429000"/>
            <a:ext cx="4956819"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91" name="Footer Placeholder 4"/>
          <p:cNvSpPr txBox="1">
            <a:spLocks noGrp="1"/>
          </p:cNvSpPr>
          <p:nvPr>
            <p:ph type="body" sz="quarter" idx="26"/>
          </p:nvPr>
        </p:nvSpPr>
        <p:spPr>
          <a:xfrm>
            <a:off x="568401" y="12942156"/>
            <a:ext cx="8570442" cy="259752"/>
          </a:xfrm>
          <a:prstGeom prst="rect">
            <a:avLst/>
          </a:prstGeom>
        </p:spPr>
        <p:txBody>
          <a:bodyPr anchor="b">
            <a:spAutoFit/>
          </a:bodyPr>
          <a:lstStyle>
            <a:lvl1pPr defTabSz="1828465">
              <a:lnSpc>
                <a:spcPct val="110000"/>
              </a:lnSpc>
              <a:defRPr sz="1600">
                <a:latin typeface="+mj-lt"/>
                <a:ea typeface="+mj-ea"/>
                <a:cs typeface="+mj-cs"/>
                <a:sym typeface="IBM Plex Sans"/>
              </a:defRPr>
            </a:lvl1pPr>
          </a:lstStyle>
          <a:p>
            <a:r>
              <a:t>Footer text (optional)</a:t>
            </a:r>
          </a:p>
        </p:txBody>
      </p:sp>
    </p:spTree>
    <p:extLst>
      <p:ext uri="{BB962C8B-B14F-4D97-AF65-F5344CB8AC3E}">
        <p14:creationId xmlns:p14="http://schemas.microsoft.com/office/powerpoint/2010/main" val="2260010783"/>
      </p:ext>
    </p:extLst>
  </p:cSld>
  <p:clrMapOvr>
    <a:masterClrMapping/>
  </p:clrMapOvr>
  <p:transition spd="med"/>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6288088"/>
          </a:xfrm>
        </p:spPr>
        <p:txBody>
          <a:bodyPr/>
          <a:lstStyle>
            <a:lvl1pPr>
              <a:lnSpc>
                <a:spcPct val="100000"/>
              </a:lnSpc>
              <a:defRPr sz="764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3" y="12084740"/>
            <a:ext cx="4937887" cy="1143000"/>
          </a:xfrm>
        </p:spPr>
        <p:txBody>
          <a:bodyPr anchor="b"/>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4" y="12526964"/>
            <a:ext cx="1638299" cy="609600"/>
          </a:xfrm>
          <a:prstGeom prst="rect">
            <a:avLst/>
          </a:prstGeom>
        </p:spPr>
      </p:pic>
    </p:spTree>
    <p:extLst>
      <p:ext uri="{BB962C8B-B14F-4D97-AF65-F5344CB8AC3E}">
        <p14:creationId xmlns:p14="http://schemas.microsoft.com/office/powerpoint/2010/main" val="2575038233"/>
      </p:ext>
    </p:extLst>
  </p:cSld>
  <p:clrMapOvr>
    <a:masterClrMapping/>
  </p:clrMapOvr>
  <p:transition spd="med"/>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385200"/>
            <a:ext cx="4949825" cy="5335588"/>
          </a:xfrm>
        </p:spPr>
        <p:txBody>
          <a:bodyPr/>
          <a:lstStyle>
            <a:lvl1pPr>
              <a:lnSpc>
                <a:spcPct val="100000"/>
              </a:lnSpc>
              <a:defRPr sz="8600"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385200"/>
            <a:ext cx="11049000" cy="5335587"/>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600" indent="-327600">
              <a:lnSpc>
                <a:spcPct val="100000"/>
              </a:lnSpc>
              <a:spcBef>
                <a:spcPts val="0"/>
              </a:spcBef>
              <a:defRPr sz="8600" b="0" i="0">
                <a:solidFill>
                  <a:schemeClr val="tx1"/>
                </a:solidFill>
                <a:latin typeface="IBM Plex Sans Light" panose="020B0403050203000203" pitchFamily="34" charset="0"/>
              </a:defRPr>
            </a:lvl2pPr>
            <a:lvl3pPr marL="658800" indent="-327600">
              <a:lnSpc>
                <a:spcPct val="100000"/>
              </a:lnSpc>
              <a:spcBef>
                <a:spcPts val="0"/>
              </a:spcBef>
              <a:defRPr sz="8600" b="0" i="0">
                <a:solidFill>
                  <a:schemeClr val="tx1"/>
                </a:solidFill>
                <a:latin typeface="IBM Plex Sans Light" panose="020B0403050203000203" pitchFamily="34" charset="0"/>
              </a:defRPr>
            </a:lvl3pPr>
            <a:lvl4pPr marL="986400" indent="-327600">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a:prstGeom prst="rect">
            <a:avLst/>
          </a:prstGeom>
        </p:spPr>
        <p:txBody>
          <a:bodyPr/>
          <a:lstStyle>
            <a:lvl1pPr>
              <a:lnSpc>
                <a:spcPct val="100000"/>
              </a:lnSpc>
              <a:defRPr sz="8600" b="0" i="0">
                <a:solidFill>
                  <a:schemeClr val="accent1"/>
                </a:solidFill>
                <a:latin typeface="IBM Plex Sans Light" panose="020B0403050203000203" pitchFamily="34" charset="0"/>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600" indent="-327600">
              <a:lnSpc>
                <a:spcPct val="100000"/>
              </a:lnSpc>
              <a:spcBef>
                <a:spcPts val="0"/>
              </a:spcBef>
              <a:defRPr sz="8600" b="0" i="0">
                <a:solidFill>
                  <a:schemeClr val="tx1"/>
                </a:solidFill>
                <a:latin typeface="IBM Plex Sans Light" panose="020B0403050203000203" pitchFamily="34" charset="0"/>
              </a:defRPr>
            </a:lvl2pPr>
            <a:lvl3pPr marL="658800" indent="-327600">
              <a:lnSpc>
                <a:spcPct val="100000"/>
              </a:lnSpc>
              <a:spcBef>
                <a:spcPts val="0"/>
              </a:spcBef>
              <a:defRPr sz="8600" b="0" i="0">
                <a:solidFill>
                  <a:schemeClr val="tx1"/>
                </a:solidFill>
                <a:latin typeface="IBM Plex Sans Light" panose="020B0403050203000203" pitchFamily="34" charset="0"/>
              </a:defRPr>
            </a:lvl3pPr>
            <a:lvl4pPr marL="986400" indent="-327600">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774764434"/>
      </p:ext>
    </p:extLst>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81280" tIns="81280" rIns="81280" bIns="81280" numCol="1" rtlCol="0" anchor="t" anchorCtr="0" compatLnSpc="1">
            <a:prstTxWarp prst="textNoShape">
              <a:avLst/>
            </a:prstTxWarp>
          </a:bodyPr>
          <a:lstStyle/>
          <a:p>
            <a:pPr marL="0" marR="0" indent="0" algn="l" defTabSz="812880" rtl="0" eaLnBrk="1" fontAlgn="base" latinLnBrk="0" hangingPunct="1">
              <a:lnSpc>
                <a:spcPct val="100000"/>
              </a:lnSpc>
              <a:spcBef>
                <a:spcPct val="0"/>
              </a:spcBef>
              <a:spcAft>
                <a:spcPct val="0"/>
              </a:spcAft>
              <a:buClrTx/>
              <a:buSzTx/>
              <a:buFont typeface="IBM Plex Sans Light"/>
              <a:buNone/>
              <a:tabLst/>
            </a:pPr>
            <a:endParaRPr kumimoji="0" lang="en-US" sz="1244"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7646">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3" y="12084740"/>
            <a:ext cx="4937887" cy="1143000"/>
          </a:xfrm>
        </p:spPr>
        <p:txBody>
          <a:bodyPr anchor="b"/>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4" y="12526964"/>
            <a:ext cx="1638299" cy="609600"/>
          </a:xfrm>
          <a:prstGeom prst="rect">
            <a:avLst/>
          </a:prstGeom>
        </p:spPr>
      </p:pic>
    </p:spTree>
    <p:extLst>
      <p:ext uri="{BB962C8B-B14F-4D97-AF65-F5344CB8AC3E}">
        <p14:creationId xmlns:p14="http://schemas.microsoft.com/office/powerpoint/2010/main" val="723122382"/>
      </p:ext>
    </p:extLst>
  </p:cSld>
  <p:clrMapOvr>
    <a:masterClrMapping/>
  </p:clrMapOvr>
  <p:transition spd="med"/>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7646"/>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4" y="12526964"/>
            <a:ext cx="1638299" cy="609600"/>
          </a:xfrm>
          <a:prstGeom prst="rect">
            <a:avLst/>
          </a:prstGeom>
        </p:spPr>
      </p:pic>
    </p:spTree>
    <p:extLst>
      <p:ext uri="{BB962C8B-B14F-4D97-AF65-F5344CB8AC3E}">
        <p14:creationId xmlns:p14="http://schemas.microsoft.com/office/powerpoint/2010/main" val="3214385319"/>
      </p:ext>
    </p:extLst>
  </p:cSld>
  <p:clrMapOvr>
    <a:masterClrMapping/>
  </p:clrMapOvr>
  <p:transition spd="med"/>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7646">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9" cy="762000"/>
          </a:xfrm>
        </p:spPr>
        <p:txBody>
          <a:bodyPr anchor="b"/>
          <a:lstStyle>
            <a:lvl1pPr>
              <a:lnSpc>
                <a:spcPct val="110000"/>
              </a:lnSpc>
              <a:spcBef>
                <a:spcPts val="0"/>
              </a:spcBef>
              <a:defRPr sz="249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4" y="12526964"/>
            <a:ext cx="1638299" cy="609600"/>
          </a:xfrm>
          <a:prstGeom prst="rect">
            <a:avLst/>
          </a:prstGeom>
        </p:spPr>
      </p:pic>
    </p:spTree>
    <p:extLst>
      <p:ext uri="{BB962C8B-B14F-4D97-AF65-F5344CB8AC3E}">
        <p14:creationId xmlns:p14="http://schemas.microsoft.com/office/powerpoint/2010/main" val="1177618236"/>
      </p:ext>
    </p:extLst>
  </p:cSld>
  <p:clrMapOvr>
    <a:masterClrMapping/>
  </p:clrMapOvr>
  <p:transition spd="med"/>
  <p:hf sldNum="0"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384048"/>
            <a:ext cx="10101073" cy="10479088"/>
          </a:xfrm>
        </p:spPr>
        <p:txBody>
          <a:bodyPr/>
          <a:lstStyle>
            <a:lvl1pPr>
              <a:lnSpc>
                <a:spcPct val="100000"/>
              </a:lnSpc>
              <a:defRPr sz="7646">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3" y="569912"/>
            <a:ext cx="11049000" cy="12574588"/>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3573129004"/>
      </p:ext>
    </p:extLst>
  </p:cSld>
  <p:clrMapOvr>
    <a:masterClrMapping/>
  </p:clrMapOvr>
  <p:transition spd="med"/>
  <p:hf sldNum="0" hd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576072"/>
            <a:ext cx="10099675" cy="571500"/>
          </a:xfrm>
        </p:spPr>
        <p:txBody>
          <a:bodyPr/>
          <a:lstStyle>
            <a:lvl1pPr>
              <a:spcBef>
                <a:spcPts val="0"/>
              </a:spcBef>
              <a:defRPr sz="249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7646">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3" y="569912"/>
            <a:ext cx="11049000" cy="12574588"/>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1039040171"/>
      </p:ext>
    </p:extLst>
  </p:cSld>
  <p:clrMapOvr>
    <a:masterClrMapping/>
  </p:clrMapOvr>
  <p:transition spd="med"/>
  <p:hf sldNum="0" hdr="0" dt="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4956175" cy="4573588"/>
          </a:xfrm>
        </p:spPr>
        <p:txBody>
          <a:bodyPr/>
          <a:lstStyle>
            <a:lvl1pPr>
              <a:lnSpc>
                <a:spcPct val="100000"/>
              </a:lnSpc>
              <a:defRPr sz="569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3" y="569912"/>
            <a:ext cx="4952999" cy="11431588"/>
          </a:xfrm>
        </p:spPr>
        <p:txBody>
          <a:bodyPr/>
          <a:lstStyle>
            <a:lvl1pPr defTabSz="1032360">
              <a:spcBef>
                <a:spcPts val="0"/>
              </a:spcBef>
              <a:defRPr>
                <a:solidFill>
                  <a:schemeClr val="tx1"/>
                </a:solidFill>
              </a:defRPr>
            </a:lvl1pPr>
            <a:lvl2pPr defTabSz="1032360">
              <a:spcBef>
                <a:spcPts val="0"/>
              </a:spcBef>
              <a:defRPr>
                <a:solidFill>
                  <a:schemeClr val="tx1"/>
                </a:solidFill>
              </a:defRPr>
            </a:lvl2pPr>
            <a:lvl3pPr defTabSz="1032360">
              <a:spcBef>
                <a:spcPts val="0"/>
              </a:spcBef>
              <a:defRPr>
                <a:solidFill>
                  <a:schemeClr val="tx1"/>
                </a:solidFill>
              </a:defRPr>
            </a:lvl3pPr>
            <a:lvl4pPr defTabSz="1032360">
              <a:spcBef>
                <a:spcPts val="0"/>
              </a:spcBef>
              <a:defRPr>
                <a:solidFill>
                  <a:schemeClr val="tx1"/>
                </a:solidFill>
              </a:defRPr>
            </a:lvl4pPr>
            <a:lvl5pPr defTabSz="103236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2"/>
            <a:ext cx="4949824" cy="11431588"/>
          </a:xfrm>
        </p:spPr>
        <p:txBody>
          <a:bodyPr/>
          <a:lstStyle>
            <a:lvl1pPr defTabSz="1032360">
              <a:spcBef>
                <a:spcPts val="0"/>
              </a:spcBef>
              <a:defRPr>
                <a:solidFill>
                  <a:schemeClr val="tx1"/>
                </a:solidFill>
              </a:defRPr>
            </a:lvl1pPr>
            <a:lvl2pPr defTabSz="1032360">
              <a:spcBef>
                <a:spcPts val="0"/>
              </a:spcBef>
              <a:defRPr>
                <a:solidFill>
                  <a:schemeClr val="tx1"/>
                </a:solidFill>
              </a:defRPr>
            </a:lvl2pPr>
            <a:lvl3pPr defTabSz="1032360">
              <a:spcBef>
                <a:spcPts val="0"/>
              </a:spcBef>
              <a:defRPr>
                <a:solidFill>
                  <a:schemeClr val="tx1"/>
                </a:solidFill>
              </a:defRPr>
            </a:lvl3pPr>
            <a:lvl4pPr defTabSz="1032360">
              <a:spcBef>
                <a:spcPts val="0"/>
              </a:spcBef>
              <a:defRPr>
                <a:solidFill>
                  <a:schemeClr val="tx1"/>
                </a:solidFill>
              </a:defRPr>
            </a:lvl4pPr>
            <a:lvl5pPr defTabSz="103236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37573345"/>
      </p:ext>
    </p:extLst>
  </p:cSld>
  <p:clrMapOvr>
    <a:masterClrMapping/>
  </p:clrMapOvr>
  <p:transition spd="med"/>
  <p:hf sldNum="0" hd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5690">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83230459"/>
      </p:ext>
    </p:extLst>
  </p:cSld>
  <p:clrMapOvr>
    <a:masterClrMapping/>
  </p:clrMapOvr>
  <p:transition spd="med"/>
  <p:hf sldNum="0" hd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4"/>
            <a:ext cx="17141826" cy="8191500"/>
          </a:xfrm>
        </p:spPr>
        <p:txBody>
          <a:bodyPr/>
          <a:lstStyle>
            <a:lvl1pPr>
              <a:defRPr sz="1529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27404729"/>
      </p:ext>
    </p:extLst>
  </p:cSld>
  <p:clrMapOvr>
    <a:masterClrMapping/>
  </p:clrMapOvr>
  <p:transition spd="med"/>
  <p:hf sldNum="0" hdr="0" dt="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9909176" cy="2859088"/>
          </a:xfrm>
        </p:spPr>
        <p:txBody>
          <a:bodyPr/>
          <a:lstStyle>
            <a:lvl1pPr>
              <a:lnSpc>
                <a:spcPct val="100000"/>
              </a:lnSpc>
              <a:defRPr sz="569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4" y="448056"/>
            <a:ext cx="11042074" cy="8574088"/>
          </a:xfrm>
        </p:spPr>
        <p:txBody>
          <a:bodyPr/>
          <a:lstStyle>
            <a:lvl1pPr>
              <a:lnSpc>
                <a:spcPct val="100000"/>
              </a:lnSpc>
              <a:spcBef>
                <a:spcPts val="0"/>
              </a:spcBef>
              <a:defRPr sz="5690">
                <a:solidFill>
                  <a:schemeClr val="tx2"/>
                </a:solidFill>
              </a:defRPr>
            </a:lvl1pPr>
            <a:lvl2pPr marL="520244" indent="-520244">
              <a:lnSpc>
                <a:spcPct val="100000"/>
              </a:lnSpc>
              <a:spcBef>
                <a:spcPts val="0"/>
              </a:spcBef>
              <a:defRPr sz="5690">
                <a:solidFill>
                  <a:schemeClr val="tx2"/>
                </a:solidFill>
              </a:defRPr>
            </a:lvl2pPr>
            <a:lvl3pPr marL="975458" indent="-520244">
              <a:lnSpc>
                <a:spcPct val="100000"/>
              </a:lnSpc>
              <a:spcBef>
                <a:spcPts val="0"/>
              </a:spcBef>
              <a:defRPr sz="5690">
                <a:solidFill>
                  <a:schemeClr val="tx2"/>
                </a:solidFill>
              </a:defRPr>
            </a:lvl3pPr>
            <a:lvl4pPr marL="1560732">
              <a:lnSpc>
                <a:spcPct val="100000"/>
              </a:lnSpc>
              <a:spcBef>
                <a:spcPts val="0"/>
              </a:spcBef>
              <a:defRPr sz="5690">
                <a:solidFill>
                  <a:schemeClr val="tx2"/>
                </a:solidFill>
              </a:defRPr>
            </a:lvl4pPr>
            <a:lvl5pPr>
              <a:lnSpc>
                <a:spcPct val="100000"/>
              </a:lnSpc>
              <a:spcBef>
                <a:spcPts val="0"/>
              </a:spcBef>
              <a:defRPr sz="569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91137923"/>
      </p:ext>
    </p:extLst>
  </p:cSld>
  <p:clrMapOvr>
    <a:masterClrMapping/>
  </p:clrMapOvr>
  <p:transition spd="med"/>
  <p:hf sldNum="0" hdr="0" dt="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420624"/>
            <a:ext cx="14662151" cy="9717088"/>
          </a:xfrm>
        </p:spPr>
        <p:txBody>
          <a:bodyPr/>
          <a:lstStyle>
            <a:lvl1pPr>
              <a:lnSpc>
                <a:spcPct val="100000"/>
              </a:lnSpc>
              <a:defRPr sz="7646">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3625152"/>
      </p:ext>
    </p:extLst>
  </p:cSld>
  <p:clrMapOvr>
    <a:masterClrMapping/>
  </p:clrMapOvr>
  <p:transition spd="med"/>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2859087"/>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385200"/>
            <a:ext cx="4949825"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a:lnSpc>
                <a:spcPct val="100000"/>
              </a:lnSpc>
              <a:spcBef>
                <a:spcPts val="0"/>
              </a:spcBef>
              <a:defRPr sz="1600" b="0" i="0">
                <a:solidFill>
                  <a:schemeClr val="tx1"/>
                </a:solidFill>
                <a:latin typeface="IBM Plex Sans Light" panose="020B0403050203000203" pitchFamily="34" charset="0"/>
              </a:defRPr>
            </a:lvl2pPr>
            <a:lvl3pPr>
              <a:lnSpc>
                <a:spcPct val="100000"/>
              </a:lnSpc>
              <a:spcBef>
                <a:spcPts val="0"/>
              </a:spcBef>
              <a:defRPr sz="1600" b="0" i="0">
                <a:solidFill>
                  <a:schemeClr val="tx1"/>
                </a:solidFill>
                <a:latin typeface="IBM Plex Sans Light" panose="020B0403050203000203" pitchFamily="34" charset="0"/>
              </a:defRPr>
            </a:lvl3pPr>
            <a:lvl4pPr>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385200"/>
            <a:ext cx="7620000" cy="2859087"/>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187952"/>
            <a:ext cx="7620000" cy="285750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403336"/>
            <a:ext cx="7620000" cy="285750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2"/>
            <a:ext cx="4951413" cy="2857506"/>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8403336"/>
            <a:ext cx="4951411" cy="2857506"/>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656111609"/>
      </p:ext>
    </p:extLst>
  </p:cSld>
  <p:clrMapOvr>
    <a:masterClrMapping/>
  </p:clrMapOvr>
  <p:transition spd="med"/>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4" y="576072"/>
            <a:ext cx="7623174" cy="6288088"/>
          </a:xfrm>
        </p:spPr>
        <p:txBody>
          <a:bodyPr/>
          <a:lstStyle>
            <a:lvl1pPr>
              <a:lnSpc>
                <a:spcPct val="100000"/>
              </a:lnSpc>
              <a:spcBef>
                <a:spcPts val="0"/>
              </a:spcBef>
              <a:defRPr sz="3910">
                <a:solidFill>
                  <a:schemeClr val="tx1"/>
                </a:solidFill>
              </a:defRPr>
            </a:lvl1pPr>
            <a:lvl2pPr marL="357668" indent="-357668">
              <a:lnSpc>
                <a:spcPct val="100000"/>
              </a:lnSpc>
              <a:spcBef>
                <a:spcPts val="0"/>
              </a:spcBef>
              <a:defRPr sz="3910">
                <a:solidFill>
                  <a:schemeClr val="tx1"/>
                </a:solidFill>
              </a:defRPr>
            </a:lvl2pPr>
            <a:lvl3pPr marL="715336" indent="-357668">
              <a:lnSpc>
                <a:spcPct val="100000"/>
              </a:lnSpc>
              <a:spcBef>
                <a:spcPts val="0"/>
              </a:spcBef>
              <a:defRPr sz="3910">
                <a:solidFill>
                  <a:schemeClr val="tx1"/>
                </a:solidFill>
              </a:defRPr>
            </a:lvl3pPr>
            <a:lvl4pPr marL="991714" indent="-357668">
              <a:lnSpc>
                <a:spcPct val="100000"/>
              </a:lnSpc>
              <a:spcBef>
                <a:spcPts val="0"/>
              </a:spcBef>
              <a:defRPr sz="3910">
                <a:solidFill>
                  <a:schemeClr val="tx1"/>
                </a:solidFill>
              </a:defRPr>
            </a:lvl4pPr>
            <a:lvl5pPr>
              <a:lnSpc>
                <a:spcPct val="100000"/>
              </a:lnSpc>
              <a:spcBef>
                <a:spcPts val="0"/>
              </a:spcBef>
              <a:defRPr sz="391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8"/>
            <a:ext cx="11050589" cy="3543300"/>
          </a:xfrm>
        </p:spPr>
        <p:txBody>
          <a:bodyPr anchor="b"/>
          <a:lstStyle>
            <a:lvl1pPr>
              <a:lnSpc>
                <a:spcPct val="90000"/>
              </a:lnSpc>
              <a:spcBef>
                <a:spcPts val="0"/>
              </a:spcBef>
              <a:defRPr sz="22936"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12193588"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8"/>
          </a:xfrm>
        </p:spPr>
        <p:txBody>
          <a:bodyPr/>
          <a:lstStyle>
            <a:lvl1pPr>
              <a:lnSpc>
                <a:spcPct val="100000"/>
              </a:lnSpc>
              <a:spcBef>
                <a:spcPts val="0"/>
              </a:spcBef>
              <a:defRPr sz="3910">
                <a:solidFill>
                  <a:schemeClr val="tx1"/>
                </a:solidFill>
              </a:defRPr>
            </a:lvl1pPr>
            <a:lvl2pPr marL="357668" indent="-357668">
              <a:lnSpc>
                <a:spcPct val="100000"/>
              </a:lnSpc>
              <a:spcBef>
                <a:spcPts val="0"/>
              </a:spcBef>
              <a:defRPr sz="3910">
                <a:solidFill>
                  <a:schemeClr val="tx1"/>
                </a:solidFill>
              </a:defRPr>
            </a:lvl2pPr>
            <a:lvl3pPr marL="715336" indent="-357668">
              <a:lnSpc>
                <a:spcPct val="100000"/>
              </a:lnSpc>
              <a:spcBef>
                <a:spcPts val="0"/>
              </a:spcBef>
              <a:defRPr sz="3910">
                <a:solidFill>
                  <a:schemeClr val="tx1"/>
                </a:solidFill>
              </a:defRPr>
            </a:lvl3pPr>
            <a:lvl4pPr marL="991714" indent="-357668">
              <a:lnSpc>
                <a:spcPct val="100000"/>
              </a:lnSpc>
              <a:spcBef>
                <a:spcPts val="0"/>
              </a:spcBef>
              <a:defRPr sz="3910">
                <a:solidFill>
                  <a:schemeClr val="tx1"/>
                </a:solidFill>
              </a:defRPr>
            </a:lvl4pPr>
            <a:lvl5pPr>
              <a:lnSpc>
                <a:spcPct val="100000"/>
              </a:lnSpc>
              <a:spcBef>
                <a:spcPts val="0"/>
              </a:spcBef>
              <a:defRPr sz="391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3" y="9296400"/>
            <a:ext cx="11049000" cy="3543300"/>
          </a:xfrm>
        </p:spPr>
        <p:txBody>
          <a:bodyPr anchor="b"/>
          <a:lstStyle>
            <a:lvl1pPr>
              <a:lnSpc>
                <a:spcPct val="90000"/>
              </a:lnSpc>
              <a:spcBef>
                <a:spcPts val="0"/>
              </a:spcBef>
              <a:defRPr sz="22936"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37825707"/>
      </p:ext>
    </p:extLst>
  </p:cSld>
  <p:clrMapOvr>
    <a:masterClrMapping/>
  </p:clrMapOvr>
  <p:transition spd="med"/>
  <p:hf sldNum="0" hdr="0" dt="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4"/>
            <a:ext cx="4949824" cy="2859088"/>
          </a:xfrm>
        </p:spPr>
        <p:txBody>
          <a:bodyPr/>
          <a:lstStyle>
            <a:lvl1pPr>
              <a:lnSpc>
                <a:spcPct val="110000"/>
              </a:lnSpc>
              <a:defRPr sz="32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1556">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70"/>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2"/>
            <a:ext cx="4949824" cy="1906588"/>
          </a:xfrm>
        </p:spPr>
        <p:txBody>
          <a:bodyPr/>
          <a:lstStyle>
            <a:lvl1pPr>
              <a:lnSpc>
                <a:spcPct val="90000"/>
              </a:lnSpc>
              <a:defRPr sz="11556">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3" y="2334656"/>
            <a:ext cx="4952999" cy="96668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5"/>
            <a:ext cx="4949824" cy="1903414"/>
          </a:xfrm>
        </p:spPr>
        <p:txBody>
          <a:bodyPr/>
          <a:lstStyle>
            <a:lvl1pPr>
              <a:lnSpc>
                <a:spcPct val="90000"/>
              </a:lnSpc>
              <a:defRPr sz="11556">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2" y="2333070"/>
            <a:ext cx="4952999" cy="96668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422" b="0" i="0">
                <a:solidFill>
                  <a:schemeClr val="tx1"/>
                </a:solidFill>
                <a:latin typeface="IBM Plex Sans" panose="020B0503050203000203" pitchFamily="34" charset="0"/>
              </a:defRPr>
            </a:lvl1pPr>
            <a:lvl2pPr marL="130062" indent="-130062">
              <a:lnSpc>
                <a:spcPct val="120000"/>
              </a:lnSpc>
              <a:spcBef>
                <a:spcPts val="0"/>
              </a:spcBef>
              <a:defRPr sz="1422" b="0" i="0">
                <a:solidFill>
                  <a:schemeClr val="tx1"/>
                </a:solidFill>
                <a:latin typeface="IBM Plex Sans" panose="020B0503050203000203" pitchFamily="34" charset="0"/>
              </a:defRPr>
            </a:lvl2pPr>
            <a:lvl3pPr marL="260122" indent="-130062">
              <a:lnSpc>
                <a:spcPct val="120000"/>
              </a:lnSpc>
              <a:spcBef>
                <a:spcPts val="0"/>
              </a:spcBef>
              <a:defRPr sz="1422" b="0" i="0">
                <a:solidFill>
                  <a:schemeClr val="tx1"/>
                </a:solidFill>
                <a:latin typeface="IBM Plex Sans" panose="020B0503050203000203" pitchFamily="34" charset="0"/>
              </a:defRPr>
            </a:lvl3pPr>
            <a:lvl4pPr marL="390184" indent="-130062">
              <a:lnSpc>
                <a:spcPct val="120000"/>
              </a:lnSpc>
              <a:spcBef>
                <a:spcPts val="0"/>
              </a:spcBef>
              <a:defRPr sz="1422" b="0" i="0">
                <a:solidFill>
                  <a:schemeClr val="tx1"/>
                </a:solidFill>
                <a:latin typeface="IBM Plex Sans" panose="020B0503050203000203" pitchFamily="34" charset="0"/>
              </a:defRPr>
            </a:lvl4pPr>
            <a:lvl5pPr>
              <a:lnSpc>
                <a:spcPct val="120000"/>
              </a:lnSpc>
              <a:spcBef>
                <a:spcPts val="0"/>
              </a:spcBef>
              <a:defRPr sz="1422"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69084758"/>
      </p:ext>
    </p:extLst>
  </p:cSld>
  <p:clrMapOvr>
    <a:masterClrMapping/>
  </p:clrMapOvr>
  <p:transition spd="med"/>
  <p:hf sldNum="0" hdr="0" dt="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7" y="402338"/>
            <a:ext cx="4949824" cy="5335588"/>
          </a:xfrm>
        </p:spPr>
        <p:txBody>
          <a:bodyPr/>
          <a:lstStyle>
            <a:lvl1pPr>
              <a:lnSpc>
                <a:spcPct val="100000"/>
              </a:lnSpc>
              <a:defRPr sz="7646">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6"/>
            <a:ext cx="11049000" cy="5335588"/>
          </a:xfrm>
        </p:spPr>
        <p:txBody>
          <a:bodyPr/>
          <a:lstStyle>
            <a:lvl1pPr>
              <a:lnSpc>
                <a:spcPct val="100000"/>
              </a:lnSpc>
              <a:spcBef>
                <a:spcPts val="0"/>
              </a:spcBef>
              <a:defRPr sz="7646">
                <a:solidFill>
                  <a:schemeClr val="tx1"/>
                </a:solidFill>
              </a:defRPr>
            </a:lvl1pPr>
            <a:lvl2pPr marL="699078" indent="-699078">
              <a:lnSpc>
                <a:spcPct val="100000"/>
              </a:lnSpc>
              <a:spcBef>
                <a:spcPts val="0"/>
              </a:spcBef>
              <a:defRPr sz="7646">
                <a:solidFill>
                  <a:schemeClr val="tx1"/>
                </a:solidFill>
              </a:defRPr>
            </a:lvl2pPr>
            <a:lvl3pPr marL="1333126" indent="-699078">
              <a:lnSpc>
                <a:spcPct val="100000"/>
              </a:lnSpc>
              <a:spcBef>
                <a:spcPts val="0"/>
              </a:spcBef>
              <a:defRPr sz="7646">
                <a:solidFill>
                  <a:schemeClr val="tx1"/>
                </a:solidFill>
              </a:defRPr>
            </a:lvl3pPr>
            <a:lvl4pPr marL="2032202" indent="-699078">
              <a:lnSpc>
                <a:spcPct val="100000"/>
              </a:lnSpc>
              <a:spcBef>
                <a:spcPts val="0"/>
              </a:spcBef>
              <a:defRPr sz="7646">
                <a:solidFill>
                  <a:schemeClr val="tx1"/>
                </a:solidFill>
              </a:defRPr>
            </a:lvl4pPr>
            <a:lvl5pPr>
              <a:lnSpc>
                <a:spcPct val="100000"/>
              </a:lnSpc>
              <a:spcBef>
                <a:spcPts val="0"/>
              </a:spcBef>
              <a:defRPr sz="764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568325"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7" y="6477000"/>
            <a:ext cx="4949824" cy="5334000"/>
          </a:xfrm>
        </p:spPr>
        <p:txBody>
          <a:bodyPr/>
          <a:lstStyle>
            <a:lvl1pPr>
              <a:lnSpc>
                <a:spcPct val="100000"/>
              </a:lnSpc>
              <a:defRPr sz="7646">
                <a:solidFill>
                  <a:schemeClr val="accent1"/>
                </a:solidFill>
              </a:defRPr>
            </a:lvl1pPr>
            <a:lvl2pPr>
              <a:lnSpc>
                <a:spcPct val="100000"/>
              </a:lnSpc>
              <a:defRPr sz="7646">
                <a:solidFill>
                  <a:schemeClr val="accent1"/>
                </a:solidFill>
              </a:defRPr>
            </a:lvl2pPr>
            <a:lvl3pPr>
              <a:lnSpc>
                <a:spcPct val="100000"/>
              </a:lnSpc>
              <a:defRPr sz="7646">
                <a:solidFill>
                  <a:schemeClr val="accent1"/>
                </a:solidFill>
              </a:defRPr>
            </a:lvl3pPr>
            <a:lvl4pPr>
              <a:lnSpc>
                <a:spcPct val="100000"/>
              </a:lnSpc>
              <a:defRPr sz="7646">
                <a:solidFill>
                  <a:schemeClr val="accent1"/>
                </a:solidFill>
              </a:defRPr>
            </a:lvl4pPr>
            <a:lvl5pPr>
              <a:lnSpc>
                <a:spcPct val="100000"/>
              </a:lnSpc>
              <a:defRPr sz="7646">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7646">
                <a:solidFill>
                  <a:schemeClr val="tx1"/>
                </a:solidFill>
              </a:defRPr>
            </a:lvl1pPr>
            <a:lvl2pPr marL="699078" indent="-699078">
              <a:lnSpc>
                <a:spcPct val="100000"/>
              </a:lnSpc>
              <a:spcBef>
                <a:spcPts val="0"/>
              </a:spcBef>
              <a:defRPr sz="7646">
                <a:solidFill>
                  <a:schemeClr val="tx1"/>
                </a:solidFill>
              </a:defRPr>
            </a:lvl2pPr>
            <a:lvl3pPr marL="1333126" indent="-699078">
              <a:lnSpc>
                <a:spcPct val="100000"/>
              </a:lnSpc>
              <a:spcBef>
                <a:spcPts val="0"/>
              </a:spcBef>
              <a:defRPr sz="7646">
                <a:solidFill>
                  <a:schemeClr val="tx1"/>
                </a:solidFill>
              </a:defRPr>
            </a:lvl3pPr>
            <a:lvl4pPr marL="2032202" indent="-699078">
              <a:lnSpc>
                <a:spcPct val="100000"/>
              </a:lnSpc>
              <a:spcBef>
                <a:spcPts val="0"/>
              </a:spcBef>
              <a:defRPr sz="7646">
                <a:solidFill>
                  <a:schemeClr val="tx1"/>
                </a:solidFill>
              </a:defRPr>
            </a:lvl4pPr>
            <a:lvl5pPr>
              <a:lnSpc>
                <a:spcPct val="100000"/>
              </a:lnSpc>
              <a:spcBef>
                <a:spcPts val="0"/>
              </a:spcBef>
              <a:defRPr sz="764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98860880"/>
      </p:ext>
    </p:extLst>
  </p:cSld>
  <p:clrMapOvr>
    <a:masterClrMapping/>
  </p:clrMapOvr>
  <p:transition spd="med"/>
  <p:hf sldNum="0" hdr="0" dt="0"/>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4"/>
            <a:ext cx="4949824" cy="2859088"/>
          </a:xfrm>
        </p:spPr>
        <p:txBody>
          <a:bodyPr/>
          <a:lstStyle>
            <a:lvl1pPr>
              <a:lnSpc>
                <a:spcPct val="110000"/>
              </a:lnSpc>
              <a:defRPr sz="32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1556">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6"/>
          </a:xfrm>
        </p:spPr>
        <p:txBody>
          <a:bodyPr/>
          <a:lstStyle>
            <a:lvl1pPr>
              <a:lnSpc>
                <a:spcPct val="90000"/>
              </a:lnSpc>
              <a:defRPr sz="11556">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3" y="8403337"/>
            <a:ext cx="4951411" cy="2857506"/>
          </a:xfrm>
        </p:spPr>
        <p:txBody>
          <a:bodyPr/>
          <a:lstStyle>
            <a:lvl1pPr>
              <a:lnSpc>
                <a:spcPct val="90000"/>
              </a:lnSpc>
              <a:defRPr sz="11556">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422" b="0" i="0">
                <a:solidFill>
                  <a:schemeClr val="tx1"/>
                </a:solidFill>
                <a:latin typeface="IBM Plex Sans" panose="020B0503050203000203" pitchFamily="34" charset="0"/>
              </a:defRPr>
            </a:lvl1pPr>
            <a:lvl2pPr>
              <a:lnSpc>
                <a:spcPct val="120000"/>
              </a:lnSpc>
              <a:spcBef>
                <a:spcPts val="0"/>
              </a:spcBef>
              <a:defRPr sz="1422" b="0" i="0">
                <a:solidFill>
                  <a:schemeClr val="tx1"/>
                </a:solidFill>
                <a:latin typeface="IBM Plex Sans" panose="020B0503050203000203" pitchFamily="34" charset="0"/>
              </a:defRPr>
            </a:lvl2pPr>
            <a:lvl3pPr>
              <a:lnSpc>
                <a:spcPct val="120000"/>
              </a:lnSpc>
              <a:spcBef>
                <a:spcPts val="0"/>
              </a:spcBef>
              <a:defRPr sz="1422" b="0" i="0">
                <a:solidFill>
                  <a:schemeClr val="tx1"/>
                </a:solidFill>
                <a:latin typeface="IBM Plex Sans" panose="020B0503050203000203" pitchFamily="34" charset="0"/>
              </a:defRPr>
            </a:lvl3pPr>
            <a:lvl4pPr>
              <a:lnSpc>
                <a:spcPct val="120000"/>
              </a:lnSpc>
              <a:spcBef>
                <a:spcPts val="0"/>
              </a:spcBef>
              <a:defRPr sz="1422" b="0" i="0">
                <a:solidFill>
                  <a:schemeClr val="tx1"/>
                </a:solidFill>
                <a:latin typeface="IBM Plex Sans" panose="020B0503050203000203" pitchFamily="34" charset="0"/>
              </a:defRPr>
            </a:lvl4pPr>
            <a:lvl5pPr>
              <a:lnSpc>
                <a:spcPct val="120000"/>
              </a:lnSpc>
              <a:spcBef>
                <a:spcPts val="0"/>
              </a:spcBef>
              <a:defRPr sz="1422"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02621313"/>
      </p:ext>
    </p:extLst>
  </p:cSld>
  <p:clrMapOvr>
    <a:masterClrMapping/>
  </p:clrMapOvr>
  <p:transition spd="med"/>
  <p:hf sldNum="0" hdr="0" dt="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4"/>
            <a:ext cx="4949824" cy="1525588"/>
          </a:xfrm>
        </p:spPr>
        <p:txBody>
          <a:bodyPr/>
          <a:lstStyle>
            <a:lvl1pPr>
              <a:lnSpc>
                <a:spcPct val="110000"/>
              </a:lnSpc>
              <a:defRPr sz="249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0"/>
            <a:ext cx="4956175" cy="8572500"/>
          </a:xfrm>
        </p:spPr>
        <p:txBody>
          <a:bodyPr/>
          <a:lstStyle>
            <a:lvl1pPr>
              <a:spcBef>
                <a:spcPts val="0"/>
              </a:spcBef>
              <a:defRPr sz="1778" b="0" i="0">
                <a:solidFill>
                  <a:schemeClr val="tx1"/>
                </a:solidFill>
                <a:latin typeface="IBM Plex Sans" panose="020B0503050203000203" pitchFamily="34" charset="0"/>
              </a:defRPr>
            </a:lvl1pPr>
            <a:lvl2pPr marL="162576" indent="-162576">
              <a:spcBef>
                <a:spcPts val="0"/>
              </a:spcBef>
              <a:defRPr sz="1778" b="0" i="0">
                <a:solidFill>
                  <a:schemeClr val="tx1"/>
                </a:solidFill>
                <a:latin typeface="IBM Plex Sans" panose="020B0503050203000203" pitchFamily="34" charset="0"/>
              </a:defRPr>
            </a:lvl2pPr>
            <a:lvl3pPr marL="325152" indent="-162576">
              <a:spcBef>
                <a:spcPts val="0"/>
              </a:spcBef>
              <a:defRPr sz="1778" b="0" i="0">
                <a:solidFill>
                  <a:schemeClr val="tx1"/>
                </a:solidFill>
                <a:latin typeface="IBM Plex Sans" panose="020B0503050203000203" pitchFamily="34" charset="0"/>
              </a:defRPr>
            </a:lvl3pPr>
            <a:lvl4pPr marL="487728" indent="-162576">
              <a:spcBef>
                <a:spcPts val="0"/>
              </a:spcBef>
              <a:defRPr sz="1778" b="0" i="0">
                <a:solidFill>
                  <a:schemeClr val="tx1"/>
                </a:solidFill>
                <a:latin typeface="IBM Plex Sans" panose="020B0503050203000203" pitchFamily="34" charset="0"/>
              </a:defRPr>
            </a:lvl4pPr>
            <a:lvl5pPr>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1778" b="0" i="0">
                <a:solidFill>
                  <a:schemeClr val="tx1"/>
                </a:solidFill>
                <a:latin typeface="IBM Plex Sans" panose="020B0503050203000203" pitchFamily="34" charset="0"/>
              </a:defRPr>
            </a:lvl1pPr>
            <a:lvl2pPr marL="162576" indent="-162576">
              <a:spcBef>
                <a:spcPts val="0"/>
              </a:spcBef>
              <a:defRPr sz="1778" b="0" i="0">
                <a:solidFill>
                  <a:schemeClr val="tx1"/>
                </a:solidFill>
                <a:latin typeface="IBM Plex Sans" panose="020B0503050203000203" pitchFamily="34" charset="0"/>
              </a:defRPr>
            </a:lvl2pPr>
            <a:lvl3pPr marL="325152" indent="-162576">
              <a:spcBef>
                <a:spcPts val="0"/>
              </a:spcBef>
              <a:defRPr sz="1778" b="0" i="0">
                <a:solidFill>
                  <a:schemeClr val="tx1"/>
                </a:solidFill>
                <a:latin typeface="IBM Plex Sans" panose="020B0503050203000203" pitchFamily="34" charset="0"/>
              </a:defRPr>
            </a:lvl3pPr>
            <a:lvl4pPr marL="487728" indent="-162576">
              <a:spcBef>
                <a:spcPts val="0"/>
              </a:spcBef>
              <a:defRPr sz="1778" b="0" i="0">
                <a:solidFill>
                  <a:schemeClr val="tx1"/>
                </a:solidFill>
                <a:latin typeface="IBM Plex Sans" panose="020B0503050203000203" pitchFamily="34" charset="0"/>
              </a:defRPr>
            </a:lvl4pPr>
            <a:lvl5pPr>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0"/>
            <a:ext cx="4952999" cy="8572500"/>
          </a:xfrm>
        </p:spPr>
        <p:txBody>
          <a:bodyPr/>
          <a:lstStyle>
            <a:lvl1pPr>
              <a:spcBef>
                <a:spcPts val="0"/>
              </a:spcBef>
              <a:defRPr sz="1778" b="0" i="0">
                <a:solidFill>
                  <a:schemeClr val="tx1"/>
                </a:solidFill>
                <a:latin typeface="IBM Plex Sans" panose="020B0503050203000203" pitchFamily="34" charset="0"/>
              </a:defRPr>
            </a:lvl1pPr>
            <a:lvl2pPr marL="162576" indent="-162576">
              <a:spcBef>
                <a:spcPts val="0"/>
              </a:spcBef>
              <a:defRPr sz="1778" b="0" i="0">
                <a:solidFill>
                  <a:schemeClr val="tx1"/>
                </a:solidFill>
                <a:latin typeface="IBM Plex Sans" panose="020B0503050203000203" pitchFamily="34" charset="0"/>
              </a:defRPr>
            </a:lvl2pPr>
            <a:lvl3pPr marL="325152" indent="-162576">
              <a:spcBef>
                <a:spcPts val="0"/>
              </a:spcBef>
              <a:defRPr sz="1778" b="0" i="0">
                <a:solidFill>
                  <a:schemeClr val="tx1"/>
                </a:solidFill>
                <a:latin typeface="IBM Plex Sans" panose="020B0503050203000203" pitchFamily="34" charset="0"/>
              </a:defRPr>
            </a:lvl3pPr>
            <a:lvl4pPr marL="487728" indent="-162576">
              <a:spcBef>
                <a:spcPts val="0"/>
              </a:spcBef>
              <a:defRPr sz="1778" b="0" i="0">
                <a:solidFill>
                  <a:schemeClr val="tx1"/>
                </a:solidFill>
                <a:latin typeface="IBM Plex Sans" panose="020B0503050203000203" pitchFamily="34" charset="0"/>
              </a:defRPr>
            </a:lvl4pPr>
            <a:lvl5pPr>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0"/>
          </a:xfrm>
        </p:spPr>
        <p:txBody>
          <a:bodyPr/>
          <a:lstStyle>
            <a:lvl1pPr>
              <a:spcBef>
                <a:spcPts val="0"/>
              </a:spcBef>
              <a:defRPr sz="1778" b="0" i="0">
                <a:solidFill>
                  <a:schemeClr val="tx1"/>
                </a:solidFill>
                <a:latin typeface="IBM Plex Sans" panose="020B0503050203000203" pitchFamily="34" charset="0"/>
              </a:defRPr>
            </a:lvl1pPr>
            <a:lvl2pPr marL="162576" indent="-162576">
              <a:spcBef>
                <a:spcPts val="0"/>
              </a:spcBef>
              <a:defRPr sz="1778" b="0" i="0">
                <a:solidFill>
                  <a:schemeClr val="tx1"/>
                </a:solidFill>
                <a:latin typeface="IBM Plex Sans" panose="020B0503050203000203" pitchFamily="34" charset="0"/>
              </a:defRPr>
            </a:lvl2pPr>
            <a:lvl3pPr marL="325152" indent="-162576">
              <a:spcBef>
                <a:spcPts val="0"/>
              </a:spcBef>
              <a:defRPr sz="1778" b="0" i="0">
                <a:solidFill>
                  <a:schemeClr val="tx1"/>
                </a:solidFill>
                <a:latin typeface="IBM Plex Sans" panose="020B0503050203000203" pitchFamily="34" charset="0"/>
              </a:defRPr>
            </a:lvl3pPr>
            <a:lvl4pPr marL="487728" indent="-162576">
              <a:spcBef>
                <a:spcPts val="0"/>
              </a:spcBef>
              <a:defRPr sz="1778" b="0" i="0">
                <a:solidFill>
                  <a:schemeClr val="tx1"/>
                </a:solidFill>
                <a:latin typeface="IBM Plex Sans" panose="020B0503050203000203" pitchFamily="34" charset="0"/>
              </a:defRPr>
            </a:lvl4pPr>
            <a:lvl5pPr>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93437403"/>
      </p:ext>
    </p:extLst>
  </p:cSld>
  <p:clrMapOvr>
    <a:masterClrMapping/>
  </p:clrMapOvr>
  <p:transition spd="med"/>
  <p:hf sldNum="0" hdr="0" dt="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4"/>
            <a:ext cx="4949824" cy="1525588"/>
          </a:xfrm>
        </p:spPr>
        <p:txBody>
          <a:bodyPr/>
          <a:lstStyle>
            <a:lvl1pPr>
              <a:lnSpc>
                <a:spcPct val="110000"/>
              </a:lnSpc>
              <a:defRPr sz="249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1778" b="0" i="0">
                <a:solidFill>
                  <a:schemeClr val="tx1"/>
                </a:solidFill>
                <a:latin typeface="IBM Plex Sans" panose="020B0503050203000203" pitchFamily="34" charset="0"/>
              </a:defRPr>
            </a:lvl1pPr>
            <a:lvl2pPr marL="162576" indent="-162576">
              <a:lnSpc>
                <a:spcPct val="110000"/>
              </a:lnSpc>
              <a:spcBef>
                <a:spcPts val="0"/>
              </a:spcBef>
              <a:defRPr sz="1778" b="0" i="0">
                <a:solidFill>
                  <a:schemeClr val="tx1"/>
                </a:solidFill>
                <a:latin typeface="IBM Plex Sans" panose="020B0503050203000203" pitchFamily="34" charset="0"/>
              </a:defRPr>
            </a:lvl2pPr>
            <a:lvl3pPr marL="325152" indent="-162576">
              <a:lnSpc>
                <a:spcPct val="110000"/>
              </a:lnSpc>
              <a:spcBef>
                <a:spcPts val="0"/>
              </a:spcBef>
              <a:defRPr sz="1778" b="0" i="0">
                <a:solidFill>
                  <a:schemeClr val="tx1"/>
                </a:solidFill>
                <a:latin typeface="IBM Plex Sans" panose="020B0503050203000203" pitchFamily="34" charset="0"/>
              </a:defRPr>
            </a:lvl3pPr>
            <a:lvl4pPr marL="487728" indent="-162576">
              <a:lnSpc>
                <a:spcPct val="110000"/>
              </a:lnSpc>
              <a:spcBef>
                <a:spcPts val="0"/>
              </a:spcBef>
              <a:defRPr sz="1778" b="0" i="0">
                <a:solidFill>
                  <a:schemeClr val="tx1"/>
                </a:solidFill>
                <a:latin typeface="IBM Plex Sans" panose="020B0503050203000203" pitchFamily="34" charset="0"/>
              </a:defRPr>
            </a:lvl4pPr>
            <a:lvl5pPr>
              <a:lnSpc>
                <a:spcPct val="110000"/>
              </a:lnSpc>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1778" b="0" i="0">
                <a:solidFill>
                  <a:schemeClr val="tx1"/>
                </a:solidFill>
                <a:latin typeface="IBM Plex Sans" panose="020B0503050203000203" pitchFamily="34" charset="0"/>
              </a:defRPr>
            </a:lvl1pPr>
            <a:lvl2pPr marL="162576" indent="-162576">
              <a:lnSpc>
                <a:spcPct val="110000"/>
              </a:lnSpc>
              <a:spcBef>
                <a:spcPts val="0"/>
              </a:spcBef>
              <a:defRPr sz="1778" b="0" i="0">
                <a:solidFill>
                  <a:schemeClr val="tx1"/>
                </a:solidFill>
                <a:latin typeface="IBM Plex Sans" panose="020B0503050203000203" pitchFamily="34" charset="0"/>
              </a:defRPr>
            </a:lvl2pPr>
            <a:lvl3pPr marL="325152" indent="-162576">
              <a:lnSpc>
                <a:spcPct val="110000"/>
              </a:lnSpc>
              <a:spcBef>
                <a:spcPts val="0"/>
              </a:spcBef>
              <a:defRPr sz="1778" b="0" i="0">
                <a:solidFill>
                  <a:schemeClr val="tx1"/>
                </a:solidFill>
                <a:latin typeface="IBM Plex Sans" panose="020B0503050203000203" pitchFamily="34" charset="0"/>
              </a:defRPr>
            </a:lvl3pPr>
            <a:lvl4pPr marL="487728" indent="-162576">
              <a:lnSpc>
                <a:spcPct val="110000"/>
              </a:lnSpc>
              <a:spcBef>
                <a:spcPts val="0"/>
              </a:spcBef>
              <a:defRPr sz="1778" b="0" i="0">
                <a:solidFill>
                  <a:schemeClr val="tx1"/>
                </a:solidFill>
                <a:latin typeface="IBM Plex Sans" panose="020B0503050203000203" pitchFamily="34" charset="0"/>
              </a:defRPr>
            </a:lvl4pPr>
            <a:lvl5pPr>
              <a:lnSpc>
                <a:spcPct val="110000"/>
              </a:lnSpc>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1778" b="0" i="0">
                <a:solidFill>
                  <a:schemeClr val="tx1"/>
                </a:solidFill>
                <a:latin typeface="IBM Plex Sans" panose="020B0503050203000203" pitchFamily="34" charset="0"/>
              </a:defRPr>
            </a:lvl1pPr>
            <a:lvl2pPr marL="162576" indent="-162576">
              <a:lnSpc>
                <a:spcPct val="110000"/>
              </a:lnSpc>
              <a:spcBef>
                <a:spcPts val="0"/>
              </a:spcBef>
              <a:defRPr sz="1778" b="0" i="0">
                <a:solidFill>
                  <a:schemeClr val="tx1"/>
                </a:solidFill>
                <a:latin typeface="IBM Plex Sans" panose="020B0503050203000203" pitchFamily="34" charset="0"/>
              </a:defRPr>
            </a:lvl2pPr>
            <a:lvl3pPr marL="325152" indent="-162576">
              <a:lnSpc>
                <a:spcPct val="110000"/>
              </a:lnSpc>
              <a:spcBef>
                <a:spcPts val="0"/>
              </a:spcBef>
              <a:defRPr sz="1778" b="0" i="0">
                <a:solidFill>
                  <a:schemeClr val="tx1"/>
                </a:solidFill>
                <a:latin typeface="IBM Plex Sans" panose="020B0503050203000203" pitchFamily="34" charset="0"/>
              </a:defRPr>
            </a:lvl3pPr>
            <a:lvl4pPr marL="487728" indent="-162576">
              <a:lnSpc>
                <a:spcPct val="110000"/>
              </a:lnSpc>
              <a:spcBef>
                <a:spcPts val="0"/>
              </a:spcBef>
              <a:defRPr sz="1778" b="0" i="0">
                <a:solidFill>
                  <a:schemeClr val="tx1"/>
                </a:solidFill>
                <a:latin typeface="IBM Plex Sans" panose="020B0503050203000203" pitchFamily="34" charset="0"/>
              </a:defRPr>
            </a:lvl4pPr>
            <a:lvl5pPr>
              <a:lnSpc>
                <a:spcPct val="110000"/>
              </a:lnSpc>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0"/>
            <a:ext cx="4952999" cy="8572500"/>
          </a:xfrm>
        </p:spPr>
        <p:txBody>
          <a:bodyPr/>
          <a:lstStyle>
            <a:lvl1pPr>
              <a:lnSpc>
                <a:spcPct val="110000"/>
              </a:lnSpc>
              <a:spcBef>
                <a:spcPts val="0"/>
              </a:spcBef>
              <a:defRPr sz="1778" b="0" i="0">
                <a:solidFill>
                  <a:schemeClr val="tx1"/>
                </a:solidFill>
                <a:latin typeface="IBM Plex Sans" panose="020B0503050203000203" pitchFamily="34" charset="0"/>
              </a:defRPr>
            </a:lvl1pPr>
            <a:lvl2pPr marL="162576" indent="-162576">
              <a:lnSpc>
                <a:spcPct val="110000"/>
              </a:lnSpc>
              <a:spcBef>
                <a:spcPts val="0"/>
              </a:spcBef>
              <a:defRPr sz="1778" b="0" i="0">
                <a:solidFill>
                  <a:schemeClr val="tx1"/>
                </a:solidFill>
                <a:latin typeface="IBM Plex Sans" panose="020B0503050203000203" pitchFamily="34" charset="0"/>
              </a:defRPr>
            </a:lvl2pPr>
            <a:lvl3pPr marL="325152" indent="-162576">
              <a:lnSpc>
                <a:spcPct val="110000"/>
              </a:lnSpc>
              <a:spcBef>
                <a:spcPts val="0"/>
              </a:spcBef>
              <a:defRPr sz="1778" b="0" i="0">
                <a:solidFill>
                  <a:schemeClr val="tx1"/>
                </a:solidFill>
                <a:latin typeface="IBM Plex Sans" panose="020B0503050203000203" pitchFamily="34" charset="0"/>
              </a:defRPr>
            </a:lvl3pPr>
            <a:lvl4pPr marL="487728" indent="-162576">
              <a:lnSpc>
                <a:spcPct val="110000"/>
              </a:lnSpc>
              <a:spcBef>
                <a:spcPts val="0"/>
              </a:spcBef>
              <a:defRPr sz="1778" b="0" i="0">
                <a:solidFill>
                  <a:schemeClr val="tx1"/>
                </a:solidFill>
                <a:latin typeface="IBM Plex Sans" panose="020B0503050203000203" pitchFamily="34" charset="0"/>
              </a:defRPr>
            </a:lvl4pPr>
            <a:lvl5pPr>
              <a:lnSpc>
                <a:spcPct val="110000"/>
              </a:lnSpc>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18287999"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0"/>
          </a:xfrm>
        </p:spPr>
        <p:txBody>
          <a:bodyPr/>
          <a:lstStyle>
            <a:lvl1pPr>
              <a:lnSpc>
                <a:spcPct val="110000"/>
              </a:lnSpc>
              <a:spcBef>
                <a:spcPts val="0"/>
              </a:spcBef>
              <a:defRPr sz="1778" b="0" i="0">
                <a:solidFill>
                  <a:schemeClr val="tx1"/>
                </a:solidFill>
                <a:latin typeface="IBM Plex Sans" panose="020B0503050203000203" pitchFamily="34" charset="0"/>
              </a:defRPr>
            </a:lvl1pPr>
            <a:lvl2pPr marL="162576" indent="-162576">
              <a:lnSpc>
                <a:spcPct val="110000"/>
              </a:lnSpc>
              <a:spcBef>
                <a:spcPts val="0"/>
              </a:spcBef>
              <a:defRPr sz="1778" b="0" i="0">
                <a:solidFill>
                  <a:schemeClr val="tx1"/>
                </a:solidFill>
                <a:latin typeface="IBM Plex Sans" panose="020B0503050203000203" pitchFamily="34" charset="0"/>
              </a:defRPr>
            </a:lvl2pPr>
            <a:lvl3pPr marL="325152" indent="-162576">
              <a:lnSpc>
                <a:spcPct val="110000"/>
              </a:lnSpc>
              <a:spcBef>
                <a:spcPts val="0"/>
              </a:spcBef>
              <a:defRPr sz="1778" b="0" i="0">
                <a:solidFill>
                  <a:schemeClr val="tx1"/>
                </a:solidFill>
                <a:latin typeface="IBM Plex Sans" panose="020B0503050203000203" pitchFamily="34" charset="0"/>
              </a:defRPr>
            </a:lvl3pPr>
            <a:lvl4pPr marL="487728" indent="-162576">
              <a:lnSpc>
                <a:spcPct val="110000"/>
              </a:lnSpc>
              <a:spcBef>
                <a:spcPts val="0"/>
              </a:spcBef>
              <a:defRPr sz="1778" b="0" i="0">
                <a:solidFill>
                  <a:schemeClr val="tx1"/>
                </a:solidFill>
                <a:latin typeface="IBM Plex Sans" panose="020B0503050203000203" pitchFamily="34" charset="0"/>
              </a:defRPr>
            </a:lvl4pPr>
            <a:lvl5pPr>
              <a:lnSpc>
                <a:spcPct val="110000"/>
              </a:lnSpc>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42889825"/>
      </p:ext>
    </p:extLst>
  </p:cSld>
  <p:clrMapOvr>
    <a:masterClrMapping/>
  </p:clrMapOvr>
  <p:transition spd="med"/>
  <p:hf sldNum="0" hdr="0" dt="0"/>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4"/>
            <a:ext cx="4949824" cy="1525588"/>
          </a:xfrm>
        </p:spPr>
        <p:txBody>
          <a:bodyPr/>
          <a:lstStyle>
            <a:lvl1pPr>
              <a:lnSpc>
                <a:spcPct val="110000"/>
              </a:lnSpc>
              <a:defRPr sz="249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6096000"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1778" b="0" i="0">
                <a:solidFill>
                  <a:schemeClr val="tx1"/>
                </a:solidFill>
                <a:latin typeface="IBM Plex Sans" panose="020B0503050203000203" pitchFamily="34" charset="0"/>
              </a:defRPr>
            </a:lvl1pPr>
            <a:lvl2pPr marL="162576" indent="-162576">
              <a:spcBef>
                <a:spcPts val="0"/>
              </a:spcBef>
              <a:defRPr sz="1778" b="0" i="0">
                <a:solidFill>
                  <a:schemeClr val="tx1"/>
                </a:solidFill>
                <a:latin typeface="IBM Plex Sans" panose="020B0503050203000203" pitchFamily="34" charset="0"/>
              </a:defRPr>
            </a:lvl2pPr>
            <a:lvl3pPr marL="325152" indent="-162576">
              <a:spcBef>
                <a:spcPts val="0"/>
              </a:spcBef>
              <a:defRPr sz="1778" b="0" i="0">
                <a:solidFill>
                  <a:schemeClr val="tx1"/>
                </a:solidFill>
                <a:latin typeface="IBM Plex Sans" panose="020B0503050203000203" pitchFamily="34" charset="0"/>
              </a:defRPr>
            </a:lvl3pPr>
            <a:lvl4pPr marL="487728" indent="-162576">
              <a:spcBef>
                <a:spcPts val="0"/>
              </a:spcBef>
              <a:defRPr sz="1778" b="0" i="0">
                <a:solidFill>
                  <a:schemeClr val="tx1"/>
                </a:solidFill>
                <a:latin typeface="IBM Plex Sans" panose="020B0503050203000203" pitchFamily="34" charset="0"/>
              </a:defRPr>
            </a:lvl4pPr>
            <a:lvl5pPr>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3" y="576072"/>
            <a:ext cx="4952999" cy="1525588"/>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0"/>
            <a:ext cx="4952999" cy="8572500"/>
          </a:xfrm>
        </p:spPr>
        <p:txBody>
          <a:bodyPr/>
          <a:lstStyle>
            <a:lvl1pPr>
              <a:spcBef>
                <a:spcPts val="0"/>
              </a:spcBef>
              <a:defRPr sz="1778" b="0" i="0">
                <a:solidFill>
                  <a:schemeClr val="tx1"/>
                </a:solidFill>
                <a:latin typeface="IBM Plex Sans" panose="020B0503050203000203" pitchFamily="34" charset="0"/>
              </a:defRPr>
            </a:lvl1pPr>
            <a:lvl2pPr marL="162576" indent="-162576">
              <a:spcBef>
                <a:spcPts val="0"/>
              </a:spcBef>
              <a:defRPr sz="1778" b="0" i="0">
                <a:solidFill>
                  <a:schemeClr val="tx1"/>
                </a:solidFill>
                <a:latin typeface="IBM Plex Sans" panose="020B0503050203000203" pitchFamily="34" charset="0"/>
              </a:defRPr>
            </a:lvl2pPr>
            <a:lvl3pPr marL="325152" indent="-162576">
              <a:spcBef>
                <a:spcPts val="0"/>
              </a:spcBef>
              <a:defRPr sz="1778" b="0" i="0">
                <a:solidFill>
                  <a:schemeClr val="tx1"/>
                </a:solidFill>
                <a:latin typeface="IBM Plex Sans" panose="020B0503050203000203" pitchFamily="34" charset="0"/>
              </a:defRPr>
            </a:lvl3pPr>
            <a:lvl4pPr marL="487728" indent="-162576">
              <a:spcBef>
                <a:spcPts val="0"/>
              </a:spcBef>
              <a:defRPr sz="1778" b="0" i="0">
                <a:solidFill>
                  <a:schemeClr val="tx1"/>
                </a:solidFill>
                <a:latin typeface="IBM Plex Sans" panose="020B0503050203000203" pitchFamily="34" charset="0"/>
              </a:defRPr>
            </a:lvl4pPr>
            <a:lvl5pPr>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18287999"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1525588"/>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0"/>
          </a:xfrm>
        </p:spPr>
        <p:txBody>
          <a:bodyPr/>
          <a:lstStyle>
            <a:lvl1pPr>
              <a:spcBef>
                <a:spcPts val="0"/>
              </a:spcBef>
              <a:defRPr sz="1778" b="0" i="0">
                <a:solidFill>
                  <a:schemeClr val="tx1"/>
                </a:solidFill>
                <a:latin typeface="IBM Plex Sans" panose="020B0503050203000203" pitchFamily="34" charset="0"/>
              </a:defRPr>
            </a:lvl1pPr>
            <a:lvl2pPr marL="162576" indent="-162576">
              <a:spcBef>
                <a:spcPts val="0"/>
              </a:spcBef>
              <a:defRPr sz="1778" b="0" i="0">
                <a:solidFill>
                  <a:schemeClr val="tx1"/>
                </a:solidFill>
                <a:latin typeface="IBM Plex Sans" panose="020B0503050203000203" pitchFamily="34" charset="0"/>
              </a:defRPr>
            </a:lvl2pPr>
            <a:lvl3pPr marL="325152" indent="-162576">
              <a:spcBef>
                <a:spcPts val="0"/>
              </a:spcBef>
              <a:defRPr sz="1778" b="0" i="0">
                <a:solidFill>
                  <a:schemeClr val="tx1"/>
                </a:solidFill>
                <a:latin typeface="IBM Plex Sans" panose="020B0503050203000203" pitchFamily="34" charset="0"/>
              </a:defRPr>
            </a:lvl3pPr>
            <a:lvl4pPr marL="487728" indent="-162576">
              <a:spcBef>
                <a:spcPts val="0"/>
              </a:spcBef>
              <a:defRPr sz="1778" b="0" i="0">
                <a:solidFill>
                  <a:schemeClr val="tx1"/>
                </a:solidFill>
                <a:latin typeface="IBM Plex Sans" panose="020B0503050203000203" pitchFamily="34" charset="0"/>
              </a:defRPr>
            </a:lvl4pPr>
            <a:lvl5pPr>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86894642"/>
      </p:ext>
    </p:extLst>
  </p:cSld>
  <p:clrMapOvr>
    <a:masterClrMapping/>
  </p:clrMapOvr>
  <p:transition spd="med"/>
  <p:hf sldNum="0" hdr="0" dt="0"/>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576072"/>
            <a:ext cx="4949824" cy="2097088"/>
          </a:xfrm>
        </p:spPr>
        <p:txBody>
          <a:bodyPr/>
          <a:lstStyle>
            <a:lvl1pPr>
              <a:lnSpc>
                <a:spcPct val="110000"/>
              </a:lnSpc>
              <a:defRPr sz="213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p:spPr>
        <p:txBody>
          <a:bodyPr/>
          <a:lstStyle>
            <a:lvl1pPr>
              <a:lnSpc>
                <a:spcPct val="100000"/>
              </a:lnSpc>
              <a:spcBef>
                <a:spcPts val="0"/>
              </a:spcBef>
              <a:defRPr sz="32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6096000"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p:spPr>
        <p:txBody>
          <a:bodyPr anchor="ctr"/>
          <a:lstStyle>
            <a:lvl1pPr algn="ctr">
              <a:defRPr sz="1422">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134">
                <a:solidFill>
                  <a:schemeClr val="tx1"/>
                </a:solidFill>
              </a:defRPr>
            </a:lvl1pPr>
            <a:lvl2pPr marL="195092" indent="-195092">
              <a:lnSpc>
                <a:spcPct val="110000"/>
              </a:lnSpc>
              <a:spcBef>
                <a:spcPts val="0"/>
              </a:spcBef>
              <a:defRPr sz="2134">
                <a:solidFill>
                  <a:schemeClr val="tx1"/>
                </a:solidFill>
              </a:defRPr>
            </a:lvl2pPr>
            <a:lvl3pPr marL="390184" indent="-195092">
              <a:lnSpc>
                <a:spcPct val="110000"/>
              </a:lnSpc>
              <a:spcBef>
                <a:spcPts val="0"/>
              </a:spcBef>
              <a:defRPr sz="2134">
                <a:solidFill>
                  <a:schemeClr val="tx1"/>
                </a:solidFill>
              </a:defRPr>
            </a:lvl3pPr>
            <a:lvl4pPr marL="585274" indent="-195092">
              <a:lnSpc>
                <a:spcPct val="110000"/>
              </a:lnSpc>
              <a:spcBef>
                <a:spcPts val="0"/>
              </a:spcBef>
              <a:defRPr sz="2134">
                <a:solidFill>
                  <a:schemeClr val="tx1"/>
                </a:solidFill>
              </a:defRPr>
            </a:lvl4pPr>
            <a:lvl5pPr>
              <a:lnSpc>
                <a:spcPct val="110000"/>
              </a:lnSpc>
              <a:spcBef>
                <a:spcPts val="0"/>
              </a:spcBef>
              <a:defRPr sz="21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p:spPr>
        <p:txBody>
          <a:bodyPr anchor="ctr"/>
          <a:lstStyle>
            <a:lvl1pPr algn="ctr">
              <a:defRPr sz="1422">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2" y="3429000"/>
            <a:ext cx="4942119" cy="8572500"/>
          </a:xfrm>
        </p:spPr>
        <p:txBody>
          <a:bodyPr/>
          <a:lstStyle>
            <a:lvl1pPr>
              <a:lnSpc>
                <a:spcPct val="110000"/>
              </a:lnSpc>
              <a:spcBef>
                <a:spcPts val="0"/>
              </a:spcBef>
              <a:defRPr sz="2134">
                <a:solidFill>
                  <a:schemeClr val="tx1"/>
                </a:solidFill>
              </a:defRPr>
            </a:lvl1pPr>
            <a:lvl2pPr marL="195092" indent="-195092">
              <a:lnSpc>
                <a:spcPct val="110000"/>
              </a:lnSpc>
              <a:spcBef>
                <a:spcPts val="0"/>
              </a:spcBef>
              <a:defRPr sz="2134">
                <a:solidFill>
                  <a:schemeClr val="tx1"/>
                </a:solidFill>
              </a:defRPr>
            </a:lvl2pPr>
            <a:lvl3pPr marL="390184" indent="-195092">
              <a:lnSpc>
                <a:spcPct val="110000"/>
              </a:lnSpc>
              <a:spcBef>
                <a:spcPts val="0"/>
              </a:spcBef>
              <a:defRPr sz="2134">
                <a:solidFill>
                  <a:schemeClr val="tx1"/>
                </a:solidFill>
              </a:defRPr>
            </a:lvl3pPr>
            <a:lvl4pPr marL="585274" indent="-195092">
              <a:lnSpc>
                <a:spcPct val="110000"/>
              </a:lnSpc>
              <a:spcBef>
                <a:spcPts val="0"/>
              </a:spcBef>
              <a:defRPr sz="2134">
                <a:solidFill>
                  <a:schemeClr val="tx1"/>
                </a:solidFill>
              </a:defRPr>
            </a:lvl4pPr>
            <a:lvl5pPr>
              <a:lnSpc>
                <a:spcPct val="110000"/>
              </a:lnSpc>
              <a:spcBef>
                <a:spcPts val="0"/>
              </a:spcBef>
              <a:defRPr sz="21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18287999"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2"/>
            <a:ext cx="1216152" cy="1216152"/>
          </a:xfrm>
        </p:spPr>
        <p:txBody>
          <a:bodyPr anchor="ctr"/>
          <a:lstStyle>
            <a:lvl1pPr algn="ctr">
              <a:defRPr sz="1422">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2999" cy="8572500"/>
          </a:xfrm>
        </p:spPr>
        <p:txBody>
          <a:bodyPr/>
          <a:lstStyle>
            <a:lvl1pPr>
              <a:lnSpc>
                <a:spcPct val="110000"/>
              </a:lnSpc>
              <a:spcBef>
                <a:spcPts val="0"/>
              </a:spcBef>
              <a:defRPr sz="2134">
                <a:solidFill>
                  <a:schemeClr val="tx1"/>
                </a:solidFill>
              </a:defRPr>
            </a:lvl1pPr>
            <a:lvl2pPr marL="195092" indent="-195092">
              <a:lnSpc>
                <a:spcPct val="110000"/>
              </a:lnSpc>
              <a:spcBef>
                <a:spcPts val="0"/>
              </a:spcBef>
              <a:defRPr sz="2134">
                <a:solidFill>
                  <a:schemeClr val="tx1"/>
                </a:solidFill>
              </a:defRPr>
            </a:lvl2pPr>
            <a:lvl3pPr marL="390184" indent="-195092">
              <a:lnSpc>
                <a:spcPct val="110000"/>
              </a:lnSpc>
              <a:spcBef>
                <a:spcPts val="0"/>
              </a:spcBef>
              <a:defRPr sz="2134">
                <a:solidFill>
                  <a:schemeClr val="tx1"/>
                </a:solidFill>
              </a:defRPr>
            </a:lvl3pPr>
            <a:lvl4pPr marL="585274" indent="-195092">
              <a:lnSpc>
                <a:spcPct val="110000"/>
              </a:lnSpc>
              <a:spcBef>
                <a:spcPts val="0"/>
              </a:spcBef>
              <a:defRPr sz="2134">
                <a:solidFill>
                  <a:schemeClr val="tx1"/>
                </a:solidFill>
              </a:defRPr>
            </a:lvl4pPr>
            <a:lvl5pPr>
              <a:lnSpc>
                <a:spcPct val="110000"/>
              </a:lnSpc>
              <a:spcBef>
                <a:spcPts val="0"/>
              </a:spcBef>
              <a:defRPr sz="21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2024 IBM Corporation / IBM Client Confidential</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23747466"/>
      </p:ext>
    </p:extLst>
  </p:cSld>
  <p:clrMapOvr>
    <a:masterClrMapping/>
  </p:clrMapOvr>
  <p:transition spd="med"/>
  <p:hf sldNum="0" hdr="0" dt="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569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8"/>
            <a:ext cx="4956175" cy="1141412"/>
          </a:xfrm>
        </p:spPr>
        <p:txBody>
          <a:bodyPr/>
          <a:lstStyle>
            <a:lvl1pPr>
              <a:lnSpc>
                <a:spcPct val="100000"/>
              </a:lnSpc>
              <a:spcBef>
                <a:spcPts val="0"/>
              </a:spcBef>
              <a:defRPr sz="5690">
                <a:solidFill>
                  <a:schemeClr val="tx2"/>
                </a:solidFill>
              </a:defRPr>
            </a:lvl1pPr>
            <a:lvl2pPr>
              <a:spcBef>
                <a:spcPts val="0"/>
              </a:spcBef>
              <a:defRPr sz="2490"/>
            </a:lvl2pPr>
            <a:lvl3pPr>
              <a:spcBef>
                <a:spcPts val="0"/>
              </a:spcBef>
              <a:defRPr sz="2490"/>
            </a:lvl3pPr>
            <a:lvl4pPr>
              <a:spcBef>
                <a:spcPts val="0"/>
              </a:spcBef>
              <a:defRPr sz="2490"/>
            </a:lvl4pPr>
            <a:lvl5pPr>
              <a:spcBef>
                <a:spcPts val="0"/>
              </a:spcBef>
              <a:defRPr sz="249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490" b="0" i="0">
                <a:solidFill>
                  <a:schemeClr val="tx1"/>
                </a:solidFill>
                <a:latin typeface="IBM Plex Sans Light" panose="020B0403050203000203" pitchFamily="34" charset="0"/>
              </a:defRPr>
            </a:lvl1pPr>
            <a:lvl2pPr marL="227608" indent="-227608">
              <a:spcBef>
                <a:spcPts val="0"/>
              </a:spcBef>
              <a:defRPr sz="2490" b="0" i="0">
                <a:solidFill>
                  <a:schemeClr val="tx1"/>
                </a:solidFill>
                <a:latin typeface="IBM Plex Sans Light" panose="020B0403050203000203" pitchFamily="34" charset="0"/>
              </a:defRPr>
            </a:lvl2pPr>
            <a:lvl3pPr marL="455214" indent="-227608">
              <a:spcBef>
                <a:spcPts val="0"/>
              </a:spcBef>
              <a:defRPr sz="2490" b="0" i="0">
                <a:solidFill>
                  <a:schemeClr val="tx1"/>
                </a:solidFill>
                <a:latin typeface="IBM Plex Sans Light" panose="020B0403050203000203" pitchFamily="34" charset="0"/>
              </a:defRPr>
            </a:lvl3pPr>
            <a:lvl4pPr marL="682820" indent="-227608">
              <a:spcBef>
                <a:spcPts val="0"/>
              </a:spcBef>
              <a:defRPr sz="2490" b="0" i="0">
                <a:solidFill>
                  <a:schemeClr val="tx1"/>
                </a:solidFill>
                <a:latin typeface="IBM Plex Sans Light" panose="020B0403050203000203" pitchFamily="34" charset="0"/>
              </a:defRPr>
            </a:lvl4pPr>
            <a:lvl5pPr>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0"/>
            <a:ext cx="10096500" cy="8572500"/>
          </a:xfrm>
        </p:spPr>
        <p:txBody>
          <a:bodyPr/>
          <a:lstStyle>
            <a:lvl1pPr>
              <a:spcBef>
                <a:spcPts val="0"/>
              </a:spcBef>
              <a:defRPr sz="2490" b="0" i="0">
                <a:solidFill>
                  <a:schemeClr val="tx1"/>
                </a:solidFill>
                <a:latin typeface="IBM Plex Sans Light" panose="020B0403050203000203" pitchFamily="34" charset="0"/>
              </a:defRPr>
            </a:lvl1pPr>
            <a:lvl2pPr marL="227608" indent="-227608">
              <a:spcBef>
                <a:spcPts val="0"/>
              </a:spcBef>
              <a:defRPr sz="2490" b="0" i="0">
                <a:solidFill>
                  <a:schemeClr val="tx1"/>
                </a:solidFill>
                <a:latin typeface="IBM Plex Sans Light" panose="020B0403050203000203" pitchFamily="34" charset="0"/>
              </a:defRPr>
            </a:lvl2pPr>
            <a:lvl3pPr marL="455214" indent="-227608">
              <a:spcBef>
                <a:spcPts val="0"/>
              </a:spcBef>
              <a:defRPr sz="2490" b="0" i="0">
                <a:solidFill>
                  <a:schemeClr val="tx1"/>
                </a:solidFill>
                <a:latin typeface="IBM Plex Sans Light" panose="020B0403050203000203" pitchFamily="34" charset="0"/>
              </a:defRPr>
            </a:lvl3pPr>
            <a:lvl4pPr marL="682820" indent="-227608">
              <a:spcBef>
                <a:spcPts val="0"/>
              </a:spcBef>
              <a:defRPr sz="2490" b="0" i="0">
                <a:solidFill>
                  <a:schemeClr val="tx1"/>
                </a:solidFill>
                <a:latin typeface="IBM Plex Sans Light" panose="020B0403050203000203" pitchFamily="34" charset="0"/>
              </a:defRPr>
            </a:lvl4pPr>
            <a:lvl5pPr>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2024 IBM Corporation / IBM Client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47406337"/>
      </p:ext>
    </p:extLst>
  </p:cSld>
  <p:clrMapOvr>
    <a:masterClrMapping/>
  </p:clrMapOvr>
  <p:transition spd="med"/>
  <p:hf sldNum="0" hdr="0" dt="0"/>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4"/>
            <a:ext cx="7424927" cy="1906588"/>
          </a:xfrm>
        </p:spPr>
        <p:txBody>
          <a:bodyPr/>
          <a:lstStyle>
            <a:lvl1pPr>
              <a:lnSpc>
                <a:spcPct val="110000"/>
              </a:lnSpc>
              <a:defRPr sz="3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3"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3"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2024 IBM Corporation / IBM Client Confidentia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56992284"/>
      </p:ext>
    </p:extLst>
  </p:cSld>
  <p:clrMapOvr>
    <a:masterClrMapping/>
  </p:clrMapOvr>
  <p:transition spd="med"/>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720724"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61313497"/>
      </p:ext>
    </p:extLst>
  </p:cSld>
  <p:clrMapOvr>
    <a:masterClrMapping/>
  </p:clrMapOvr>
  <p:transition spd="med"/>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3" y="576072"/>
            <a:ext cx="4952999" cy="11431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2" y="576072"/>
            <a:ext cx="4952999" cy="11431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2024 IBM Corporation / IBM Client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35220515"/>
      </p:ext>
    </p:extLst>
  </p:cSld>
  <p:clrMapOvr>
    <a:masterClrMapping/>
  </p:clrMapOvr>
  <p:transition spd="med"/>
  <p:hf sldNum="0" hdr="0" dt="0"/>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576072"/>
            <a:ext cx="4952999" cy="4573588"/>
          </a:xfrm>
        </p:spPr>
        <p:txBody>
          <a:bodyPr/>
          <a:lstStyle>
            <a:lvl1pPr>
              <a:lnSpc>
                <a:spcPct val="100000"/>
              </a:lnSpc>
              <a:defRPr sz="3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3" y="569912"/>
            <a:ext cx="4952999" cy="11431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2" y="569912"/>
            <a:ext cx="4952999" cy="11431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2024 IBM Corporation / IBM Client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19934091"/>
      </p:ext>
    </p:extLst>
  </p:cSld>
  <p:clrMapOvr>
    <a:masterClrMapping/>
  </p:clrMapOvr>
  <p:transition spd="med"/>
  <p:hf sldNum="0" hdr="0" dt="0"/>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3" y="576072"/>
            <a:ext cx="4952999" cy="1525588"/>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3" y="3429000"/>
            <a:ext cx="4952999" cy="8572500"/>
          </a:xfrm>
        </p:spPr>
        <p:txBody>
          <a:bodyPr/>
          <a:lstStyle>
            <a:lvl1pPr>
              <a:lnSpc>
                <a:spcPct val="110000"/>
              </a:lnSpc>
              <a:spcBef>
                <a:spcPts val="0"/>
              </a:spcBef>
              <a:defRPr sz="1778" b="0" i="0">
                <a:solidFill>
                  <a:schemeClr val="tx1"/>
                </a:solidFill>
                <a:latin typeface="IBM Plex Sans" panose="020B0503050203000203" pitchFamily="34" charset="0"/>
              </a:defRPr>
            </a:lvl1pPr>
            <a:lvl2pPr marL="162576" indent="-162576">
              <a:lnSpc>
                <a:spcPct val="110000"/>
              </a:lnSpc>
              <a:spcBef>
                <a:spcPts val="0"/>
              </a:spcBef>
              <a:defRPr sz="1778" b="0" i="0">
                <a:solidFill>
                  <a:schemeClr val="tx1"/>
                </a:solidFill>
                <a:latin typeface="IBM Plex Sans" panose="020B0503050203000203" pitchFamily="34" charset="0"/>
              </a:defRPr>
            </a:lvl2pPr>
            <a:lvl3pPr marL="325152" indent="-162576">
              <a:lnSpc>
                <a:spcPct val="110000"/>
              </a:lnSpc>
              <a:spcBef>
                <a:spcPts val="0"/>
              </a:spcBef>
              <a:defRPr sz="1778" b="0" i="0">
                <a:solidFill>
                  <a:schemeClr val="tx1"/>
                </a:solidFill>
                <a:latin typeface="IBM Plex Sans" panose="020B0503050203000203" pitchFamily="34" charset="0"/>
              </a:defRPr>
            </a:lvl3pPr>
            <a:lvl4pPr marL="487728" indent="-162576">
              <a:lnSpc>
                <a:spcPct val="110000"/>
              </a:lnSpc>
              <a:spcBef>
                <a:spcPts val="0"/>
              </a:spcBef>
              <a:defRPr sz="1778" b="0" i="0">
                <a:solidFill>
                  <a:schemeClr val="tx1"/>
                </a:solidFill>
                <a:latin typeface="IBM Plex Sans" panose="020B0503050203000203" pitchFamily="34" charset="0"/>
              </a:defRPr>
            </a:lvl4pPr>
            <a:lvl5pPr>
              <a:lnSpc>
                <a:spcPct val="110000"/>
              </a:lnSpc>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2"/>
            <a:ext cx="4959350" cy="1525588"/>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7" y="3429000"/>
            <a:ext cx="4952999" cy="8572500"/>
          </a:xfrm>
        </p:spPr>
        <p:txBody>
          <a:bodyPr/>
          <a:lstStyle>
            <a:lvl1pPr>
              <a:lnSpc>
                <a:spcPct val="110000"/>
              </a:lnSpc>
              <a:spcBef>
                <a:spcPts val="0"/>
              </a:spcBef>
              <a:defRPr sz="1778" b="0" i="0">
                <a:solidFill>
                  <a:schemeClr val="tx1"/>
                </a:solidFill>
                <a:latin typeface="IBM Plex Sans" panose="020B0503050203000203" pitchFamily="34" charset="0"/>
              </a:defRPr>
            </a:lvl1pPr>
            <a:lvl2pPr marL="162576" indent="-162576">
              <a:lnSpc>
                <a:spcPct val="110000"/>
              </a:lnSpc>
              <a:spcBef>
                <a:spcPts val="0"/>
              </a:spcBef>
              <a:defRPr sz="1778" b="0" i="0">
                <a:solidFill>
                  <a:schemeClr val="tx1"/>
                </a:solidFill>
                <a:latin typeface="IBM Plex Sans" panose="020B0503050203000203" pitchFamily="34" charset="0"/>
              </a:defRPr>
            </a:lvl2pPr>
            <a:lvl3pPr marL="325152" indent="-162576">
              <a:lnSpc>
                <a:spcPct val="110000"/>
              </a:lnSpc>
              <a:spcBef>
                <a:spcPts val="0"/>
              </a:spcBef>
              <a:defRPr sz="1778" b="0" i="0">
                <a:solidFill>
                  <a:schemeClr val="tx1"/>
                </a:solidFill>
                <a:latin typeface="IBM Plex Sans" panose="020B0503050203000203" pitchFamily="34" charset="0"/>
              </a:defRPr>
            </a:lvl3pPr>
            <a:lvl4pPr marL="487728" indent="-162576">
              <a:lnSpc>
                <a:spcPct val="110000"/>
              </a:lnSpc>
              <a:spcBef>
                <a:spcPts val="0"/>
              </a:spcBef>
              <a:defRPr sz="1778" b="0" i="0">
                <a:solidFill>
                  <a:schemeClr val="tx1"/>
                </a:solidFill>
                <a:latin typeface="IBM Plex Sans" panose="020B0503050203000203" pitchFamily="34" charset="0"/>
              </a:defRPr>
            </a:lvl4pPr>
            <a:lvl5pPr>
              <a:lnSpc>
                <a:spcPct val="110000"/>
              </a:lnSpc>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2024 IBM Corporation / IBM Client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70867354"/>
      </p:ext>
    </p:extLst>
  </p:cSld>
  <p:clrMapOvr>
    <a:masterClrMapping/>
  </p:clrMapOvr>
  <p:transition spd="med"/>
  <p:hf sldNum="0" hdr="0" dt="0"/>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2"/>
            <a:ext cx="4949826" cy="4573588"/>
          </a:xfrm>
        </p:spPr>
        <p:txBody>
          <a:bodyPr rIns="0"/>
          <a:lstStyle>
            <a:lvl1pPr>
              <a:lnSpc>
                <a:spcPct val="100000"/>
              </a:lnSpc>
              <a:defRPr sz="249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3" y="576072"/>
            <a:ext cx="4952999" cy="1525588"/>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3" y="3429000"/>
            <a:ext cx="4952999" cy="8572500"/>
          </a:xfrm>
        </p:spPr>
        <p:txBody>
          <a:bodyPr/>
          <a:lstStyle>
            <a:lvl1pPr>
              <a:lnSpc>
                <a:spcPct val="110000"/>
              </a:lnSpc>
              <a:spcBef>
                <a:spcPts val="0"/>
              </a:spcBef>
              <a:defRPr sz="1778" b="0" i="0">
                <a:solidFill>
                  <a:schemeClr val="tx1"/>
                </a:solidFill>
                <a:latin typeface="IBM Plex Sans" panose="020B0503050203000203" pitchFamily="34" charset="0"/>
              </a:defRPr>
            </a:lvl1pPr>
            <a:lvl2pPr marL="162576" indent="-162576">
              <a:lnSpc>
                <a:spcPct val="110000"/>
              </a:lnSpc>
              <a:spcBef>
                <a:spcPts val="0"/>
              </a:spcBef>
              <a:defRPr sz="1778" b="0" i="0">
                <a:solidFill>
                  <a:schemeClr val="tx1"/>
                </a:solidFill>
                <a:latin typeface="IBM Plex Sans" panose="020B0503050203000203" pitchFamily="34" charset="0"/>
              </a:defRPr>
            </a:lvl2pPr>
            <a:lvl3pPr marL="325152" indent="-162576">
              <a:lnSpc>
                <a:spcPct val="110000"/>
              </a:lnSpc>
              <a:spcBef>
                <a:spcPts val="0"/>
              </a:spcBef>
              <a:defRPr sz="1778" b="0" i="0">
                <a:solidFill>
                  <a:schemeClr val="tx1"/>
                </a:solidFill>
                <a:latin typeface="IBM Plex Sans" panose="020B0503050203000203" pitchFamily="34" charset="0"/>
              </a:defRPr>
            </a:lvl3pPr>
            <a:lvl4pPr marL="487728" indent="-162576">
              <a:lnSpc>
                <a:spcPct val="110000"/>
              </a:lnSpc>
              <a:spcBef>
                <a:spcPts val="0"/>
              </a:spcBef>
              <a:defRPr sz="1778" b="0" i="0">
                <a:solidFill>
                  <a:schemeClr val="tx1"/>
                </a:solidFill>
                <a:latin typeface="IBM Plex Sans" panose="020B0503050203000203" pitchFamily="34" charset="0"/>
              </a:defRPr>
            </a:lvl4pPr>
            <a:lvl5pPr>
              <a:lnSpc>
                <a:spcPct val="110000"/>
              </a:lnSpc>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2"/>
            <a:ext cx="4959350" cy="1525588"/>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3" y="3429000"/>
            <a:ext cx="4952999" cy="8572500"/>
          </a:xfrm>
        </p:spPr>
        <p:txBody>
          <a:bodyPr/>
          <a:lstStyle>
            <a:lvl1pPr>
              <a:lnSpc>
                <a:spcPct val="110000"/>
              </a:lnSpc>
              <a:spcBef>
                <a:spcPts val="0"/>
              </a:spcBef>
              <a:defRPr sz="1778" b="0" i="0">
                <a:solidFill>
                  <a:schemeClr val="tx1"/>
                </a:solidFill>
                <a:latin typeface="IBM Plex Sans" panose="020B0503050203000203" pitchFamily="34" charset="0"/>
              </a:defRPr>
            </a:lvl1pPr>
            <a:lvl2pPr marL="162576" indent="-162576">
              <a:lnSpc>
                <a:spcPct val="110000"/>
              </a:lnSpc>
              <a:spcBef>
                <a:spcPts val="0"/>
              </a:spcBef>
              <a:defRPr sz="1778" b="0" i="0">
                <a:solidFill>
                  <a:schemeClr val="tx1"/>
                </a:solidFill>
                <a:latin typeface="IBM Plex Sans" panose="020B0503050203000203" pitchFamily="34" charset="0"/>
              </a:defRPr>
            </a:lvl2pPr>
            <a:lvl3pPr marL="325152" indent="-162576">
              <a:lnSpc>
                <a:spcPct val="110000"/>
              </a:lnSpc>
              <a:spcBef>
                <a:spcPts val="0"/>
              </a:spcBef>
              <a:defRPr sz="1778" b="0" i="0">
                <a:solidFill>
                  <a:schemeClr val="tx1"/>
                </a:solidFill>
                <a:latin typeface="IBM Plex Sans" panose="020B0503050203000203" pitchFamily="34" charset="0"/>
              </a:defRPr>
            </a:lvl3pPr>
            <a:lvl4pPr marL="487728" indent="-162576">
              <a:lnSpc>
                <a:spcPct val="110000"/>
              </a:lnSpc>
              <a:spcBef>
                <a:spcPts val="0"/>
              </a:spcBef>
              <a:defRPr sz="1778" b="0" i="0">
                <a:solidFill>
                  <a:schemeClr val="tx1"/>
                </a:solidFill>
                <a:latin typeface="IBM Plex Sans" panose="020B0503050203000203" pitchFamily="34" charset="0"/>
              </a:defRPr>
            </a:lvl4pPr>
            <a:lvl5pPr>
              <a:lnSpc>
                <a:spcPct val="110000"/>
              </a:lnSpc>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2024 IBM Corporation / IBM Client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64923663"/>
      </p:ext>
    </p:extLst>
  </p:cSld>
  <p:clrMapOvr>
    <a:masterClrMapping/>
  </p:clrMapOvr>
  <p:transition spd="med"/>
  <p:hf sldNum="0" hdr="0" dt="0"/>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9"/>
            <a:ext cx="4949824" cy="1141414"/>
          </a:xfrm>
        </p:spPr>
        <p:txBody>
          <a:bodyPr/>
          <a:lstStyle>
            <a:lvl1pPr>
              <a:lnSpc>
                <a:spcPct val="100000"/>
              </a:lnSpc>
              <a:defRPr sz="569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8"/>
            <a:ext cx="4956175" cy="1141412"/>
          </a:xfrm>
        </p:spPr>
        <p:txBody>
          <a:bodyPr/>
          <a:lstStyle>
            <a:lvl1pPr>
              <a:lnSpc>
                <a:spcPct val="100000"/>
              </a:lnSpc>
              <a:spcBef>
                <a:spcPts val="0"/>
              </a:spcBef>
              <a:defRPr sz="5690">
                <a:solidFill>
                  <a:schemeClr val="tx2"/>
                </a:solidFill>
              </a:defRPr>
            </a:lvl1pPr>
            <a:lvl2pPr>
              <a:lnSpc>
                <a:spcPct val="90000"/>
              </a:lnSpc>
              <a:spcBef>
                <a:spcPts val="0"/>
              </a:spcBef>
              <a:defRPr sz="2490"/>
            </a:lvl2pPr>
            <a:lvl3pPr>
              <a:lnSpc>
                <a:spcPct val="90000"/>
              </a:lnSpc>
              <a:spcBef>
                <a:spcPts val="0"/>
              </a:spcBef>
              <a:defRPr sz="2490"/>
            </a:lvl3pPr>
            <a:lvl4pPr>
              <a:lnSpc>
                <a:spcPct val="90000"/>
              </a:lnSpc>
              <a:spcBef>
                <a:spcPts val="0"/>
              </a:spcBef>
              <a:defRPr sz="2490"/>
            </a:lvl4pPr>
            <a:lvl5pPr>
              <a:lnSpc>
                <a:spcPct val="90000"/>
              </a:lnSpc>
              <a:spcBef>
                <a:spcPts val="0"/>
              </a:spcBef>
              <a:defRPr sz="249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490" b="0" i="0">
                <a:solidFill>
                  <a:schemeClr val="tx1"/>
                </a:solidFill>
                <a:latin typeface="IBM Plex Sans Light" panose="020B0403050203000203" pitchFamily="34" charset="0"/>
              </a:defRPr>
            </a:lvl1pPr>
            <a:lvl2pPr marL="227608" indent="-227608">
              <a:spcBef>
                <a:spcPts val="0"/>
              </a:spcBef>
              <a:defRPr sz="2490" b="0" i="0">
                <a:solidFill>
                  <a:schemeClr val="tx1"/>
                </a:solidFill>
                <a:latin typeface="IBM Plex Sans Light" panose="020B0403050203000203" pitchFamily="34" charset="0"/>
              </a:defRPr>
            </a:lvl2pPr>
            <a:lvl3pPr marL="455214" indent="-227608">
              <a:spcBef>
                <a:spcPts val="0"/>
              </a:spcBef>
              <a:defRPr sz="2490" b="0" i="0">
                <a:solidFill>
                  <a:schemeClr val="tx1"/>
                </a:solidFill>
                <a:latin typeface="IBM Plex Sans Light" panose="020B0403050203000203" pitchFamily="34" charset="0"/>
              </a:defRPr>
            </a:lvl3pPr>
            <a:lvl4pPr marL="682820" indent="-227608">
              <a:spcBef>
                <a:spcPts val="0"/>
              </a:spcBef>
              <a:defRPr sz="2490" b="0" i="0">
                <a:solidFill>
                  <a:schemeClr val="tx1"/>
                </a:solidFill>
                <a:latin typeface="IBM Plex Sans Light" panose="020B0403050203000203" pitchFamily="34" charset="0"/>
              </a:defRPr>
            </a:lvl4pPr>
            <a:lvl5pPr>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12188953"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3" y="576073"/>
            <a:ext cx="1216152" cy="1214462"/>
          </a:xfrm>
        </p:spPr>
        <p:txBody>
          <a:bodyPr anchor="ctr"/>
          <a:lstStyle>
            <a:lvl1pPr algn="ctr">
              <a:defRPr sz="1422">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9" y="3429000"/>
            <a:ext cx="4952999" cy="8572500"/>
          </a:xfrm>
        </p:spPr>
        <p:txBody>
          <a:bodyPr/>
          <a:lstStyle>
            <a:lvl1pPr>
              <a:spcBef>
                <a:spcPts val="0"/>
              </a:spcBef>
              <a:defRPr sz="1778" b="0" i="0">
                <a:solidFill>
                  <a:schemeClr val="tx1"/>
                </a:solidFill>
                <a:latin typeface="IBM Plex Sans" panose="020B0503050203000203" pitchFamily="34" charset="0"/>
              </a:defRPr>
            </a:lvl1pPr>
            <a:lvl2pPr marL="162576" indent="-162576">
              <a:spcBef>
                <a:spcPts val="0"/>
              </a:spcBef>
              <a:defRPr sz="1778" b="0" i="0">
                <a:solidFill>
                  <a:schemeClr val="tx1"/>
                </a:solidFill>
                <a:latin typeface="IBM Plex Sans" panose="020B0503050203000203" pitchFamily="34" charset="0"/>
              </a:defRPr>
            </a:lvl2pPr>
            <a:lvl3pPr marL="325152" indent="-162576">
              <a:spcBef>
                <a:spcPts val="0"/>
              </a:spcBef>
              <a:defRPr sz="1778" b="0" i="0">
                <a:solidFill>
                  <a:schemeClr val="tx1"/>
                </a:solidFill>
                <a:latin typeface="IBM Plex Sans" panose="020B0503050203000203" pitchFamily="34" charset="0"/>
              </a:defRPr>
            </a:lvl3pPr>
            <a:lvl4pPr marL="487728" indent="-162576">
              <a:spcBef>
                <a:spcPts val="0"/>
              </a:spcBef>
              <a:defRPr sz="1778" b="0" i="0">
                <a:solidFill>
                  <a:schemeClr val="tx1"/>
                </a:solidFill>
                <a:latin typeface="IBM Plex Sans" panose="020B0503050203000203" pitchFamily="34" charset="0"/>
              </a:defRPr>
            </a:lvl4pPr>
            <a:lvl5pPr>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18287999"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2"/>
            <a:ext cx="1217845" cy="1216152"/>
          </a:xfrm>
        </p:spPr>
        <p:txBody>
          <a:bodyPr anchor="ctr"/>
          <a:lstStyle>
            <a:lvl1pPr algn="ctr">
              <a:defRPr sz="1422">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1778" b="0" i="0">
                <a:solidFill>
                  <a:schemeClr val="tx1"/>
                </a:solidFill>
                <a:latin typeface="IBM Plex Sans" panose="020B0503050203000203" pitchFamily="34" charset="0"/>
              </a:defRPr>
            </a:lvl1pPr>
            <a:lvl2pPr marL="162576" indent="-162576">
              <a:spcBef>
                <a:spcPts val="0"/>
              </a:spcBef>
              <a:defRPr sz="1778" b="0" i="0">
                <a:solidFill>
                  <a:schemeClr val="tx1"/>
                </a:solidFill>
                <a:latin typeface="IBM Plex Sans" panose="020B0503050203000203" pitchFamily="34" charset="0"/>
              </a:defRPr>
            </a:lvl2pPr>
            <a:lvl3pPr marL="325152" indent="-162576">
              <a:spcBef>
                <a:spcPts val="0"/>
              </a:spcBef>
              <a:defRPr sz="1778" b="0" i="0">
                <a:solidFill>
                  <a:schemeClr val="tx1"/>
                </a:solidFill>
                <a:latin typeface="IBM Plex Sans" panose="020B0503050203000203" pitchFamily="34" charset="0"/>
              </a:defRPr>
            </a:lvl3pPr>
            <a:lvl4pPr marL="487728" indent="-162576">
              <a:spcBef>
                <a:spcPts val="0"/>
              </a:spcBef>
              <a:defRPr sz="1778" b="0" i="0">
                <a:solidFill>
                  <a:schemeClr val="tx1"/>
                </a:solidFill>
                <a:latin typeface="IBM Plex Sans" panose="020B0503050203000203" pitchFamily="34" charset="0"/>
              </a:defRPr>
            </a:lvl4pPr>
            <a:lvl5pPr>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2024 IBM Corporation / IBM Client Confidential</a:t>
            </a:r>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82277246"/>
      </p:ext>
    </p:extLst>
  </p:cSld>
  <p:clrMapOvr>
    <a:masterClrMapping/>
  </p:clrMapOvr>
  <p:transition spd="med"/>
  <p:hf sldNum="0" hdr="0" dt="0"/>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2"/>
            <a:ext cx="1216152" cy="1216152"/>
          </a:xfrm>
        </p:spPr>
        <p:txBody>
          <a:bodyPr anchor="ctr"/>
          <a:lstStyle>
            <a:lvl1pPr algn="ctr">
              <a:defRPr sz="1422"/>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3910">
                <a:solidFill>
                  <a:schemeClr val="tx1"/>
                </a:solidFill>
              </a:defRPr>
            </a:lvl1pPr>
            <a:lvl2pPr marL="357668" indent="-357668">
              <a:lnSpc>
                <a:spcPct val="100000"/>
              </a:lnSpc>
              <a:spcBef>
                <a:spcPts val="0"/>
              </a:spcBef>
              <a:defRPr sz="3910">
                <a:solidFill>
                  <a:schemeClr val="tx1"/>
                </a:solidFill>
              </a:defRPr>
            </a:lvl2pPr>
            <a:lvl3pPr marL="715336" indent="-357668">
              <a:lnSpc>
                <a:spcPct val="100000"/>
              </a:lnSpc>
              <a:spcBef>
                <a:spcPts val="0"/>
              </a:spcBef>
              <a:defRPr sz="3910">
                <a:solidFill>
                  <a:schemeClr val="tx1"/>
                </a:solidFill>
              </a:defRPr>
            </a:lvl3pPr>
            <a:lvl4pPr marL="991714" indent="-357668">
              <a:lnSpc>
                <a:spcPct val="100000"/>
              </a:lnSpc>
              <a:spcBef>
                <a:spcPts val="0"/>
              </a:spcBef>
              <a:defRPr sz="3910">
                <a:solidFill>
                  <a:schemeClr val="tx1"/>
                </a:solidFill>
              </a:defRPr>
            </a:lvl4pPr>
            <a:lvl5pPr>
              <a:lnSpc>
                <a:spcPct val="100000"/>
              </a:lnSpc>
              <a:spcBef>
                <a:spcPts val="0"/>
              </a:spcBef>
              <a:defRPr sz="391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12192001"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3" y="576072"/>
            <a:ext cx="1216152" cy="1216152"/>
          </a:xfrm>
        </p:spPr>
        <p:txBody>
          <a:bodyPr anchor="ctr"/>
          <a:lstStyle>
            <a:lvl1pPr algn="ctr">
              <a:defRPr sz="1422"/>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3910">
                <a:solidFill>
                  <a:schemeClr val="tx1"/>
                </a:solidFill>
              </a:defRPr>
            </a:lvl1pPr>
            <a:lvl2pPr marL="357668" indent="-357668">
              <a:lnSpc>
                <a:spcPct val="100000"/>
              </a:lnSpc>
              <a:spcBef>
                <a:spcPts val="0"/>
              </a:spcBef>
              <a:defRPr sz="3910">
                <a:solidFill>
                  <a:schemeClr val="tx1"/>
                </a:solidFill>
              </a:defRPr>
            </a:lvl2pPr>
            <a:lvl3pPr marL="715336" indent="-357668">
              <a:lnSpc>
                <a:spcPct val="100000"/>
              </a:lnSpc>
              <a:spcBef>
                <a:spcPts val="0"/>
              </a:spcBef>
              <a:defRPr sz="3910">
                <a:solidFill>
                  <a:schemeClr val="tx1"/>
                </a:solidFill>
              </a:defRPr>
            </a:lvl3pPr>
            <a:lvl4pPr marL="991714" indent="-357668">
              <a:lnSpc>
                <a:spcPct val="100000"/>
              </a:lnSpc>
              <a:spcBef>
                <a:spcPts val="0"/>
              </a:spcBef>
              <a:defRPr sz="3910">
                <a:solidFill>
                  <a:schemeClr val="tx1"/>
                </a:solidFill>
              </a:defRPr>
            </a:lvl4pPr>
            <a:lvl5pPr>
              <a:lnSpc>
                <a:spcPct val="100000"/>
              </a:lnSpc>
              <a:spcBef>
                <a:spcPts val="0"/>
              </a:spcBef>
              <a:defRPr sz="391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568325"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0"/>
            <a:ext cx="1216152" cy="1216152"/>
          </a:xfrm>
        </p:spPr>
        <p:txBody>
          <a:bodyPr anchor="ctr"/>
          <a:lstStyle>
            <a:lvl1pPr algn="ctr">
              <a:defRPr sz="1422"/>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3910">
                <a:solidFill>
                  <a:schemeClr val="tx1"/>
                </a:solidFill>
              </a:defRPr>
            </a:lvl1pPr>
            <a:lvl2pPr marL="357668" indent="-357668">
              <a:lnSpc>
                <a:spcPct val="100000"/>
              </a:lnSpc>
              <a:spcBef>
                <a:spcPts val="0"/>
              </a:spcBef>
              <a:defRPr sz="3910">
                <a:solidFill>
                  <a:schemeClr val="tx1"/>
                </a:solidFill>
              </a:defRPr>
            </a:lvl2pPr>
            <a:lvl3pPr marL="715336" indent="-357668">
              <a:lnSpc>
                <a:spcPct val="100000"/>
              </a:lnSpc>
              <a:spcBef>
                <a:spcPts val="0"/>
              </a:spcBef>
              <a:defRPr sz="3910">
                <a:solidFill>
                  <a:schemeClr val="tx1"/>
                </a:solidFill>
              </a:defRPr>
            </a:lvl3pPr>
            <a:lvl4pPr marL="991714" indent="-357668">
              <a:lnSpc>
                <a:spcPct val="100000"/>
              </a:lnSpc>
              <a:spcBef>
                <a:spcPts val="0"/>
              </a:spcBef>
              <a:defRPr sz="3910">
                <a:solidFill>
                  <a:schemeClr val="tx1"/>
                </a:solidFill>
              </a:defRPr>
            </a:lvl4pPr>
            <a:lvl5pPr>
              <a:lnSpc>
                <a:spcPct val="100000"/>
              </a:lnSpc>
              <a:spcBef>
                <a:spcPts val="0"/>
              </a:spcBef>
              <a:defRPr sz="391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3" y="6477000"/>
            <a:ext cx="1216152" cy="1216152"/>
          </a:xfrm>
        </p:spPr>
        <p:txBody>
          <a:bodyPr anchor="ctr"/>
          <a:lstStyle>
            <a:lvl1pPr algn="ctr">
              <a:defRPr sz="1422"/>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0" y="8382000"/>
            <a:ext cx="6667500" cy="3048000"/>
          </a:xfrm>
        </p:spPr>
        <p:txBody>
          <a:bodyPr/>
          <a:lstStyle>
            <a:lvl1pPr>
              <a:lnSpc>
                <a:spcPct val="100000"/>
              </a:lnSpc>
              <a:spcBef>
                <a:spcPts val="0"/>
              </a:spcBef>
              <a:defRPr sz="3910">
                <a:solidFill>
                  <a:schemeClr val="tx1"/>
                </a:solidFill>
              </a:defRPr>
            </a:lvl1pPr>
            <a:lvl2pPr marL="357668" indent="-357668">
              <a:lnSpc>
                <a:spcPct val="100000"/>
              </a:lnSpc>
              <a:spcBef>
                <a:spcPts val="0"/>
              </a:spcBef>
              <a:defRPr sz="3910">
                <a:solidFill>
                  <a:schemeClr val="tx1"/>
                </a:solidFill>
              </a:defRPr>
            </a:lvl2pPr>
            <a:lvl3pPr marL="715336" indent="-357668">
              <a:lnSpc>
                <a:spcPct val="100000"/>
              </a:lnSpc>
              <a:spcBef>
                <a:spcPts val="0"/>
              </a:spcBef>
              <a:defRPr sz="3910">
                <a:solidFill>
                  <a:schemeClr val="tx1"/>
                </a:solidFill>
              </a:defRPr>
            </a:lvl3pPr>
            <a:lvl4pPr marL="991714" indent="-357668">
              <a:lnSpc>
                <a:spcPct val="100000"/>
              </a:lnSpc>
              <a:spcBef>
                <a:spcPts val="0"/>
              </a:spcBef>
              <a:defRPr sz="3910">
                <a:solidFill>
                  <a:schemeClr val="tx1"/>
                </a:solidFill>
              </a:defRPr>
            </a:lvl4pPr>
            <a:lvl5pPr>
              <a:lnSpc>
                <a:spcPct val="100000"/>
              </a:lnSpc>
              <a:spcBef>
                <a:spcPts val="0"/>
              </a:spcBef>
              <a:defRPr sz="391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2024 IBM Corporation / IBM Client Confidential</a:t>
            </a:r>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49095341"/>
      </p:ext>
    </p:extLst>
  </p:cSld>
  <p:clrMapOvr>
    <a:masterClrMapping/>
  </p:clrMapOvr>
  <p:transition spd="med"/>
  <p:hf sldNum="0" hdr="0" dt="0"/>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1141412"/>
          </a:xfrm>
        </p:spPr>
        <p:txBody>
          <a:bodyPr/>
          <a:lstStyle>
            <a:lvl1pPr>
              <a:defRPr sz="249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682496"/>
            <a:ext cx="5715000" cy="2276856"/>
          </a:xfrm>
        </p:spPr>
        <p:txBody>
          <a:bodyPr/>
          <a:lstStyle>
            <a:lvl1pPr>
              <a:lnSpc>
                <a:spcPct val="110000"/>
              </a:lnSpc>
              <a:defRPr sz="32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7" y="576072"/>
            <a:ext cx="4952999" cy="5145088"/>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3" y="6667500"/>
            <a:ext cx="4952999" cy="4953000"/>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0"/>
            <a:ext cx="4952999" cy="4953000"/>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2024 IBM Corporation / IBM Client Confidential</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67164591"/>
      </p:ext>
    </p:extLst>
  </p:cSld>
  <p:clrMapOvr>
    <a:masterClrMapping/>
  </p:clrMapOvr>
  <p:transition spd="med"/>
  <p:hf sldNum="0" hdr="0" dt="0"/>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448056"/>
          </a:xfrm>
        </p:spPr>
        <p:txBody>
          <a:bodyPr/>
          <a:lstStyle>
            <a:lvl1pPr>
              <a:defRPr sz="249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1527048"/>
            <a:ext cx="11044240" cy="2276856"/>
          </a:xfrm>
        </p:spPr>
        <p:txBody>
          <a:bodyPr rIns="457200"/>
          <a:lstStyle>
            <a:lvl1pPr>
              <a:lnSpc>
                <a:spcPct val="110000"/>
              </a:lnSpc>
              <a:defRPr sz="569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3" y="569912"/>
            <a:ext cx="4952999" cy="5145088"/>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3" y="6667500"/>
            <a:ext cx="4952999" cy="4953000"/>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0"/>
            <a:ext cx="4952999" cy="4953000"/>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2024 IBM Corporation / IBM Client Confidential</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30837389"/>
      </p:ext>
    </p:extLst>
  </p:cSld>
  <p:clrMapOvr>
    <a:masterClrMapping/>
  </p:clrMapOvr>
  <p:transition spd="med"/>
  <p:hf sldNum="0" hdr="0" dt="0"/>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2"/>
            <a:ext cx="4956175" cy="4573588"/>
          </a:xfrm>
        </p:spPr>
        <p:txBody>
          <a:bodyPr/>
          <a:lstStyle>
            <a:lvl1pPr>
              <a:lnSpc>
                <a:spcPct val="100000"/>
              </a:lnSpc>
              <a:defRPr sz="249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4" y="6667503"/>
            <a:ext cx="4949824" cy="534491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2" y="6667503"/>
            <a:ext cx="4949824" cy="534491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2024 IBM Corporation / IBM Client Confidential</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34121664"/>
      </p:ext>
    </p:extLst>
  </p:cSld>
  <p:clrMapOvr>
    <a:masterClrMapping/>
  </p:clrMapOvr>
  <p:transition spd="med"/>
  <p:hf sldNum="0" hdr="0" dt="0"/>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8"/>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3" y="6667503"/>
            <a:ext cx="4949824" cy="534491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2" y="6667503"/>
            <a:ext cx="4949824" cy="534491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2024 IBM Corporation / IBM Client Confidentia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67659208"/>
      </p:ext>
    </p:extLst>
  </p:cSld>
  <p:clrMapOvr>
    <a:masterClrMapping/>
  </p:clrMapOvr>
  <p:transition spd="med"/>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385200"/>
            <a:ext cx="4956175" cy="1525587"/>
          </a:xfrm>
          <a:prstGeom prst="rect">
            <a:avLst/>
          </a:prstGeom>
        </p:spPr>
        <p:txBody>
          <a:bodyPr/>
          <a:lstStyle>
            <a:lvl1pPr>
              <a:lnSpc>
                <a:spcPct val="100000"/>
              </a:lnSpc>
              <a:spcBef>
                <a:spcPts val="0"/>
              </a:spcBef>
              <a:defRPr sz="2000" b="0" i="0">
                <a:solidFill>
                  <a:schemeClr val="tx1"/>
                </a:solidFill>
                <a:latin typeface="IBM Plex Sans Light" panose="020B0403050203000203" pitchFamily="34" charset="0"/>
              </a:defRPr>
            </a:lvl1pPr>
            <a:lvl2pPr marL="182880" indent="-182880">
              <a:lnSpc>
                <a:spcPct val="100000"/>
              </a:lnSpc>
              <a:spcBef>
                <a:spcPts val="0"/>
              </a:spcBef>
              <a:defRPr sz="2000" b="0" i="0">
                <a:solidFill>
                  <a:schemeClr val="tx1"/>
                </a:solidFill>
                <a:latin typeface="IBM Plex Sans Light" panose="020B0403050203000203" pitchFamily="34" charset="0"/>
              </a:defRPr>
            </a:lvl2pPr>
            <a:lvl3pPr marL="365760" indent="-182880">
              <a:lnSpc>
                <a:spcPct val="100000"/>
              </a:lnSpc>
              <a:spcBef>
                <a:spcPts val="0"/>
              </a:spcBef>
              <a:defRPr sz="2000" b="0" i="0">
                <a:solidFill>
                  <a:schemeClr val="tx1"/>
                </a:solidFill>
                <a:latin typeface="IBM Plex Sans Light" panose="020B0403050203000203" pitchFamily="34" charset="0"/>
              </a:defRPr>
            </a:lvl3pPr>
            <a:lvl4pPr marL="548640" indent="-182880">
              <a:lnSpc>
                <a:spcPct val="100000"/>
              </a:lnSpc>
              <a:spcBef>
                <a:spcPts val="0"/>
              </a:spcBef>
              <a:defRPr sz="2000" b="0" i="0">
                <a:solidFill>
                  <a:schemeClr val="tx1"/>
                </a:solidFill>
                <a:latin typeface="IBM Plex Sans Light" panose="020B04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720724"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52310234"/>
      </p:ext>
    </p:extLst>
  </p:cSld>
  <p:clrMapOvr>
    <a:masterClrMapping/>
  </p:clrMapOvr>
  <p:transition spd="med"/>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4"/>
            <a:ext cx="4949824" cy="4573588"/>
          </a:xfrm>
        </p:spPr>
        <p:txBody>
          <a:bodyPr/>
          <a:lstStyle>
            <a:lvl1pPr>
              <a:lnSpc>
                <a:spcPct val="110000"/>
              </a:lnSpc>
              <a:defRPr sz="249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7" y="576072"/>
            <a:ext cx="4952999" cy="5145088"/>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3" y="576072"/>
            <a:ext cx="4952999" cy="5145088"/>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3" y="6667500"/>
            <a:ext cx="4952999" cy="4953000"/>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3" y="6667500"/>
            <a:ext cx="4952999" cy="4953000"/>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0"/>
            <a:ext cx="4952999" cy="4953000"/>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2024 IBM Corporation / IBM Client Confidential</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82792610"/>
      </p:ext>
    </p:extLst>
  </p:cSld>
  <p:clrMapOvr>
    <a:masterClrMapping/>
  </p:clrMapOvr>
  <p:transition spd="med"/>
  <p:hf sldNum="0" hdr="0" dt="0"/>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576072"/>
            <a:ext cx="4949824" cy="2859088"/>
          </a:xfrm>
        </p:spPr>
        <p:txBody>
          <a:bodyPr/>
          <a:lstStyle>
            <a:lvl1pPr>
              <a:lnSpc>
                <a:spcPct val="110000"/>
              </a:lnSpc>
              <a:defRPr sz="249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6096000"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p:spPr>
        <p:txBody>
          <a:bodyPr/>
          <a:lstStyle>
            <a:lvl1pPr>
              <a:defRPr sz="1244">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134">
                <a:solidFill>
                  <a:schemeClr val="tx1"/>
                </a:solidFill>
              </a:defRPr>
            </a:lvl1pPr>
            <a:lvl2pPr marL="195092" indent="-195092">
              <a:lnSpc>
                <a:spcPct val="110000"/>
              </a:lnSpc>
              <a:spcBef>
                <a:spcPts val="0"/>
              </a:spcBef>
              <a:defRPr sz="2134">
                <a:solidFill>
                  <a:schemeClr val="tx1"/>
                </a:solidFill>
              </a:defRPr>
            </a:lvl2pPr>
            <a:lvl3pPr marL="390184" indent="-195092">
              <a:lnSpc>
                <a:spcPct val="110000"/>
              </a:lnSpc>
              <a:spcBef>
                <a:spcPts val="0"/>
              </a:spcBef>
              <a:defRPr sz="2134">
                <a:solidFill>
                  <a:schemeClr val="tx1"/>
                </a:solidFill>
              </a:defRPr>
            </a:lvl3pPr>
            <a:lvl4pPr marL="585274" indent="-195092">
              <a:lnSpc>
                <a:spcPct val="110000"/>
              </a:lnSpc>
              <a:spcBef>
                <a:spcPts val="0"/>
              </a:spcBef>
              <a:defRPr sz="2134">
                <a:solidFill>
                  <a:schemeClr val="tx1"/>
                </a:solidFill>
              </a:defRPr>
            </a:lvl4pPr>
            <a:lvl5pPr>
              <a:lnSpc>
                <a:spcPct val="110000"/>
              </a:lnSpc>
              <a:spcBef>
                <a:spcPts val="0"/>
              </a:spcBef>
              <a:defRPr sz="21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p:spPr>
        <p:txBody>
          <a:bodyPr/>
          <a:lstStyle>
            <a:lvl1pPr>
              <a:defRPr sz="1244">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3" y="1333500"/>
            <a:ext cx="4952999" cy="3810000"/>
          </a:xfrm>
        </p:spPr>
        <p:txBody>
          <a:bodyPr/>
          <a:lstStyle>
            <a:lvl1pPr>
              <a:lnSpc>
                <a:spcPct val="110000"/>
              </a:lnSpc>
              <a:spcBef>
                <a:spcPts val="0"/>
              </a:spcBef>
              <a:defRPr sz="2134">
                <a:solidFill>
                  <a:schemeClr val="tx1"/>
                </a:solidFill>
              </a:defRPr>
            </a:lvl1pPr>
            <a:lvl2pPr marL="195092" indent="-195092">
              <a:lnSpc>
                <a:spcPct val="110000"/>
              </a:lnSpc>
              <a:spcBef>
                <a:spcPts val="0"/>
              </a:spcBef>
              <a:defRPr sz="2134">
                <a:solidFill>
                  <a:schemeClr val="tx1"/>
                </a:solidFill>
              </a:defRPr>
            </a:lvl2pPr>
            <a:lvl3pPr marL="390184" indent="-195092">
              <a:lnSpc>
                <a:spcPct val="110000"/>
              </a:lnSpc>
              <a:spcBef>
                <a:spcPts val="0"/>
              </a:spcBef>
              <a:defRPr sz="2134">
                <a:solidFill>
                  <a:schemeClr val="tx1"/>
                </a:solidFill>
              </a:defRPr>
            </a:lvl3pPr>
            <a:lvl4pPr marL="585274" indent="-195092">
              <a:lnSpc>
                <a:spcPct val="110000"/>
              </a:lnSpc>
              <a:spcBef>
                <a:spcPts val="0"/>
              </a:spcBef>
              <a:defRPr sz="2134">
                <a:solidFill>
                  <a:schemeClr val="tx1"/>
                </a:solidFill>
              </a:defRPr>
            </a:lvl4pPr>
            <a:lvl5pPr>
              <a:lnSpc>
                <a:spcPct val="110000"/>
              </a:lnSpc>
              <a:spcBef>
                <a:spcPts val="0"/>
              </a:spcBef>
              <a:defRPr sz="21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18287999"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p:spPr>
        <p:txBody>
          <a:bodyPr/>
          <a:lstStyle>
            <a:lvl1pPr>
              <a:defRPr sz="1244">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2" y="1333500"/>
            <a:ext cx="4952999" cy="3810000"/>
          </a:xfrm>
        </p:spPr>
        <p:txBody>
          <a:bodyPr/>
          <a:lstStyle>
            <a:lvl1pPr>
              <a:lnSpc>
                <a:spcPct val="110000"/>
              </a:lnSpc>
              <a:spcBef>
                <a:spcPts val="0"/>
              </a:spcBef>
              <a:defRPr sz="2134">
                <a:solidFill>
                  <a:schemeClr val="tx1"/>
                </a:solidFill>
              </a:defRPr>
            </a:lvl1pPr>
            <a:lvl2pPr marL="195092" indent="-195092">
              <a:lnSpc>
                <a:spcPct val="110000"/>
              </a:lnSpc>
              <a:spcBef>
                <a:spcPts val="0"/>
              </a:spcBef>
              <a:defRPr sz="2134">
                <a:solidFill>
                  <a:schemeClr val="tx1"/>
                </a:solidFill>
              </a:defRPr>
            </a:lvl2pPr>
            <a:lvl3pPr marL="390184" indent="-195092">
              <a:lnSpc>
                <a:spcPct val="110000"/>
              </a:lnSpc>
              <a:spcBef>
                <a:spcPts val="0"/>
              </a:spcBef>
              <a:defRPr sz="2134">
                <a:solidFill>
                  <a:schemeClr val="tx1"/>
                </a:solidFill>
              </a:defRPr>
            </a:lvl3pPr>
            <a:lvl4pPr marL="585274" indent="-195092">
              <a:lnSpc>
                <a:spcPct val="110000"/>
              </a:lnSpc>
              <a:spcBef>
                <a:spcPts val="0"/>
              </a:spcBef>
              <a:defRPr sz="2134">
                <a:solidFill>
                  <a:schemeClr val="tx1"/>
                </a:solidFill>
              </a:defRPr>
            </a:lvl4pPr>
            <a:lvl5pPr>
              <a:lnSpc>
                <a:spcPct val="110000"/>
              </a:lnSpc>
              <a:spcBef>
                <a:spcPts val="0"/>
              </a:spcBef>
              <a:defRPr sz="21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6096003"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3"/>
            <a:ext cx="402336" cy="403226"/>
          </a:xfrm>
        </p:spPr>
        <p:txBody>
          <a:bodyPr/>
          <a:lstStyle>
            <a:lvl1pPr>
              <a:defRPr sz="1244">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134">
                <a:solidFill>
                  <a:schemeClr val="tx1"/>
                </a:solidFill>
              </a:defRPr>
            </a:lvl1pPr>
            <a:lvl2pPr marL="195092" indent="-195092">
              <a:lnSpc>
                <a:spcPct val="110000"/>
              </a:lnSpc>
              <a:spcBef>
                <a:spcPts val="0"/>
              </a:spcBef>
              <a:defRPr sz="2134">
                <a:solidFill>
                  <a:schemeClr val="tx1"/>
                </a:solidFill>
              </a:defRPr>
            </a:lvl2pPr>
            <a:lvl3pPr marL="390184" indent="-195092">
              <a:lnSpc>
                <a:spcPct val="110000"/>
              </a:lnSpc>
              <a:spcBef>
                <a:spcPts val="0"/>
              </a:spcBef>
              <a:defRPr sz="2134">
                <a:solidFill>
                  <a:schemeClr val="tx1"/>
                </a:solidFill>
              </a:defRPr>
            </a:lvl3pPr>
            <a:lvl4pPr marL="585274" indent="-195092">
              <a:lnSpc>
                <a:spcPct val="110000"/>
              </a:lnSpc>
              <a:spcBef>
                <a:spcPts val="0"/>
              </a:spcBef>
              <a:defRPr sz="2134">
                <a:solidFill>
                  <a:schemeClr val="tx1"/>
                </a:solidFill>
              </a:defRPr>
            </a:lvl4pPr>
            <a:lvl5pPr>
              <a:lnSpc>
                <a:spcPct val="110000"/>
              </a:lnSpc>
              <a:spcBef>
                <a:spcPts val="0"/>
              </a:spcBef>
              <a:defRPr sz="21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3"/>
            <a:ext cx="402336" cy="403226"/>
          </a:xfrm>
        </p:spPr>
        <p:txBody>
          <a:bodyPr/>
          <a:lstStyle>
            <a:lvl1pPr>
              <a:defRPr sz="1244">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3"/>
            <a:ext cx="4951413" cy="3792682"/>
          </a:xfrm>
        </p:spPr>
        <p:txBody>
          <a:bodyPr/>
          <a:lstStyle>
            <a:lvl1pPr>
              <a:lnSpc>
                <a:spcPct val="110000"/>
              </a:lnSpc>
              <a:spcBef>
                <a:spcPts val="0"/>
              </a:spcBef>
              <a:defRPr sz="2134">
                <a:solidFill>
                  <a:schemeClr val="tx1"/>
                </a:solidFill>
              </a:defRPr>
            </a:lvl1pPr>
            <a:lvl2pPr marL="195092" indent="-195092">
              <a:lnSpc>
                <a:spcPct val="110000"/>
              </a:lnSpc>
              <a:spcBef>
                <a:spcPts val="0"/>
              </a:spcBef>
              <a:defRPr sz="2134">
                <a:solidFill>
                  <a:schemeClr val="tx1"/>
                </a:solidFill>
              </a:defRPr>
            </a:lvl2pPr>
            <a:lvl3pPr marL="390184" indent="-195092">
              <a:lnSpc>
                <a:spcPct val="110000"/>
              </a:lnSpc>
              <a:spcBef>
                <a:spcPts val="0"/>
              </a:spcBef>
              <a:defRPr sz="2134">
                <a:solidFill>
                  <a:schemeClr val="tx1"/>
                </a:solidFill>
              </a:defRPr>
            </a:lvl3pPr>
            <a:lvl4pPr marL="585274" indent="-195092">
              <a:lnSpc>
                <a:spcPct val="110000"/>
              </a:lnSpc>
              <a:spcBef>
                <a:spcPts val="0"/>
              </a:spcBef>
              <a:defRPr sz="2134">
                <a:solidFill>
                  <a:schemeClr val="tx1"/>
                </a:solidFill>
              </a:defRPr>
            </a:lvl4pPr>
            <a:lvl5pPr>
              <a:lnSpc>
                <a:spcPct val="110000"/>
              </a:lnSpc>
              <a:spcBef>
                <a:spcPts val="0"/>
              </a:spcBef>
              <a:defRPr sz="21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3"/>
            <a:ext cx="402336" cy="403226"/>
          </a:xfrm>
        </p:spPr>
        <p:txBody>
          <a:bodyPr/>
          <a:lstStyle>
            <a:lvl1pPr>
              <a:defRPr sz="1244">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2" y="7429500"/>
            <a:ext cx="4952999" cy="3810000"/>
          </a:xfrm>
        </p:spPr>
        <p:txBody>
          <a:bodyPr/>
          <a:lstStyle>
            <a:lvl1pPr>
              <a:lnSpc>
                <a:spcPct val="110000"/>
              </a:lnSpc>
              <a:spcBef>
                <a:spcPts val="0"/>
              </a:spcBef>
              <a:defRPr sz="2134">
                <a:solidFill>
                  <a:schemeClr val="tx1"/>
                </a:solidFill>
              </a:defRPr>
            </a:lvl1pPr>
            <a:lvl2pPr marL="195092" indent="-195092">
              <a:lnSpc>
                <a:spcPct val="110000"/>
              </a:lnSpc>
              <a:spcBef>
                <a:spcPts val="0"/>
              </a:spcBef>
              <a:defRPr sz="2134">
                <a:solidFill>
                  <a:schemeClr val="tx1"/>
                </a:solidFill>
              </a:defRPr>
            </a:lvl2pPr>
            <a:lvl3pPr marL="390184" indent="-195092">
              <a:lnSpc>
                <a:spcPct val="110000"/>
              </a:lnSpc>
              <a:spcBef>
                <a:spcPts val="0"/>
              </a:spcBef>
              <a:defRPr sz="2134">
                <a:solidFill>
                  <a:schemeClr val="tx1"/>
                </a:solidFill>
              </a:defRPr>
            </a:lvl3pPr>
            <a:lvl4pPr marL="585274" indent="-195092">
              <a:lnSpc>
                <a:spcPct val="110000"/>
              </a:lnSpc>
              <a:spcBef>
                <a:spcPts val="0"/>
              </a:spcBef>
              <a:defRPr sz="2134">
                <a:solidFill>
                  <a:schemeClr val="tx1"/>
                </a:solidFill>
              </a:defRPr>
            </a:lvl4pPr>
            <a:lvl5pPr>
              <a:lnSpc>
                <a:spcPct val="110000"/>
              </a:lnSpc>
              <a:spcBef>
                <a:spcPts val="0"/>
              </a:spcBef>
              <a:defRPr sz="21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2024 IBM Corporation / IBM Client Confidential</a:t>
            </a:r>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26155943"/>
      </p:ext>
    </p:extLst>
  </p:cSld>
  <p:clrMapOvr>
    <a:masterClrMapping/>
  </p:clrMapOvr>
  <p:transition spd="med"/>
  <p:hf sldNum="0" hdr="0" dt="0"/>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9"/>
            <a:ext cx="11039475" cy="3413126"/>
          </a:xfrm>
        </p:spPr>
        <p:txBody>
          <a:bodyPr rIns="457200"/>
          <a:lstStyle>
            <a:lvl1pPr>
              <a:lnSpc>
                <a:spcPct val="100000"/>
              </a:lnSpc>
              <a:defRPr sz="569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3" y="576072"/>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7999"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7" y="576072"/>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4" y="6665976"/>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0"/>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3" y="6667500"/>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7" y="6667500"/>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2024 IBM Corporation / IBM Client Confidential</a:t>
            </a:r>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4773754"/>
      </p:ext>
    </p:extLst>
  </p:cSld>
  <p:clrMapOvr>
    <a:masterClrMapping/>
  </p:clrMapOvr>
  <p:transition spd="med"/>
  <p:hf sldNum="0" hdr="0" dt="0"/>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576073"/>
            <a:ext cx="4949824" cy="3413126"/>
          </a:xfrm>
        </p:spPr>
        <p:txBody>
          <a:bodyPr rIns="0"/>
          <a:lstStyle>
            <a:lvl1pPr>
              <a:lnSpc>
                <a:spcPct val="110000"/>
              </a:lnSpc>
              <a:defRPr sz="32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3" y="576072"/>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7999"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7" y="576072"/>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2" y="6667500"/>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0"/>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3" y="6667500"/>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7" y="6667500"/>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2024 IBM Corporation / IBM Client Confidential</a:t>
            </a:r>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19802845"/>
      </p:ext>
    </p:extLst>
  </p:cSld>
  <p:clrMapOvr>
    <a:masterClrMapping/>
  </p:clrMapOvr>
  <p:transition spd="med"/>
  <p:hf sldNum="0" hdr="0" dt="0"/>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4"/>
            <a:ext cx="4949824" cy="1525588"/>
          </a:xfrm>
        </p:spPr>
        <p:txBody>
          <a:bodyPr/>
          <a:lstStyle>
            <a:lvl1pPr>
              <a:lnSpc>
                <a:spcPct val="110000"/>
              </a:lnSpc>
              <a:defRPr sz="249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3" y="569912"/>
            <a:ext cx="11049000" cy="12574588"/>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2024 IBM Corporation / IBM Client Confidential</a:t>
            </a:r>
          </a:p>
        </p:txBody>
      </p:sp>
    </p:spTree>
    <p:extLst>
      <p:ext uri="{BB962C8B-B14F-4D97-AF65-F5344CB8AC3E}">
        <p14:creationId xmlns:p14="http://schemas.microsoft.com/office/powerpoint/2010/main" val="1697974706"/>
      </p:ext>
    </p:extLst>
  </p:cSld>
  <p:clrMapOvr>
    <a:masterClrMapping/>
  </p:clrMapOvr>
  <p:transition spd="med"/>
  <p:hf sldNum="0" hdr="0" dt="0"/>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4"/>
            <a:ext cx="4949824" cy="1525588"/>
          </a:xfrm>
        </p:spPr>
        <p:txBody>
          <a:bodyPr/>
          <a:lstStyle>
            <a:lvl1pPr>
              <a:lnSpc>
                <a:spcPct val="110000"/>
              </a:lnSpc>
              <a:defRPr sz="249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0"/>
            <a:ext cx="4956175" cy="8572500"/>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2024 IBM Corporation / IBM Client Confidential</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72020" y="12932073"/>
            <a:ext cx="240481" cy="21877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844775197"/>
      </p:ext>
    </p:extLst>
  </p:cSld>
  <p:clrMapOvr>
    <a:masterClrMapping/>
  </p:clrMapOvr>
  <p:transition spd="med"/>
  <p:hf sldNum="0" hdr="0" dt="0"/>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4"/>
            <a:ext cx="4949824" cy="1525588"/>
          </a:xfrm>
        </p:spPr>
        <p:txBody>
          <a:bodyPr/>
          <a:lstStyle>
            <a:lvl1pPr>
              <a:lnSpc>
                <a:spcPct val="110000"/>
              </a:lnSpc>
              <a:defRPr sz="249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1" y="565153"/>
            <a:ext cx="17151351" cy="1257935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2024 IBM Corporation / IBM Client Confidential</a:t>
            </a:r>
          </a:p>
        </p:txBody>
      </p:sp>
    </p:spTree>
    <p:extLst>
      <p:ext uri="{BB962C8B-B14F-4D97-AF65-F5344CB8AC3E}">
        <p14:creationId xmlns:p14="http://schemas.microsoft.com/office/powerpoint/2010/main" val="3483142111"/>
      </p:ext>
    </p:extLst>
  </p:cSld>
  <p:clrMapOvr>
    <a:masterClrMapping/>
  </p:clrMapOvr>
  <p:transition spd="med"/>
  <p:hf sldNum="0" hd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3" y="3"/>
            <a:ext cx="24387173" cy="13715998"/>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72020" y="12932073"/>
            <a:ext cx="240481" cy="21877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001361153"/>
      </p:ext>
    </p:extLst>
  </p:cSld>
  <p:clrMapOvr>
    <a:masterClrMapping/>
  </p:clrMapOvr>
  <p:transition spd="med"/>
  <p:hf sldNum="0" hd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4"/>
            <a:ext cx="23244176" cy="1258093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562173428"/>
      </p:ext>
    </p:extLst>
  </p:cSld>
  <p:clrMapOvr>
    <a:masterClrMapping/>
  </p:clrMapOvr>
  <p:transition spd="med"/>
  <p:hf sldNum="0" hdr="0" dt="0"/>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4"/>
            <a:ext cx="4949824" cy="1525588"/>
          </a:xfrm>
        </p:spPr>
        <p:txBody>
          <a:bodyPr/>
          <a:lstStyle>
            <a:lvl1pPr>
              <a:lnSpc>
                <a:spcPct val="110000"/>
              </a:lnSpc>
              <a:defRPr sz="249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0"/>
            <a:ext cx="2473324" cy="247650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49" cy="2476500"/>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0"/>
            <a:ext cx="2473324" cy="2476500"/>
          </a:xfrm>
          <a:solidFill>
            <a:srgbClr val="E0E0E0"/>
          </a:solidFill>
        </p:spPr>
        <p:txBody>
          <a:bodyPr anchor="ctr"/>
          <a:lstStyle>
            <a:lvl1pPr marL="0" marR="0" indent="0" algn="ctr" defTabSz="216768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16768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49" cy="2476500"/>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solidFill>
            <a:srgbClr val="E0E0E0"/>
          </a:solidFill>
        </p:spPr>
        <p:txBody>
          <a:bodyPr anchor="ctr"/>
          <a:lstStyle>
            <a:lvl1pPr marL="0" marR="0" indent="0" algn="ctr" defTabSz="216768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16768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2"/>
            <a:ext cx="5708649" cy="2476500"/>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0"/>
            <a:ext cx="2473324" cy="2476500"/>
          </a:xfrm>
          <a:solidFill>
            <a:srgbClr val="E0E0E0"/>
          </a:solidFill>
        </p:spPr>
        <p:txBody>
          <a:bodyPr anchor="ctr"/>
          <a:lstStyle>
            <a:lvl1pPr marL="0" marR="0" indent="0" algn="ctr" defTabSz="216768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16768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6" y="2667000"/>
            <a:ext cx="5708649" cy="2476500"/>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0"/>
            <a:ext cx="2473324" cy="2476500"/>
          </a:xfrm>
          <a:solidFill>
            <a:srgbClr val="E0E0E0"/>
          </a:solidFill>
        </p:spPr>
        <p:txBody>
          <a:bodyPr anchor="ctr"/>
          <a:lstStyle>
            <a:lvl1pPr marL="0" marR="0" indent="0" algn="ctr" defTabSz="216768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16768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6" y="6121400"/>
            <a:ext cx="5708649" cy="2476500"/>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0"/>
            <a:ext cx="2473324" cy="2476500"/>
          </a:xfrm>
          <a:solidFill>
            <a:srgbClr val="E0E0E0"/>
          </a:solidFill>
        </p:spPr>
        <p:txBody>
          <a:bodyPr anchor="ctr"/>
          <a:lstStyle>
            <a:lvl1pPr marL="0" marR="0" indent="0" algn="ctr" defTabSz="216768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16768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6" y="9525002"/>
            <a:ext cx="5708649" cy="2476500"/>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2024 IBM Corporation / IBM Client Confidentia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75824215"/>
      </p:ext>
    </p:extLst>
  </p:cSld>
  <p:clrMapOvr>
    <a:masterClrMapping/>
  </p:clrMapOvr>
  <p:transition spd="med"/>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99707034"/>
      </p:ext>
    </p:extLst>
  </p:cSld>
  <p:clrMapOvr>
    <a:masterClrMapping/>
  </p:clrMapOvr>
  <p:transition spd="med"/>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4573588"/>
          </a:xfrm>
        </p:spPr>
        <p:txBody>
          <a:bodyPr/>
          <a:lstStyle>
            <a:lvl1pPr>
              <a:lnSpc>
                <a:spcPct val="110000"/>
              </a:lnSpc>
              <a:defRPr sz="249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2"/>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2024 IBM Corporation / IBM Client Confidential</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66556474"/>
      </p:ext>
    </p:extLst>
  </p:cSld>
  <p:clrMapOvr>
    <a:masterClrMapping/>
  </p:clrMapOvr>
  <p:transition spd="med"/>
  <p:hf sldNum="0" hd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5690">
                <a:solidFill>
                  <a:schemeClr val="tx2"/>
                </a:solidFill>
              </a:defRPr>
            </a:lvl1pPr>
            <a:lvl2pPr>
              <a:lnSpc>
                <a:spcPct val="100000"/>
              </a:lnSpc>
              <a:spcBef>
                <a:spcPts val="0"/>
              </a:spcBef>
              <a:defRPr sz="5690">
                <a:solidFill>
                  <a:schemeClr val="tx1"/>
                </a:solidFill>
              </a:defRPr>
            </a:lvl2pPr>
            <a:lvl3pPr>
              <a:lnSpc>
                <a:spcPct val="100000"/>
              </a:lnSpc>
              <a:spcBef>
                <a:spcPts val="0"/>
              </a:spcBef>
              <a:defRPr sz="5690">
                <a:solidFill>
                  <a:schemeClr val="tx1"/>
                </a:solidFill>
              </a:defRPr>
            </a:lvl3pPr>
            <a:lvl4pPr>
              <a:lnSpc>
                <a:spcPct val="100000"/>
              </a:lnSpc>
              <a:spcBef>
                <a:spcPts val="0"/>
              </a:spcBef>
              <a:defRPr sz="5690">
                <a:solidFill>
                  <a:schemeClr val="tx1"/>
                </a:solidFill>
              </a:defRPr>
            </a:lvl4pPr>
            <a:lvl5pPr>
              <a:lnSpc>
                <a:spcPct val="100000"/>
              </a:lnSpc>
              <a:spcBef>
                <a:spcPts val="0"/>
              </a:spcBef>
              <a:defRPr sz="569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2"/>
            <a:ext cx="4952999" cy="11431588"/>
          </a:xfrm>
        </p:spPr>
        <p:txBody>
          <a:bodyPr/>
          <a:lstStyle>
            <a:lvl1pPr>
              <a:lnSpc>
                <a:spcPct val="120000"/>
              </a:lnSpc>
              <a:spcBef>
                <a:spcPts val="0"/>
              </a:spcBef>
              <a:defRPr sz="1422" b="0" i="0">
                <a:solidFill>
                  <a:schemeClr val="tx1"/>
                </a:solidFill>
                <a:latin typeface="IBM Plex Sans" panose="020B0503050203000203" pitchFamily="34" charset="0"/>
              </a:defRPr>
            </a:lvl1pPr>
            <a:lvl2pPr marL="130062" indent="-130062">
              <a:lnSpc>
                <a:spcPct val="120000"/>
              </a:lnSpc>
              <a:spcBef>
                <a:spcPts val="0"/>
              </a:spcBef>
              <a:defRPr sz="1422" b="0" i="0">
                <a:solidFill>
                  <a:schemeClr val="tx1"/>
                </a:solidFill>
                <a:latin typeface="IBM Plex Sans" panose="020B0503050203000203" pitchFamily="34" charset="0"/>
              </a:defRPr>
            </a:lvl2pPr>
            <a:lvl3pPr marL="260122" indent="-130062">
              <a:lnSpc>
                <a:spcPct val="120000"/>
              </a:lnSpc>
              <a:spcBef>
                <a:spcPts val="0"/>
              </a:spcBef>
              <a:defRPr sz="1422" b="0" i="0">
                <a:solidFill>
                  <a:schemeClr val="tx1"/>
                </a:solidFill>
                <a:latin typeface="IBM Plex Sans" panose="020B0503050203000203" pitchFamily="34" charset="0"/>
              </a:defRPr>
            </a:lvl3pPr>
            <a:lvl4pPr marL="390184" indent="-130062">
              <a:lnSpc>
                <a:spcPct val="120000"/>
              </a:lnSpc>
              <a:spcBef>
                <a:spcPts val="0"/>
              </a:spcBef>
              <a:defRPr sz="1422" b="0" i="0">
                <a:solidFill>
                  <a:schemeClr val="tx1"/>
                </a:solidFill>
                <a:latin typeface="IBM Plex Sans" panose="020B0503050203000203" pitchFamily="34" charset="0"/>
              </a:defRPr>
            </a:lvl4pPr>
            <a:lvl5pPr>
              <a:lnSpc>
                <a:spcPct val="120000"/>
              </a:lnSpc>
              <a:spcBef>
                <a:spcPts val="0"/>
              </a:spcBef>
              <a:defRPr sz="1422"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2024 IBM Corporation / IBM Client Confidential</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46112006"/>
      </p:ext>
    </p:extLst>
  </p:cSld>
  <p:clrMapOvr>
    <a:masterClrMapping/>
  </p:clrMapOvr>
  <p:transition spd="med"/>
  <p:hf sldNum="0" hd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7048"/>
          </a:xfrm>
        </p:spPr>
        <p:txBody>
          <a:bodyPr/>
          <a:lstStyle>
            <a:lvl1pPr>
              <a:lnSpc>
                <a:spcPct val="110000"/>
              </a:lnSpc>
              <a:defRPr sz="249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2024 IBM Corporation / IBM Client Confidential</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90926941"/>
      </p:ext>
    </p:extLst>
  </p:cSld>
  <p:clrMapOvr>
    <a:masterClrMapping/>
  </p:clrMapOvr>
  <p:transition spd="med"/>
  <p:hf sldNum="0" hd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5690">
                <a:solidFill>
                  <a:schemeClr val="tx2"/>
                </a:solidFill>
              </a:defRPr>
            </a:lvl1pPr>
            <a:lvl2pPr>
              <a:lnSpc>
                <a:spcPct val="100000"/>
              </a:lnSpc>
              <a:spcBef>
                <a:spcPts val="0"/>
              </a:spcBef>
              <a:defRPr sz="5690">
                <a:solidFill>
                  <a:schemeClr val="tx1"/>
                </a:solidFill>
              </a:defRPr>
            </a:lvl2pPr>
            <a:lvl3pPr>
              <a:lnSpc>
                <a:spcPct val="100000"/>
              </a:lnSpc>
              <a:spcBef>
                <a:spcPts val="0"/>
              </a:spcBef>
              <a:defRPr sz="5690">
                <a:solidFill>
                  <a:schemeClr val="tx1"/>
                </a:solidFill>
              </a:defRPr>
            </a:lvl3pPr>
            <a:lvl4pPr>
              <a:lnSpc>
                <a:spcPct val="100000"/>
              </a:lnSpc>
              <a:spcBef>
                <a:spcPts val="0"/>
              </a:spcBef>
              <a:defRPr sz="5690">
                <a:solidFill>
                  <a:schemeClr val="tx1"/>
                </a:solidFill>
              </a:defRPr>
            </a:lvl4pPr>
            <a:lvl5pPr>
              <a:lnSpc>
                <a:spcPct val="100000"/>
              </a:lnSpc>
              <a:spcBef>
                <a:spcPts val="0"/>
              </a:spcBef>
              <a:defRPr sz="5690">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3" y="569912"/>
            <a:ext cx="4952999" cy="11431588"/>
          </a:xfrm>
        </p:spPr>
        <p:txBody>
          <a:bodyPr/>
          <a:lstStyle>
            <a:lvl1pPr>
              <a:lnSpc>
                <a:spcPct val="120000"/>
              </a:lnSpc>
              <a:spcBef>
                <a:spcPts val="0"/>
              </a:spcBef>
              <a:defRPr sz="1422" b="0" i="0">
                <a:solidFill>
                  <a:schemeClr val="tx1"/>
                </a:solidFill>
                <a:latin typeface="IBM Plex Sans" panose="020B0503050203000203" pitchFamily="34" charset="0"/>
              </a:defRPr>
            </a:lvl1pPr>
            <a:lvl2pPr marL="130062" indent="-130062">
              <a:lnSpc>
                <a:spcPct val="120000"/>
              </a:lnSpc>
              <a:spcBef>
                <a:spcPts val="0"/>
              </a:spcBef>
              <a:defRPr sz="1422" b="0" i="0">
                <a:solidFill>
                  <a:schemeClr val="tx1"/>
                </a:solidFill>
                <a:latin typeface="IBM Plex Sans" panose="020B0503050203000203" pitchFamily="34" charset="0"/>
              </a:defRPr>
            </a:lvl2pPr>
            <a:lvl3pPr marL="260122" indent="-130062">
              <a:lnSpc>
                <a:spcPct val="120000"/>
              </a:lnSpc>
              <a:spcBef>
                <a:spcPts val="0"/>
              </a:spcBef>
              <a:defRPr sz="1422" b="0" i="0">
                <a:solidFill>
                  <a:schemeClr val="tx1"/>
                </a:solidFill>
                <a:latin typeface="IBM Plex Sans" panose="020B0503050203000203" pitchFamily="34" charset="0"/>
              </a:defRPr>
            </a:lvl3pPr>
            <a:lvl4pPr marL="390184" indent="-130062">
              <a:lnSpc>
                <a:spcPct val="120000"/>
              </a:lnSpc>
              <a:spcBef>
                <a:spcPts val="0"/>
              </a:spcBef>
              <a:defRPr sz="1422" b="0" i="0">
                <a:solidFill>
                  <a:schemeClr val="tx1"/>
                </a:solidFill>
                <a:latin typeface="IBM Plex Sans" panose="020B0503050203000203" pitchFamily="34" charset="0"/>
              </a:defRPr>
            </a:lvl4pPr>
            <a:lvl5pPr>
              <a:lnSpc>
                <a:spcPct val="120000"/>
              </a:lnSpc>
              <a:spcBef>
                <a:spcPts val="0"/>
              </a:spcBef>
              <a:defRPr sz="1422"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2"/>
            <a:ext cx="4952999" cy="11431588"/>
          </a:xfrm>
        </p:spPr>
        <p:txBody>
          <a:bodyPr/>
          <a:lstStyle>
            <a:lvl1pPr>
              <a:lnSpc>
                <a:spcPct val="120000"/>
              </a:lnSpc>
              <a:spcBef>
                <a:spcPts val="0"/>
              </a:spcBef>
              <a:defRPr sz="1422" b="0" i="0">
                <a:solidFill>
                  <a:schemeClr val="tx1"/>
                </a:solidFill>
                <a:latin typeface="IBM Plex Sans" panose="020B0503050203000203" pitchFamily="34" charset="0"/>
              </a:defRPr>
            </a:lvl1pPr>
            <a:lvl2pPr marL="130062" indent="-130062">
              <a:lnSpc>
                <a:spcPct val="120000"/>
              </a:lnSpc>
              <a:spcBef>
                <a:spcPts val="0"/>
              </a:spcBef>
              <a:defRPr sz="1422" b="0" i="0">
                <a:solidFill>
                  <a:schemeClr val="tx1"/>
                </a:solidFill>
                <a:latin typeface="IBM Plex Sans" panose="020B0503050203000203" pitchFamily="34" charset="0"/>
              </a:defRPr>
            </a:lvl2pPr>
            <a:lvl3pPr marL="260122" indent="-130062">
              <a:lnSpc>
                <a:spcPct val="120000"/>
              </a:lnSpc>
              <a:spcBef>
                <a:spcPts val="0"/>
              </a:spcBef>
              <a:defRPr sz="1422" b="0" i="0">
                <a:solidFill>
                  <a:schemeClr val="tx1"/>
                </a:solidFill>
                <a:latin typeface="IBM Plex Sans" panose="020B0503050203000203" pitchFamily="34" charset="0"/>
              </a:defRPr>
            </a:lvl3pPr>
            <a:lvl4pPr marL="390184" indent="-130062">
              <a:lnSpc>
                <a:spcPct val="120000"/>
              </a:lnSpc>
              <a:spcBef>
                <a:spcPts val="0"/>
              </a:spcBef>
              <a:defRPr sz="1422" b="0" i="0">
                <a:solidFill>
                  <a:schemeClr val="tx1"/>
                </a:solidFill>
                <a:latin typeface="IBM Plex Sans" panose="020B0503050203000203" pitchFamily="34" charset="0"/>
              </a:defRPr>
            </a:lvl4pPr>
            <a:lvl5pPr>
              <a:lnSpc>
                <a:spcPct val="120000"/>
              </a:lnSpc>
              <a:spcBef>
                <a:spcPts val="0"/>
              </a:spcBef>
              <a:defRPr sz="1422"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6"/>
            <a:ext cx="4956175" cy="381000"/>
          </a:xfrm>
        </p:spPr>
        <p:txBody>
          <a:bodyPr/>
          <a:lstStyle/>
          <a:p>
            <a:r>
              <a:rPr lang="en-US"/>
              <a:t>2024 IBM Corporation / IBM Client Confidential</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15002810"/>
      </p:ext>
    </p:extLst>
  </p:cSld>
  <p:clrMapOvr>
    <a:masterClrMapping/>
  </p:clrMapOvr>
  <p:transition spd="med"/>
  <p:hf sldNum="0" hd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4" y="6168462"/>
            <a:ext cx="3456432" cy="1379080"/>
          </a:xfrm>
          <a:prstGeom prst="rect">
            <a:avLst/>
          </a:prstGeom>
        </p:spPr>
      </p:pic>
    </p:spTree>
    <p:extLst>
      <p:ext uri="{BB962C8B-B14F-4D97-AF65-F5344CB8AC3E}">
        <p14:creationId xmlns:p14="http://schemas.microsoft.com/office/powerpoint/2010/main" val="3273962882"/>
      </p:ext>
    </p:extLst>
  </p:cSld>
  <p:clrMapOvr>
    <a:masterClrMapping/>
  </p:clrMapOvr>
  <p:transition spd="med"/>
  <p:hf sldNum="0" hdr="0" dt="0"/>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x">
  <p:cSld name="4_Text, 4 columns ">
    <p:spTree>
      <p:nvGrpSpPr>
        <p:cNvPr id="1" name=""/>
        <p:cNvGrpSpPr/>
        <p:nvPr/>
      </p:nvGrpSpPr>
      <p:grpSpPr>
        <a:xfrm>
          <a:off x="0" y="0"/>
          <a:ext cx="0" cy="0"/>
          <a:chOff x="0" y="0"/>
          <a:chExt cx="0" cy="0"/>
        </a:xfrm>
      </p:grpSpPr>
      <p:sp>
        <p:nvSpPr>
          <p:cNvPr id="185" name="幻灯片编号"/>
          <p:cNvSpPr txBox="1">
            <a:spLocks noGrp="1"/>
          </p:cNvSpPr>
          <p:nvPr>
            <p:ph type="sldNum" sz="quarter" idx="2"/>
          </p:nvPr>
        </p:nvSpPr>
        <p:spPr>
          <a:xfrm>
            <a:off x="23575120" y="12979245"/>
            <a:ext cx="240481" cy="218778"/>
          </a:xfrm>
          <a:prstGeom prst="rect">
            <a:avLst/>
          </a:prstGeom>
        </p:spPr>
        <p:txBody>
          <a:bodyPr/>
          <a:lstStyle/>
          <a:p>
            <a:fld id="{86CB4B4D-7CA3-9044-876B-883B54F8677D}" type="slidenum">
              <a:rPr/>
              <a:t>‹#›</a:t>
            </a:fld>
            <a:endParaRPr/>
          </a:p>
        </p:txBody>
      </p:sp>
      <p:sp>
        <p:nvSpPr>
          <p:cNvPr id="186" name="Text Placeholder 3"/>
          <p:cNvSpPr>
            <a:spLocks noGrp="1"/>
          </p:cNvSpPr>
          <p:nvPr>
            <p:ph type="body" sz="quarter" idx="21"/>
          </p:nvPr>
        </p:nvSpPr>
        <p:spPr>
          <a:xfrm>
            <a:off x="6668373" y="3429000"/>
            <a:ext cx="4952059"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Efficitur scelerisque velit. Vestibulum viverra, ante ac placerat pulvinar, erat risus pellentesque urna, ac posuere nibh nulla eu mi. Fusce scelerisque ultrices eros quis dignissim. Pellentesque mollis nibh at nibh imperdiet, sed ullamcorper velit posuere. Integer et velit blandit.</a:t>
            </a:r>
          </a:p>
        </p:txBody>
      </p:sp>
      <p:sp>
        <p:nvSpPr>
          <p:cNvPr id="187" name="Text Placeholder 4"/>
          <p:cNvSpPr>
            <a:spLocks noGrp="1"/>
          </p:cNvSpPr>
          <p:nvPr>
            <p:ph type="body" sz="quarter" idx="22"/>
          </p:nvPr>
        </p:nvSpPr>
        <p:spPr>
          <a:xfrm>
            <a:off x="12765162" y="3429000"/>
            <a:ext cx="4953645"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b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88" name="Text Placeholder 5"/>
          <p:cNvSpPr>
            <a:spLocks noGrp="1"/>
          </p:cNvSpPr>
          <p:nvPr>
            <p:ph type="body" sz="quarter" idx="23"/>
          </p:nvPr>
        </p:nvSpPr>
        <p:spPr>
          <a:xfrm>
            <a:off x="18861961" y="3429000"/>
            <a:ext cx="4959996"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a:t>
            </a:r>
          </a:p>
        </p:txBody>
      </p:sp>
      <p:sp>
        <p:nvSpPr>
          <p:cNvPr id="189" name="Title 1"/>
          <p:cNvSpPr txBox="1">
            <a:spLocks noGrp="1"/>
          </p:cNvSpPr>
          <p:nvPr>
            <p:ph type="body" sz="quarter" idx="24"/>
          </p:nvPr>
        </p:nvSpPr>
        <p:spPr>
          <a:xfrm>
            <a:off x="567007" y="569919"/>
            <a:ext cx="4950471" cy="1525590"/>
          </a:xfrm>
          <a:prstGeom prst="rect">
            <a:avLst/>
          </a:prstGeom>
        </p:spPr>
        <p:txBody>
          <a:bodyPr/>
          <a:lstStyle>
            <a:lvl1pPr>
              <a:defRPr sz="2490"/>
            </a:lvl1pPr>
          </a:lstStyle>
          <a:p>
            <a:r>
              <a:t>28/36/44pt short headline, 3 lines maximum, sentence case</a:t>
            </a:r>
          </a:p>
        </p:txBody>
      </p:sp>
      <p:sp>
        <p:nvSpPr>
          <p:cNvPr id="190" name="Text Placeholder 2"/>
          <p:cNvSpPr txBox="1">
            <a:spLocks noGrp="1"/>
          </p:cNvSpPr>
          <p:nvPr>
            <p:ph type="body" sz="quarter" idx="25"/>
          </p:nvPr>
        </p:nvSpPr>
        <p:spPr>
          <a:xfrm>
            <a:off x="568405" y="3429000"/>
            <a:ext cx="4956819"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91" name="Footer Placeholder 4"/>
          <p:cNvSpPr txBox="1">
            <a:spLocks noGrp="1"/>
          </p:cNvSpPr>
          <p:nvPr>
            <p:ph type="body" sz="quarter" idx="26"/>
          </p:nvPr>
        </p:nvSpPr>
        <p:spPr>
          <a:xfrm>
            <a:off x="568403" y="12975051"/>
            <a:ext cx="8570442" cy="226858"/>
          </a:xfrm>
          <a:prstGeom prst="rect">
            <a:avLst/>
          </a:prstGeom>
        </p:spPr>
        <p:txBody>
          <a:bodyPr anchor="b">
            <a:spAutoFit/>
          </a:bodyPr>
          <a:lstStyle>
            <a:lvl1pPr defTabSz="1625628">
              <a:lnSpc>
                <a:spcPct val="110000"/>
              </a:lnSpc>
              <a:defRPr sz="1422">
                <a:latin typeface="+mj-lt"/>
                <a:ea typeface="+mj-ea"/>
                <a:cs typeface="+mj-cs"/>
                <a:sym typeface="IBM Plex Sans"/>
              </a:defRPr>
            </a:lvl1pPr>
          </a:lstStyle>
          <a:p>
            <a:r>
              <a:t>Footer text (optional)</a:t>
            </a:r>
          </a:p>
        </p:txBody>
      </p:sp>
    </p:spTree>
    <p:extLst>
      <p:ext uri="{BB962C8B-B14F-4D97-AF65-F5344CB8AC3E}">
        <p14:creationId xmlns:p14="http://schemas.microsoft.com/office/powerpoint/2010/main" val="3108691582"/>
      </p:ext>
    </p:extLst>
  </p:cSld>
  <p:clrMapOvr>
    <a:masterClrMapping/>
  </p:clrMapOvr>
  <p:transition spd="med"/>
  <p:hf sldNum="0" hd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1696443945"/>
      </p:ext>
    </p:extLst>
  </p:cSld>
  <p:clrMapOvr>
    <a:masterClrMapping/>
  </p:clrMapOvr>
  <p:transition spd="med"/>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indent="0" algn="l" defTabSz="91421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1061304021"/>
      </p:ext>
    </p:extLst>
  </p:cSld>
  <p:clrMapOvr>
    <a:masterClrMapping/>
  </p:clrMapOvr>
  <p:transition spd="med"/>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4268158132"/>
      </p:ext>
    </p:extLst>
  </p:cSld>
  <p:clrMapOvr>
    <a:masterClrMapping/>
  </p:clrMapOvr>
  <p:transition spd="med"/>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2048105313"/>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385200"/>
            <a:ext cx="4949825" cy="2097087"/>
          </a:xfrm>
        </p:spPr>
        <p:txBody>
          <a:bodyPr/>
          <a:lstStyle>
            <a:lvl1pPr>
              <a:lnSpc>
                <a:spcPct val="100000"/>
              </a:lnSpc>
              <a:defRPr sz="28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a:prstGeom prst="rect">
            <a:avLst/>
          </a:prstGeom>
        </p:spPr>
        <p:txBody>
          <a:bodyPr/>
          <a:lstStyle>
            <a:lvl1pPr>
              <a:lnSpc>
                <a:spcPct val="100000"/>
              </a:lnSpc>
              <a:spcBef>
                <a:spcPts val="0"/>
              </a:spcBef>
              <a:defRPr sz="6400"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5899409"/>
      </p:ext>
    </p:extLst>
  </p:cSld>
  <p:clrMapOvr>
    <a:masterClrMapping/>
  </p:clrMapOvr>
  <p:transition spd="med"/>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2"/>
            <a:ext cx="11049000" cy="12574588"/>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1323501347"/>
      </p:ext>
    </p:extLst>
  </p:cSld>
  <p:clrMapOvr>
    <a:masterClrMapping/>
  </p:clrMapOvr>
  <p:transition spd="med"/>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2"/>
            <a:ext cx="11049000" cy="12574588"/>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582500102"/>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4"/>
            <a:ext cx="4953001"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4"/>
            <a:ext cx="4949824"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5" cy="381000"/>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8888186"/>
      </p:ext>
    </p:extLst>
  </p:cSld>
  <p:clrMapOvr>
    <a:masterClrMapping/>
  </p:clrMapOvr>
  <p:transition spd="med"/>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6"/>
            <a:ext cx="4956175" cy="381000"/>
          </a:xfrm>
        </p:spPr>
        <p:txBody>
          <a:bodyPr/>
          <a:lstStyle/>
          <a:p>
            <a:endParaRPr lang="en-US"/>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18212723"/>
      </p:ext>
    </p:extLst>
  </p:cSld>
  <p:clrMapOvr>
    <a:masterClrMapping/>
  </p:clrMapOvr>
  <p:transition spd="med"/>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4"/>
            <a:ext cx="17141826" cy="8191500"/>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6"/>
            <a:ext cx="4956175" cy="381000"/>
          </a:xfrm>
        </p:spPr>
        <p:txBody>
          <a:bodyPr/>
          <a:lstStyle/>
          <a:p>
            <a:endParaRPr lang="en-US"/>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34435516"/>
      </p:ext>
    </p:extLst>
  </p:cSld>
  <p:clrMapOvr>
    <a:masterClrMapping/>
  </p:clrMapOvr>
  <p:transition spd="med"/>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4" cy="8574088"/>
          </a:xfrm>
        </p:spPr>
        <p:txBody>
          <a:bodyPr/>
          <a:lstStyle>
            <a:lvl1pPr>
              <a:lnSpc>
                <a:spcPct val="100000"/>
              </a:lnSpc>
              <a:spcBef>
                <a:spcPts val="0"/>
              </a:spcBef>
              <a:defRPr sz="6398">
                <a:solidFill>
                  <a:schemeClr val="tx2"/>
                </a:solidFill>
              </a:defRPr>
            </a:lvl1pPr>
            <a:lvl2pPr marL="585098" indent="-585098">
              <a:lnSpc>
                <a:spcPct val="100000"/>
              </a:lnSpc>
              <a:spcBef>
                <a:spcPts val="0"/>
              </a:spcBef>
              <a:defRPr sz="6398">
                <a:solidFill>
                  <a:schemeClr val="tx2"/>
                </a:solidFill>
              </a:defRPr>
            </a:lvl2pPr>
            <a:lvl3pPr marL="1097060" indent="-585098">
              <a:lnSpc>
                <a:spcPct val="100000"/>
              </a:lnSpc>
              <a:spcBef>
                <a:spcPts val="0"/>
              </a:spcBef>
              <a:defRPr sz="6398">
                <a:solidFill>
                  <a:schemeClr val="tx2"/>
                </a:solidFill>
              </a:defRPr>
            </a:lvl3pPr>
            <a:lvl4pPr marL="1755296">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6"/>
            <a:ext cx="4956175" cy="381000"/>
          </a:xfrm>
        </p:spPr>
        <p:txBody>
          <a:bodyPr/>
          <a:lstStyle/>
          <a:p>
            <a:endParaRPr lang="en-US"/>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92100947"/>
      </p:ext>
    </p:extLst>
  </p:cSld>
  <p:clrMapOvr>
    <a:masterClrMapping/>
  </p:clrMapOvr>
  <p:transition spd="med"/>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1"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5" cy="381000"/>
          </a:xfrm>
        </p:spPr>
        <p:txBody>
          <a:bodyPr/>
          <a:lstStyle/>
          <a:p>
            <a:endParaRPr lang="en-US"/>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44538935"/>
      </p:ext>
    </p:extLst>
  </p:cSld>
  <p:clrMapOvr>
    <a:masterClrMapping/>
  </p:clrMapOvr>
  <p:transition spd="med"/>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4" y="576072"/>
            <a:ext cx="7623174"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9"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12193588"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0"/>
            <a:ext cx="11049000"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5" cy="381000"/>
          </a:xfrm>
        </p:spPr>
        <p:txBody>
          <a:bodyPr/>
          <a:lstStyle/>
          <a:p>
            <a:endParaRPr lang="en-US"/>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22054432"/>
      </p:ext>
    </p:extLst>
  </p:cSld>
  <p:clrMapOvr>
    <a:masterClrMapping/>
  </p:clrMapOvr>
  <p:transition spd="med"/>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2"/>
            <a:ext cx="4949824" cy="1906588"/>
          </a:xfrm>
        </p:spPr>
        <p:txBody>
          <a:bodyPr/>
          <a:lstStyle>
            <a:lvl1pPr>
              <a:lnSpc>
                <a:spcPct val="90000"/>
              </a:lnSpc>
              <a:defRPr sz="12998">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5"/>
            <a:ext cx="4949824" cy="1903414"/>
          </a:xfrm>
        </p:spPr>
        <p:txBody>
          <a:bodyPr/>
          <a:lstStyle>
            <a:lvl1pPr>
              <a:lnSpc>
                <a:spcPct val="90000"/>
              </a:lnSpc>
              <a:defRPr sz="12998">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9" y="2333067"/>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5" cy="381000"/>
          </a:xfrm>
        </p:spPr>
        <p:txBody>
          <a:bodyPr/>
          <a:lstStyle/>
          <a:p>
            <a:endParaRPr lang="en-US"/>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58086520"/>
      </p:ext>
    </p:extLst>
  </p:cSld>
  <p:clrMapOvr>
    <a:masterClrMapping/>
  </p:clrMapOvr>
  <p:transition spd="med"/>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4" cy="5335588"/>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6"/>
            <a:ext cx="11049000" cy="5335588"/>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4"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5" cy="381000"/>
          </a:xfrm>
        </p:spPr>
        <p:txBody>
          <a:bodyPr/>
          <a:lstStyle/>
          <a:p>
            <a:endParaRPr lang="en-US"/>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10035564"/>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560959" y="12096093"/>
            <a:ext cx="4953000" cy="1143000"/>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6656388" y="12001501"/>
            <a:ext cx="4953000" cy="1237592"/>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98670438"/>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12739220" y="3429000"/>
            <a:ext cx="10183842"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53649678"/>
      </p:ext>
    </p:extLst>
  </p:cSld>
  <p:clrMapOvr>
    <a:masterClrMapping/>
  </p:clrMapOvr>
  <p:transition spd="med"/>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6"/>
          </a:xfrm>
        </p:spPr>
        <p:txBody>
          <a:bodyPr/>
          <a:lstStyle>
            <a:lvl1pPr>
              <a:lnSpc>
                <a:spcPct val="90000"/>
              </a:lnSpc>
              <a:defRPr sz="12998">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3" y="8403337"/>
            <a:ext cx="4951411" cy="2857506"/>
          </a:xfrm>
        </p:spPr>
        <p:txBody>
          <a:bodyPr/>
          <a:lstStyle>
            <a:lvl1pPr>
              <a:lnSpc>
                <a:spcPct val="90000"/>
              </a:lnSpc>
              <a:defRPr sz="12998">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5" cy="381000"/>
          </a:xfrm>
        </p:spPr>
        <p:txBody>
          <a:bodyPr/>
          <a:lstStyle/>
          <a:p>
            <a:endParaRPr lang="en-US"/>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60438105"/>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5" cy="381000"/>
          </a:xfrm>
        </p:spPr>
        <p:txBody>
          <a:bodyPr/>
          <a:lstStyle/>
          <a:p>
            <a:endParaRPr lang="en-US"/>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22647580"/>
      </p:ext>
    </p:extLst>
  </p:cSld>
  <p:clrMapOvr>
    <a:masterClrMapping/>
  </p:clrMapOvr>
  <p:transition spd="med"/>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5" cy="381000"/>
          </a:xfrm>
        </p:spPr>
        <p:txBody>
          <a:bodyPr/>
          <a:lstStyle/>
          <a:p>
            <a:endParaRPr lang="en-US"/>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21563001"/>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5" cy="381000"/>
          </a:xfrm>
        </p:spPr>
        <p:txBody>
          <a:bodyPr/>
          <a:lstStyle/>
          <a:p>
            <a:endParaRPr lang="en-US"/>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34020046"/>
      </p:ext>
    </p:extLst>
  </p:cSld>
  <p:clrMapOvr>
    <a:masterClrMapping/>
  </p:clrMapOvr>
  <p:transition spd="med"/>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576072"/>
            <a:ext cx="4949824"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p:spPr>
        <p:txBody>
          <a:bodyPr anchor="ctr"/>
          <a:lstStyle>
            <a:lvl1pPr algn="ctr">
              <a:defRPr sz="1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p:spPr>
        <p:txBody>
          <a:bodyPr anchor="ctr"/>
          <a:lstStyle>
            <a:lvl1pPr algn="ctr">
              <a:defRPr sz="1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2" y="3429000"/>
            <a:ext cx="494211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2"/>
            <a:ext cx="1216152" cy="1216152"/>
          </a:xfrm>
        </p:spPr>
        <p:txBody>
          <a:bodyPr anchor="ctr"/>
          <a:lstStyle>
            <a:lvl1pPr algn="ctr">
              <a:defRPr sz="1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299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27242682"/>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5" cy="1141412"/>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1"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97671387"/>
      </p:ext>
    </p:extLst>
  </p:cSld>
  <p:clrMapOvr>
    <a:masterClrMapping/>
  </p:clrMapOvr>
  <p:transition spd="med"/>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3"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1"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4722449"/>
      </p:ext>
    </p:extLst>
  </p:cSld>
  <p:clrMapOvr>
    <a:masterClrMapping/>
  </p:clrMapOvr>
  <p:transition spd="med"/>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85593768"/>
      </p:ext>
    </p:extLst>
  </p:cSld>
  <p:clrMapOvr>
    <a:masterClrMapping/>
  </p:clrMapOvr>
  <p:transition spd="med"/>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1" y="576072"/>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37791795"/>
      </p:ext>
    </p:extLst>
  </p:cSld>
  <p:clrMapOvr>
    <a:masterClrMapping/>
  </p:clrMapOvr>
  <p:transition spd="med"/>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4"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94846208"/>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385200"/>
            <a:ext cx="7424927" cy="1906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20" y="3429000"/>
            <a:ext cx="10183842" cy="85724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2" y="3429000"/>
            <a:ext cx="10183842" cy="85724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74945124"/>
      </p:ext>
    </p:extLst>
  </p:cSld>
  <p:clrMapOvr>
    <a:masterClrMapping/>
  </p:clrMapOvr>
  <p:transition spd="med"/>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40827977"/>
      </p:ext>
    </p:extLst>
  </p:cSld>
  <p:clrMapOvr>
    <a:masterClrMapping/>
  </p:clrMapOvr>
  <p:transition spd="med"/>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9"/>
            <a:ext cx="4949824"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8"/>
            <a:ext cx="4956175" cy="1141412"/>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12188953"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3"/>
            <a:ext cx="1216152" cy="1214462"/>
          </a:xfrm>
        </p:spPr>
        <p:txBody>
          <a:bodyPr anchor="ctr"/>
          <a:lstStyle>
            <a:lvl1pPr algn="ctr">
              <a:defRPr sz="1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5" cy="1216152"/>
          </a:xfrm>
        </p:spPr>
        <p:txBody>
          <a:bodyPr anchor="ctr"/>
          <a:lstStyle>
            <a:lvl1pPr algn="ctr">
              <a:defRPr sz="1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28004758"/>
      </p:ext>
    </p:extLst>
  </p:cSld>
  <p:clrMapOvr>
    <a:masterClrMapping/>
  </p:clrMapOvr>
  <p:transition spd="med"/>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12191999"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2"/>
            <a:ext cx="1216152" cy="1216152"/>
          </a:xfrm>
        </p:spPr>
        <p:txBody>
          <a:bodyPr anchor="ctr"/>
          <a:lstStyle>
            <a:lvl1pPr algn="ctr">
              <a:defRPr sz="1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2"/>
            <a:ext cx="1216152" cy="1216152"/>
          </a:xfrm>
        </p:spPr>
        <p:txBody>
          <a:bodyPr anchor="ctr"/>
          <a:lstStyle>
            <a:lvl1pPr algn="ctr">
              <a:defRPr sz="1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1" y="8385048"/>
            <a:ext cx="6670676"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0"/>
            <a:ext cx="1216152" cy="1216152"/>
          </a:xfrm>
        </p:spPr>
        <p:txBody>
          <a:bodyPr anchor="ctr"/>
          <a:lstStyle>
            <a:lvl1pPr algn="ctr">
              <a:defRPr sz="1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2" y="83820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34550643"/>
      </p:ext>
    </p:extLst>
  </p:cSld>
  <p:clrMapOvr>
    <a:masterClrMapping/>
  </p:clrMapOvr>
  <p:transition spd="med"/>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1141412"/>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40194335"/>
      </p:ext>
    </p:extLst>
  </p:cSld>
  <p:clrMapOvr>
    <a:masterClrMapping/>
  </p:clrMapOvr>
  <p:transition spd="med"/>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448056"/>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1527048"/>
            <a:ext cx="11044240"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4"/>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69914"/>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7176203"/>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2"/>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20202363"/>
      </p:ext>
    </p:extLst>
  </p:cSld>
  <p:clrMapOvr>
    <a:masterClrMapping/>
  </p:clrMapOvr>
  <p:transition spd="med"/>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8"/>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3"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9088750"/>
      </p:ext>
    </p:extLst>
  </p:cSld>
  <p:clrMapOvr>
    <a:masterClrMapping/>
  </p:clrMapOvr>
  <p:transition spd="med"/>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05230174"/>
      </p:ext>
    </p:extLst>
  </p:cSld>
  <p:clrMapOvr>
    <a:masterClrMapping/>
  </p:clrMapOvr>
  <p:transition spd="med"/>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576072"/>
            <a:ext cx="4949824" cy="28590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p:spPr>
        <p:txBody>
          <a:bodyPr/>
          <a:lstStyle>
            <a:lvl1pPr>
              <a:defRPr sz="14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p:spPr>
        <p:txBody>
          <a:bodyPr/>
          <a:lstStyle>
            <a:lvl1pPr>
              <a:defRPr sz="14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0"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p:spPr>
        <p:txBody>
          <a:bodyPr/>
          <a:lstStyle>
            <a:lvl1pPr>
              <a:defRPr sz="14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6096001"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6"/>
          </a:xfrm>
        </p:spPr>
        <p:txBody>
          <a:bodyPr/>
          <a:lstStyle>
            <a:lvl1pPr>
              <a:defRPr sz="14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1"/>
            <a:ext cx="402336" cy="403226"/>
          </a:xfrm>
        </p:spPr>
        <p:txBody>
          <a:bodyPr/>
          <a:lstStyle>
            <a:lvl1pPr>
              <a:defRPr sz="14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2"/>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1"/>
            <a:ext cx="402336" cy="403226"/>
          </a:xfrm>
        </p:spPr>
        <p:txBody>
          <a:bodyPr/>
          <a:lstStyle>
            <a:lvl1pPr>
              <a:defRPr sz="14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67662631"/>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1" y="6665976"/>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94538973"/>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12775460" y="384044"/>
            <a:ext cx="4963923" cy="11431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18847180" y="384045"/>
            <a:ext cx="4963923" cy="114315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59821703"/>
      </p:ext>
    </p:extLst>
  </p:cSld>
  <p:clrMapOvr>
    <a:masterClrMapping/>
  </p:clrMapOvr>
  <p:transition spd="med"/>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576073"/>
            <a:ext cx="4949824"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9"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3945125"/>
      </p:ext>
    </p:extLst>
  </p:cSld>
  <p:clrMapOvr>
    <a:masterClrMapping/>
  </p:clrMapOvr>
  <p:transition spd="med"/>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2"/>
            <a:ext cx="11049000" cy="12574588"/>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3970090998"/>
      </p:ext>
    </p:extLst>
  </p:cSld>
  <p:clrMapOvr>
    <a:masterClrMapping/>
  </p:clrMapOvr>
  <p:transition spd="med"/>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206213137"/>
      </p:ext>
    </p:extLst>
  </p:cSld>
  <p:clrMapOvr>
    <a:masterClrMapping/>
  </p:clrMapOvr>
  <p:transition spd="med"/>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1" y="565151"/>
            <a:ext cx="17151351" cy="1257935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68411400"/>
      </p:ext>
    </p:extLst>
  </p:cSld>
  <p:clrMapOvr>
    <a:masterClrMapping/>
  </p:clrMapOvr>
  <p:transition spd="med"/>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592483947"/>
      </p:ext>
    </p:extLst>
  </p:cSld>
  <p:clrMapOvr>
    <a:masterClrMapping/>
  </p:clrMapOvr>
  <p:transition spd="med"/>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4"/>
            <a:ext cx="23244174" cy="1258093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843881436"/>
      </p:ext>
    </p:extLst>
  </p:cSld>
  <p:clrMapOvr>
    <a:masterClrMapping/>
  </p:clrMapOvr>
  <p:transition spd="med"/>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0"/>
            <a:ext cx="2473324" cy="247650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6"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6"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6"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32033487"/>
      </p:ext>
    </p:extLst>
  </p:cSld>
  <p:clrMapOvr>
    <a:masterClrMapping/>
  </p:clrMapOvr>
  <p:transition spd="med"/>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4"/>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1568698"/>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55349712"/>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14726363"/>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5200"/>
            <a:ext cx="4953000" cy="4573587"/>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12775460" y="384044"/>
            <a:ext cx="4963923" cy="11431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18847180" y="384045"/>
            <a:ext cx="4963923" cy="114315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4956051"/>
      </p:ext>
    </p:extLst>
  </p:cSld>
  <p:clrMapOvr>
    <a:masterClrMapping/>
  </p:clrMapOvr>
  <p:transition spd="med"/>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6"/>
            <a:ext cx="4956175" cy="381000"/>
          </a:xfrm>
        </p:spPr>
        <p:txBody>
          <a:bodyPr/>
          <a:lstStyle/>
          <a:p>
            <a:endParaRPr lang="en-US"/>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78830952"/>
      </p:ext>
    </p:extLst>
  </p:cSld>
  <p:clrMapOvr>
    <a:masterClrMapping/>
  </p:clrMapOvr>
  <p:transition spd="med"/>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2" y="6168461"/>
            <a:ext cx="3456432" cy="1379082"/>
          </a:xfrm>
          <a:prstGeom prst="rect">
            <a:avLst/>
          </a:prstGeom>
        </p:spPr>
      </p:pic>
    </p:spTree>
    <p:extLst>
      <p:ext uri="{BB962C8B-B14F-4D97-AF65-F5344CB8AC3E}">
        <p14:creationId xmlns:p14="http://schemas.microsoft.com/office/powerpoint/2010/main" val="2645777891"/>
      </p:ext>
    </p:extLst>
  </p:cSld>
  <p:clrMapOvr>
    <a:masterClrMapping/>
  </p:clrMapOvr>
  <p:transition spd="med"/>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3"/>
            <a:ext cx="24387175" cy="12001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6288088"/>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560962" y="12096094"/>
            <a:ext cx="4952999" cy="1143000"/>
          </a:xfrm>
          <a:prstGeom prst="rect">
            <a:avLst/>
          </a:prstGeom>
        </p:spPr>
        <p:txBody>
          <a:bodyPr anchor="b"/>
          <a:lstStyle>
            <a:lvl1pPr defTabSz="1161258">
              <a:lnSpc>
                <a:spcPct val="100000"/>
              </a:lnSpc>
              <a:spcBef>
                <a:spcPts val="0"/>
              </a:spcBef>
              <a:defRPr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6656392" y="12001502"/>
            <a:ext cx="4952999" cy="1237592"/>
          </a:xfrm>
          <a:prstGeom prst="rect">
            <a:avLst/>
          </a:prstGeom>
        </p:spPr>
        <p:txBody>
          <a:bodyPr anchor="b"/>
          <a:lstStyle>
            <a:lvl1pPr defTabSz="1161258">
              <a:lnSpc>
                <a:spcPct val="100000"/>
              </a:lnSpc>
              <a:spcBef>
                <a:spcPts val="0"/>
              </a:spcBef>
              <a:defRPr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20412583"/>
      </p:ext>
    </p:extLst>
  </p:cSld>
  <p:clrMapOvr>
    <a:masterClrMapping/>
  </p:clrMapOvr>
  <p:transition spd="med"/>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3"/>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30" tIns="91430" rIns="91430" bIns="91430" numCol="1" rtlCol="0" anchor="t" anchorCtr="0" compatLnSpc="1">
            <a:prstTxWarp prst="textNoShape">
              <a:avLst/>
            </a:prstTxWarp>
          </a:bodyPr>
          <a:lstStyle/>
          <a:p>
            <a:pPr marL="0" marR="0" indent="0" algn="l" defTabSz="91437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1"/>
            <a:ext cx="11050589" cy="4573586"/>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560962" y="12096094"/>
            <a:ext cx="4952999" cy="1143000"/>
          </a:xfrm>
          <a:prstGeom prst="rect">
            <a:avLst/>
          </a:prstGeom>
        </p:spPr>
        <p:txBody>
          <a:bodyPr anchor="b"/>
          <a:lstStyle>
            <a:lvl1pPr defTabSz="1161258">
              <a:lnSpc>
                <a:spcPct val="100000"/>
              </a:lnSpc>
              <a:spcBef>
                <a:spcPts val="0"/>
              </a:spcBef>
              <a:defRPr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6656392" y="12001502"/>
            <a:ext cx="4952999" cy="1237592"/>
          </a:xfrm>
          <a:prstGeom prst="rect">
            <a:avLst/>
          </a:prstGeom>
        </p:spPr>
        <p:txBody>
          <a:bodyPr anchor="b"/>
          <a:lstStyle>
            <a:lvl1pPr defTabSz="1161258">
              <a:lnSpc>
                <a:spcPct val="100000"/>
              </a:lnSpc>
              <a:spcBef>
                <a:spcPts val="0"/>
              </a:spcBef>
              <a:defRPr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67554548"/>
      </p:ext>
    </p:extLst>
  </p:cSld>
  <p:clrMapOvr>
    <a:masterClrMapping/>
  </p:clrMapOvr>
  <p:transition spd="med"/>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1"/>
            <a:ext cx="11050589" cy="4573586"/>
          </a:xfrm>
        </p:spPr>
        <p:txBody>
          <a:bodyPr/>
          <a:lstStyle>
            <a:lvl1pPr>
              <a:lnSpc>
                <a:spcPct val="100000"/>
              </a:lnSpc>
              <a:defRPr sz="8600"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545792390"/>
      </p:ext>
    </p:extLst>
  </p:cSld>
  <p:clrMapOvr>
    <a:masterClrMapping/>
  </p:clrMapOvr>
  <p:transition spd="med"/>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1"/>
            <a:ext cx="11050589" cy="4573586"/>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9" cy="762000"/>
          </a:xfrm>
          <a:prstGeom prst="rect">
            <a:avLst/>
          </a:prstGeom>
        </p:spPr>
        <p:txBody>
          <a:bodyPr anchor="b"/>
          <a:lstStyle>
            <a:lvl1pPr>
              <a:lnSpc>
                <a:spcPct val="100000"/>
              </a:lnSpc>
              <a:spcBef>
                <a:spcPts val="0"/>
              </a:spcBef>
              <a:defRPr sz="36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2993927322"/>
      </p:ext>
    </p:extLst>
  </p:cSld>
  <p:clrMapOvr>
    <a:masterClrMapping/>
  </p:clrMapOvr>
  <p:transition spd="med"/>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7"/>
            <a:ext cx="11049000" cy="12574586"/>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384048"/>
            <a:ext cx="10101073" cy="10479088"/>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1377942476"/>
      </p:ext>
    </p:extLst>
  </p:cSld>
  <p:clrMapOvr>
    <a:masterClrMapping/>
  </p:clrMapOvr>
  <p:transition spd="med"/>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7"/>
            <a:ext cx="11049000" cy="12574586"/>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9"/>
            <a:ext cx="10099675" cy="9337674"/>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385203"/>
            <a:ext cx="10099675" cy="571502"/>
          </a:xfrm>
          <a:prstGeom prst="rect">
            <a:avLst/>
          </a:prstGeom>
        </p:spPr>
        <p:txBody>
          <a:bodyPr/>
          <a:lstStyle>
            <a:lvl1pPr>
              <a:lnSpc>
                <a:spcPct val="100000"/>
              </a:lnSpc>
              <a:spcBef>
                <a:spcPts val="0"/>
              </a:spcBef>
              <a:defRPr sz="36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1744964704"/>
      </p:ext>
    </p:extLst>
  </p:cSld>
  <p:clrMapOvr>
    <a:masterClrMapping/>
  </p:clrMapOvr>
  <p:transition spd="med"/>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1"/>
            <a:ext cx="4956175" cy="4573586"/>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3" y="569917"/>
            <a:ext cx="4952999" cy="11431586"/>
          </a:xfrm>
          <a:prstGeom prst="rect">
            <a:avLst/>
          </a:prstGeom>
        </p:spPr>
        <p:txBody>
          <a:bodyPr/>
          <a:lstStyle>
            <a:lvl1pPr defTabSz="1161258">
              <a:lnSpc>
                <a:spcPct val="100000"/>
              </a:lnSpc>
              <a:spcBef>
                <a:spcPts val="0"/>
              </a:spcBef>
              <a:defRPr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374"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18834045" y="569915"/>
            <a:ext cx="4952999" cy="11431586"/>
          </a:xfrm>
          <a:prstGeom prst="rect">
            <a:avLst/>
          </a:prstGeom>
        </p:spPr>
        <p:txBody>
          <a:bodyPr/>
          <a:lstStyle>
            <a:lvl1pPr defTabSz="1161258">
              <a:lnSpc>
                <a:spcPct val="100000"/>
              </a:lnSpc>
              <a:spcBef>
                <a:spcPts val="0"/>
              </a:spcBef>
              <a:defRPr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374"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71618509"/>
      </p:ext>
    </p:extLst>
  </p:cSld>
  <p:clrMapOvr>
    <a:masterClrMapping/>
  </p:clrMapOvr>
  <p:transition spd="med"/>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328912724"/>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12787780" y="3429000"/>
            <a:ext cx="4963923" cy="85724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18859500" y="3429002"/>
            <a:ext cx="4963923" cy="8572498"/>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12787780" y="384048"/>
            <a:ext cx="4963923" cy="1525587"/>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18847180" y="384048"/>
            <a:ext cx="4963923" cy="1525587"/>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7170831"/>
      </p:ext>
    </p:extLst>
  </p:cSld>
  <p:clrMapOvr>
    <a:masterClrMapping/>
  </p:clrMapOvr>
  <p:transition spd="med"/>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385203"/>
            <a:ext cx="17141824" cy="8191502"/>
          </a:xfrm>
        </p:spPr>
        <p:txBody>
          <a:bodyPr/>
          <a:lstStyle>
            <a:lvl1pPr>
              <a:lnSpc>
                <a:spcPct val="100000"/>
              </a:lnSpc>
              <a:defRPr sz="172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24527455"/>
      </p:ext>
    </p:extLst>
  </p:cSld>
  <p:clrMapOvr>
    <a:masterClrMapping/>
  </p:clrMapOvr>
  <p:transition spd="med"/>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9909176"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12735721" y="384049"/>
            <a:ext cx="11075384" cy="8574086"/>
          </a:xfrm>
          <a:prstGeom prst="rect">
            <a:avLst/>
          </a:prstGeom>
        </p:spPr>
        <p:txBody>
          <a:bodyPr/>
          <a:lstStyle>
            <a:lvl1pPr defTabSz="1161258">
              <a:lnSpc>
                <a:spcPct val="100000"/>
              </a:lnSpc>
              <a:spcBef>
                <a:spcPts val="0"/>
              </a:spcBef>
              <a:defRPr sz="6400" b="0" i="0">
                <a:solidFill>
                  <a:schemeClr val="tx1"/>
                </a:solidFill>
                <a:latin typeface="IBM Plex Sans Light" panose="020B0403050203000203" pitchFamily="34" charset="0"/>
              </a:defRPr>
            </a:lvl1pPr>
            <a:lvl2pPr defTabSz="1161258">
              <a:lnSpc>
                <a:spcPct val="100000"/>
              </a:lnSpc>
              <a:spcBef>
                <a:spcPts val="0"/>
              </a:spcBef>
              <a:defRPr sz="6400" b="0" i="0">
                <a:solidFill>
                  <a:schemeClr val="tx1"/>
                </a:solidFill>
                <a:latin typeface="IBM Plex Sans Light" panose="020B0403050203000203" pitchFamily="34" charset="0"/>
              </a:defRPr>
            </a:lvl2pPr>
            <a:lvl3pPr defTabSz="1161258">
              <a:lnSpc>
                <a:spcPct val="100000"/>
              </a:lnSpc>
              <a:spcBef>
                <a:spcPts val="0"/>
              </a:spcBef>
              <a:defRPr sz="6400" b="0" i="0">
                <a:solidFill>
                  <a:schemeClr val="tx1"/>
                </a:solidFill>
                <a:latin typeface="IBM Plex Sans Light" panose="020B0403050203000203" pitchFamily="34" charset="0"/>
              </a:defRPr>
            </a:lvl3pPr>
            <a:lvl4pPr defTabSz="1161258">
              <a:lnSpc>
                <a:spcPct val="100000"/>
              </a:lnSpc>
              <a:spcBef>
                <a:spcPts val="0"/>
              </a:spcBef>
              <a:defRPr sz="64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28061532"/>
      </p:ext>
    </p:extLst>
  </p:cSld>
  <p:clrMapOvr>
    <a:masterClrMapping/>
  </p:clrMapOvr>
  <p:transition spd="med"/>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5200"/>
            <a:ext cx="14662149" cy="9717088"/>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345581461"/>
      </p:ext>
    </p:extLst>
  </p:cSld>
  <p:clrMapOvr>
    <a:masterClrMapping/>
  </p:clrMapOvr>
  <p:transition spd="med"/>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02" y="9296401"/>
            <a:ext cx="11050589" cy="3543302"/>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0589" y="9296401"/>
            <a:ext cx="11049000" cy="3543302"/>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574678" y="385202"/>
            <a:ext cx="7632176" cy="6288088"/>
          </a:xfrm>
          <a:prstGeom prst="rect">
            <a:avLst/>
          </a:prstGeom>
        </p:spPr>
        <p:txBody>
          <a:bodyPr/>
          <a:lstStyle>
            <a:lvl1pPr defTabSz="1161258">
              <a:lnSpc>
                <a:spcPct val="100000"/>
              </a:lnSpc>
              <a:spcBef>
                <a:spcPts val="0"/>
              </a:spcBef>
              <a:defRPr sz="6400" b="0" i="0">
                <a:solidFill>
                  <a:schemeClr val="tx1"/>
                </a:solidFill>
                <a:latin typeface="IBM Plex Sans Light" panose="020B0403050203000203" pitchFamily="34" charset="0"/>
              </a:defRPr>
            </a:lvl1pPr>
            <a:lvl2pPr defTabSz="1161258">
              <a:lnSpc>
                <a:spcPct val="100000"/>
              </a:lnSpc>
              <a:spcBef>
                <a:spcPts val="0"/>
              </a:spcBef>
              <a:defRPr sz="6400" b="0" i="0">
                <a:solidFill>
                  <a:schemeClr val="tx1"/>
                </a:solidFill>
                <a:latin typeface="IBM Plex Sans Light" panose="020B0403050203000203" pitchFamily="34" charset="0"/>
              </a:defRPr>
            </a:lvl2pPr>
            <a:lvl3pPr defTabSz="1161258">
              <a:lnSpc>
                <a:spcPct val="100000"/>
              </a:lnSpc>
              <a:spcBef>
                <a:spcPts val="0"/>
              </a:spcBef>
              <a:defRPr sz="6400" b="0" i="0">
                <a:solidFill>
                  <a:schemeClr val="tx1"/>
                </a:solidFill>
                <a:latin typeface="IBM Plex Sans Light" panose="020B0403050203000203" pitchFamily="34" charset="0"/>
              </a:defRPr>
            </a:lvl3pPr>
            <a:lvl4pPr defTabSz="1161258">
              <a:lnSpc>
                <a:spcPct val="100000"/>
              </a:lnSpc>
              <a:spcBef>
                <a:spcPts val="0"/>
              </a:spcBef>
              <a:defRPr sz="64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12760588" y="385202"/>
            <a:ext cx="7632176" cy="6288088"/>
          </a:xfrm>
          <a:prstGeom prst="rect">
            <a:avLst/>
          </a:prstGeom>
        </p:spPr>
        <p:txBody>
          <a:bodyPr/>
          <a:lstStyle>
            <a:lvl1pPr defTabSz="1161258">
              <a:lnSpc>
                <a:spcPct val="100000"/>
              </a:lnSpc>
              <a:spcBef>
                <a:spcPts val="0"/>
              </a:spcBef>
              <a:defRPr sz="6400" b="0" i="0">
                <a:solidFill>
                  <a:schemeClr val="tx1"/>
                </a:solidFill>
                <a:latin typeface="IBM Plex Sans Light" panose="020B0403050203000203" pitchFamily="34" charset="0"/>
              </a:defRPr>
            </a:lvl1pPr>
            <a:lvl2pPr defTabSz="1161258">
              <a:lnSpc>
                <a:spcPct val="100000"/>
              </a:lnSpc>
              <a:spcBef>
                <a:spcPts val="0"/>
              </a:spcBef>
              <a:defRPr sz="6400" b="0" i="0">
                <a:solidFill>
                  <a:schemeClr val="tx1"/>
                </a:solidFill>
                <a:latin typeface="IBM Plex Sans Light" panose="020B0403050203000203" pitchFamily="34" charset="0"/>
              </a:defRPr>
            </a:lvl2pPr>
            <a:lvl3pPr defTabSz="1161258">
              <a:lnSpc>
                <a:spcPct val="100000"/>
              </a:lnSpc>
              <a:spcBef>
                <a:spcPts val="0"/>
              </a:spcBef>
              <a:defRPr sz="6400" b="0" i="0">
                <a:solidFill>
                  <a:schemeClr val="tx1"/>
                </a:solidFill>
                <a:latin typeface="IBM Plex Sans Light" panose="020B0403050203000203" pitchFamily="34" charset="0"/>
              </a:defRPr>
            </a:lvl3pPr>
            <a:lvl4pPr defTabSz="1161258">
              <a:lnSpc>
                <a:spcPct val="100000"/>
              </a:lnSpc>
              <a:spcBef>
                <a:spcPts val="0"/>
              </a:spcBef>
              <a:defRPr sz="64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82840130"/>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6" y="385203"/>
            <a:ext cx="4949826" cy="1906590"/>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3" y="385201"/>
            <a:ext cx="4949826" cy="1903414"/>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2"/>
            <a:ext cx="4951413" cy="1907912"/>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385200"/>
            <a:ext cx="4949826"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marL="146300" indent="-146300">
              <a:lnSpc>
                <a:spcPct val="100000"/>
              </a:lnSpc>
              <a:spcBef>
                <a:spcPts val="0"/>
              </a:spcBef>
              <a:defRPr sz="1600" b="0" i="0">
                <a:solidFill>
                  <a:schemeClr val="tx1"/>
                </a:solidFill>
                <a:latin typeface="IBM Plex Sans Light" panose="020B0403050203000203" pitchFamily="34" charset="0"/>
              </a:defRPr>
            </a:lvl2pPr>
            <a:lvl3pPr marL="292600" indent="-146300">
              <a:lnSpc>
                <a:spcPct val="100000"/>
              </a:lnSpc>
              <a:spcBef>
                <a:spcPts val="0"/>
              </a:spcBef>
              <a:defRPr sz="1600" b="0" i="0">
                <a:solidFill>
                  <a:schemeClr val="tx1"/>
                </a:solidFill>
                <a:latin typeface="IBM Plex Sans Light" panose="020B0403050203000203" pitchFamily="34" charset="0"/>
              </a:defRPr>
            </a:lvl3pPr>
            <a:lvl4pPr marL="438902" indent="-146300">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6"/>
            <a:ext cx="4951413" cy="967304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3" y="2333069"/>
            <a:ext cx="4952999" cy="9666846"/>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4" y="2333069"/>
            <a:ext cx="4952999" cy="9666846"/>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449918733"/>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8" y="385201"/>
            <a:ext cx="4949826" cy="5335590"/>
          </a:xfrm>
        </p:spPr>
        <p:txBody>
          <a:bodyPr/>
          <a:lstStyle>
            <a:lvl1pPr>
              <a:lnSpc>
                <a:spcPct val="100000"/>
              </a:lnSpc>
              <a:defRPr sz="8600"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385203"/>
            <a:ext cx="11049000" cy="5335586"/>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592" indent="-327592">
              <a:lnSpc>
                <a:spcPct val="100000"/>
              </a:lnSpc>
              <a:spcBef>
                <a:spcPts val="0"/>
              </a:spcBef>
              <a:defRPr sz="8600" b="0" i="0">
                <a:solidFill>
                  <a:schemeClr val="tx1"/>
                </a:solidFill>
                <a:latin typeface="IBM Plex Sans Light" panose="020B0403050203000203" pitchFamily="34" charset="0"/>
              </a:defRPr>
            </a:lvl2pPr>
            <a:lvl3pPr marL="658784" indent="-327592">
              <a:lnSpc>
                <a:spcPct val="100000"/>
              </a:lnSpc>
              <a:spcBef>
                <a:spcPts val="0"/>
              </a:spcBef>
              <a:defRPr sz="8600" b="0" i="0">
                <a:solidFill>
                  <a:schemeClr val="tx1"/>
                </a:solidFill>
                <a:latin typeface="IBM Plex Sans Light" panose="020B0403050203000203" pitchFamily="34" charset="0"/>
              </a:defRPr>
            </a:lvl3pPr>
            <a:lvl4pPr marL="986376" indent="-327592">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8" y="6477000"/>
            <a:ext cx="4949826" cy="5334000"/>
          </a:xfrm>
          <a:prstGeom prst="rect">
            <a:avLst/>
          </a:prstGeom>
        </p:spPr>
        <p:txBody>
          <a:bodyPr/>
          <a:lstStyle>
            <a:lvl1pPr>
              <a:lnSpc>
                <a:spcPct val="100000"/>
              </a:lnSpc>
              <a:defRPr sz="8600" b="0" i="0">
                <a:solidFill>
                  <a:schemeClr val="accent1"/>
                </a:solidFill>
                <a:latin typeface="IBM Plex Sans Light" panose="020B0403050203000203" pitchFamily="34" charset="0"/>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592" indent="-327592">
              <a:lnSpc>
                <a:spcPct val="100000"/>
              </a:lnSpc>
              <a:spcBef>
                <a:spcPts val="0"/>
              </a:spcBef>
              <a:defRPr sz="8600" b="0" i="0">
                <a:solidFill>
                  <a:schemeClr val="tx1"/>
                </a:solidFill>
                <a:latin typeface="IBM Plex Sans Light" panose="020B0403050203000203" pitchFamily="34" charset="0"/>
              </a:defRPr>
            </a:lvl2pPr>
            <a:lvl3pPr marL="658784" indent="-327592">
              <a:lnSpc>
                <a:spcPct val="100000"/>
              </a:lnSpc>
              <a:spcBef>
                <a:spcPts val="0"/>
              </a:spcBef>
              <a:defRPr sz="8600" b="0" i="0">
                <a:solidFill>
                  <a:schemeClr val="tx1"/>
                </a:solidFill>
                <a:latin typeface="IBM Plex Sans Light" panose="020B0403050203000203" pitchFamily="34" charset="0"/>
              </a:defRPr>
            </a:lvl3pPr>
            <a:lvl4pPr marL="986376" indent="-327592">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670248530"/>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2859088"/>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385200"/>
            <a:ext cx="4949826"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a:lnSpc>
                <a:spcPct val="100000"/>
              </a:lnSpc>
              <a:spcBef>
                <a:spcPts val="0"/>
              </a:spcBef>
              <a:defRPr sz="1600" b="0" i="0">
                <a:solidFill>
                  <a:schemeClr val="tx1"/>
                </a:solidFill>
                <a:latin typeface="IBM Plex Sans Light" panose="020B0403050203000203" pitchFamily="34" charset="0"/>
              </a:defRPr>
            </a:lvl2pPr>
            <a:lvl3pPr>
              <a:lnSpc>
                <a:spcPct val="100000"/>
              </a:lnSpc>
              <a:spcBef>
                <a:spcPts val="0"/>
              </a:spcBef>
              <a:defRPr sz="1600" b="0" i="0">
                <a:solidFill>
                  <a:schemeClr val="tx1"/>
                </a:solidFill>
                <a:latin typeface="IBM Plex Sans Light" panose="020B0403050203000203" pitchFamily="34" charset="0"/>
              </a:defRPr>
            </a:lvl3pPr>
            <a:lvl4pPr>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385200"/>
            <a:ext cx="7620000" cy="2859088"/>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187955"/>
            <a:ext cx="7620000" cy="2857502"/>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403339"/>
            <a:ext cx="7620000" cy="2857502"/>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5"/>
            <a:ext cx="4951413" cy="2857506"/>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5" y="8403339"/>
            <a:ext cx="4951411" cy="2857506"/>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4239757763"/>
      </p:ext>
    </p:extLst>
  </p:cSld>
  <p:clrMapOvr>
    <a:masterClrMapping/>
  </p:clrMapOvr>
  <p:transition spd="med"/>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1"/>
            <a:ext cx="4949826" cy="1525590"/>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6667503"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720725"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12739224"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18859502"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6050189"/>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1"/>
            <a:ext cx="4949826" cy="1525590"/>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385203"/>
            <a:ext cx="4956175" cy="1525586"/>
          </a:xfrm>
          <a:prstGeom prst="rect">
            <a:avLst/>
          </a:prstGeom>
        </p:spPr>
        <p:txBody>
          <a:bodyPr/>
          <a:lstStyle>
            <a:lvl1pPr>
              <a:lnSpc>
                <a:spcPct val="100000"/>
              </a:lnSpc>
              <a:spcBef>
                <a:spcPts val="0"/>
              </a:spcBef>
              <a:defRPr sz="2000" b="0" i="0">
                <a:solidFill>
                  <a:schemeClr val="tx1"/>
                </a:solidFill>
                <a:latin typeface="IBM Plex Sans Light" panose="020B0403050203000203" pitchFamily="34" charset="0"/>
              </a:defRPr>
            </a:lvl1pPr>
            <a:lvl2pPr marL="182876" indent="-182876">
              <a:lnSpc>
                <a:spcPct val="100000"/>
              </a:lnSpc>
              <a:spcBef>
                <a:spcPts val="0"/>
              </a:spcBef>
              <a:defRPr sz="2000" b="0" i="0">
                <a:solidFill>
                  <a:schemeClr val="tx1"/>
                </a:solidFill>
                <a:latin typeface="IBM Plex Sans Light" panose="020B0403050203000203" pitchFamily="34" charset="0"/>
              </a:defRPr>
            </a:lvl2pPr>
            <a:lvl3pPr marL="365750" indent="-182876">
              <a:lnSpc>
                <a:spcPct val="100000"/>
              </a:lnSpc>
              <a:spcBef>
                <a:spcPts val="0"/>
              </a:spcBef>
              <a:defRPr sz="2000" b="0" i="0">
                <a:solidFill>
                  <a:schemeClr val="tx1"/>
                </a:solidFill>
                <a:latin typeface="IBM Plex Sans Light" panose="020B0403050203000203" pitchFamily="34" charset="0"/>
              </a:defRPr>
            </a:lvl3pPr>
            <a:lvl4pPr marL="548626" indent="-182876">
              <a:lnSpc>
                <a:spcPct val="100000"/>
              </a:lnSpc>
              <a:spcBef>
                <a:spcPts val="0"/>
              </a:spcBef>
              <a:defRPr sz="2000" b="0" i="0">
                <a:solidFill>
                  <a:schemeClr val="tx1"/>
                </a:solidFill>
                <a:latin typeface="IBM Plex Sans Light" panose="020B04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1"/>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7999"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6667503"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720725"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12739224"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18859502"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3120922"/>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1"/>
            <a:ext cx="4949826" cy="1525590"/>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5"/>
            <a:ext cx="4956175" cy="1525586"/>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26" indent="-256026">
              <a:lnSpc>
                <a:spcPct val="100000"/>
              </a:lnSpc>
              <a:spcBef>
                <a:spcPts val="0"/>
              </a:spcBef>
              <a:defRPr sz="4400" b="0" i="0">
                <a:solidFill>
                  <a:schemeClr val="tx1"/>
                </a:solidFill>
                <a:latin typeface="IBM Plex Sans Light" panose="020B0403050203000203" pitchFamily="34" charset="0"/>
              </a:defRPr>
            </a:lvl2pPr>
            <a:lvl3pPr marL="512052" indent="-256026">
              <a:lnSpc>
                <a:spcPct val="100000"/>
              </a:lnSpc>
              <a:spcBef>
                <a:spcPts val="0"/>
              </a:spcBef>
              <a:defRPr sz="4400" b="0" i="0">
                <a:solidFill>
                  <a:schemeClr val="tx1"/>
                </a:solidFill>
                <a:latin typeface="IBM Plex Sans Light" panose="020B0403050203000203" pitchFamily="34" charset="0"/>
              </a:defRPr>
            </a:lvl3pPr>
            <a:lvl4pPr marL="768076" indent="-256026">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3" y="576075"/>
            <a:ext cx="4952999" cy="1525586"/>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26" indent="-256026">
              <a:lnSpc>
                <a:spcPct val="100000"/>
              </a:lnSpc>
              <a:spcBef>
                <a:spcPts val="0"/>
              </a:spcBef>
              <a:defRPr sz="4400" b="0" i="0">
                <a:solidFill>
                  <a:schemeClr val="tx1"/>
                </a:solidFill>
                <a:latin typeface="IBM Plex Sans Light" panose="020B0403050203000203" pitchFamily="34" charset="0"/>
              </a:defRPr>
            </a:lvl2pPr>
            <a:lvl3pPr marL="512052" indent="-256026">
              <a:lnSpc>
                <a:spcPct val="100000"/>
              </a:lnSpc>
              <a:spcBef>
                <a:spcPts val="0"/>
              </a:spcBef>
              <a:defRPr sz="4400" b="0" i="0">
                <a:solidFill>
                  <a:schemeClr val="tx1"/>
                </a:solidFill>
                <a:latin typeface="IBM Plex Sans Light" panose="020B0403050203000203" pitchFamily="34" charset="0"/>
              </a:defRPr>
            </a:lvl3pPr>
            <a:lvl4pPr marL="768076" indent="-256026">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5"/>
            <a:ext cx="4959350" cy="1525586"/>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26" indent="-256026">
              <a:lnSpc>
                <a:spcPct val="100000"/>
              </a:lnSpc>
              <a:spcBef>
                <a:spcPts val="0"/>
              </a:spcBef>
              <a:defRPr sz="4400" b="0" i="0">
                <a:solidFill>
                  <a:schemeClr val="tx1"/>
                </a:solidFill>
                <a:latin typeface="IBM Plex Sans Light" panose="020B0403050203000203" pitchFamily="34" charset="0"/>
              </a:defRPr>
            </a:lvl2pPr>
            <a:lvl3pPr marL="512052" indent="-256026">
              <a:lnSpc>
                <a:spcPct val="100000"/>
              </a:lnSpc>
              <a:spcBef>
                <a:spcPts val="0"/>
              </a:spcBef>
              <a:defRPr sz="4400" b="0" i="0">
                <a:solidFill>
                  <a:schemeClr val="tx1"/>
                </a:solidFill>
                <a:latin typeface="IBM Plex Sans Light" panose="020B0403050203000203" pitchFamily="34" charset="0"/>
              </a:defRPr>
            </a:lvl3pPr>
            <a:lvl4pPr marL="768076" indent="-256026">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31"/>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7999"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3"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4"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2"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132868"/>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5200"/>
            <a:ext cx="4949826" cy="4573587"/>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12787780" y="3429000"/>
            <a:ext cx="4963923" cy="8572499"/>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18859500" y="3429002"/>
            <a:ext cx="4963923" cy="8572498"/>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12787780" y="384048"/>
            <a:ext cx="4963923" cy="1525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18847180" y="384048"/>
            <a:ext cx="4963923" cy="1525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29240754"/>
      </p:ext>
    </p:extLst>
  </p:cSld>
  <p:clrMapOvr>
    <a:masterClrMapping/>
  </p:clrMapOvr>
  <p:transition spd="med"/>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385200"/>
            <a:ext cx="4949826" cy="2097088"/>
          </a:xfrm>
        </p:spPr>
        <p:txBody>
          <a:bodyPr/>
          <a:lstStyle>
            <a:lvl1pPr>
              <a:lnSpc>
                <a:spcPct val="100000"/>
              </a:lnSpc>
              <a:defRPr sz="28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1"/>
            <a:ext cx="4956175" cy="4000502"/>
          </a:xfrm>
          <a:prstGeom prst="rect">
            <a:avLst/>
          </a:prstGeom>
        </p:spPr>
        <p:txBody>
          <a:bodyPr/>
          <a:lstStyle>
            <a:lvl1pPr>
              <a:lnSpc>
                <a:spcPct val="100000"/>
              </a:lnSpc>
              <a:spcBef>
                <a:spcPts val="0"/>
              </a:spcBef>
              <a:defRPr sz="6400"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4"/>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4"/>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4"/>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31"/>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7999"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6667503"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12739224"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18859502"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37578662"/>
      </p:ext>
    </p:extLst>
  </p:cSld>
  <p:clrMapOvr>
    <a:masterClrMapping/>
  </p:clrMapOvr>
  <p:transition spd="med"/>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9"/>
            <a:ext cx="4956175" cy="1141414"/>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6667503"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12739219" y="3429001"/>
            <a:ext cx="1018384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51298372"/>
      </p:ext>
    </p:extLst>
  </p:cSld>
  <p:clrMapOvr>
    <a:masterClrMapping/>
  </p:clrMapOvr>
  <p:transition spd="med"/>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385203"/>
            <a:ext cx="7424927" cy="1906590"/>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19" y="3429003"/>
            <a:ext cx="10183844" cy="857249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4" y="3429003"/>
            <a:ext cx="10183844" cy="857249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63402303"/>
      </p:ext>
    </p:extLst>
  </p:cSld>
  <p:clrMapOvr>
    <a:masterClrMapping/>
  </p:clrMapOvr>
  <p:transition spd="med"/>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1"/>
            <a:ext cx="11045824" cy="4573586"/>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12775462" y="384049"/>
            <a:ext cx="4963924" cy="114315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18847181" y="384046"/>
            <a:ext cx="4963924" cy="11431584"/>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62134154"/>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5203"/>
            <a:ext cx="4952999" cy="4573586"/>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12775462" y="384049"/>
            <a:ext cx="4963924" cy="114315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18847181" y="384046"/>
            <a:ext cx="4963924" cy="11431584"/>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92399870"/>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3" y="384051"/>
            <a:ext cx="11039477" cy="4573586"/>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12787782" y="3429003"/>
            <a:ext cx="4963924" cy="857249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18859502" y="3429005"/>
            <a:ext cx="4963924" cy="857249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12787782" y="384051"/>
            <a:ext cx="4963924" cy="1525586"/>
          </a:xfrm>
          <a:prstGeom prst="rect">
            <a:avLst/>
          </a:prstGeom>
        </p:spPr>
        <p:txBody>
          <a:bodyPr/>
          <a:lstStyle>
            <a:lvl1pPr defTabSz="1161258">
              <a:lnSpc>
                <a:spcPct val="100000"/>
              </a:lnSpc>
              <a:spcBef>
                <a:spcPts val="0"/>
              </a:spcBef>
              <a:defRPr sz="4400" b="0" i="0">
                <a:solidFill>
                  <a:schemeClr val="tx1"/>
                </a:solidFill>
                <a:latin typeface="IBM Plex Sans Light" panose="020B0403050203000203" pitchFamily="34" charset="0"/>
              </a:defRPr>
            </a:lvl1pPr>
            <a:lvl2pPr defTabSz="1161258">
              <a:lnSpc>
                <a:spcPct val="100000"/>
              </a:lnSpc>
              <a:spcBef>
                <a:spcPts val="0"/>
              </a:spcBef>
              <a:defRPr sz="4400" b="0" i="0">
                <a:solidFill>
                  <a:schemeClr val="tx1"/>
                </a:solidFill>
                <a:latin typeface="IBM Plex Sans Light" panose="020B0403050203000203" pitchFamily="34" charset="0"/>
              </a:defRPr>
            </a:lvl2pPr>
            <a:lvl3pPr defTabSz="1161258">
              <a:lnSpc>
                <a:spcPct val="100000"/>
              </a:lnSpc>
              <a:spcBef>
                <a:spcPts val="0"/>
              </a:spcBef>
              <a:defRPr sz="4400" b="0" i="0">
                <a:solidFill>
                  <a:schemeClr val="tx1"/>
                </a:solidFill>
                <a:latin typeface="IBM Plex Sans Light" panose="020B0403050203000203" pitchFamily="34" charset="0"/>
              </a:defRPr>
            </a:lvl3pPr>
            <a:lvl4pPr defTabSz="1161258">
              <a:lnSpc>
                <a:spcPct val="100000"/>
              </a:lnSpc>
              <a:spcBef>
                <a:spcPts val="0"/>
              </a:spcBef>
              <a:defRPr sz="44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18847181" y="384051"/>
            <a:ext cx="4963924" cy="1525586"/>
          </a:xfrm>
          <a:prstGeom prst="rect">
            <a:avLst/>
          </a:prstGeom>
        </p:spPr>
        <p:txBody>
          <a:bodyPr/>
          <a:lstStyle>
            <a:lvl1pPr defTabSz="1161258">
              <a:lnSpc>
                <a:spcPct val="100000"/>
              </a:lnSpc>
              <a:spcBef>
                <a:spcPts val="0"/>
              </a:spcBef>
              <a:defRPr sz="4400" b="0" i="0">
                <a:solidFill>
                  <a:schemeClr val="tx1"/>
                </a:solidFill>
                <a:latin typeface="IBM Plex Sans Light" panose="020B0403050203000203" pitchFamily="34" charset="0"/>
              </a:defRPr>
            </a:lvl1pPr>
            <a:lvl2pPr defTabSz="1161258">
              <a:lnSpc>
                <a:spcPct val="100000"/>
              </a:lnSpc>
              <a:spcBef>
                <a:spcPts val="0"/>
              </a:spcBef>
              <a:defRPr sz="4400" b="0" i="0">
                <a:solidFill>
                  <a:schemeClr val="tx1"/>
                </a:solidFill>
                <a:latin typeface="IBM Plex Sans Light" panose="020B0403050203000203" pitchFamily="34" charset="0"/>
              </a:defRPr>
            </a:lvl2pPr>
            <a:lvl3pPr defTabSz="1161258">
              <a:lnSpc>
                <a:spcPct val="100000"/>
              </a:lnSpc>
              <a:spcBef>
                <a:spcPts val="0"/>
              </a:spcBef>
              <a:defRPr sz="4400" b="0" i="0">
                <a:solidFill>
                  <a:schemeClr val="tx1"/>
                </a:solidFill>
                <a:latin typeface="IBM Plex Sans Light" panose="020B0403050203000203" pitchFamily="34" charset="0"/>
              </a:defRPr>
            </a:lvl3pPr>
            <a:lvl4pPr defTabSz="1161258">
              <a:lnSpc>
                <a:spcPct val="100000"/>
              </a:lnSpc>
              <a:spcBef>
                <a:spcPts val="0"/>
              </a:spcBef>
              <a:defRPr sz="44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21413972"/>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5203"/>
            <a:ext cx="4949826" cy="4573586"/>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12787782" y="3429003"/>
            <a:ext cx="4963924" cy="8572498"/>
          </a:xfrm>
          <a:prstGeom prst="rect">
            <a:avLst/>
          </a:prstGeom>
        </p:spPr>
        <p:txBody>
          <a:bodyPr/>
          <a:lstStyle>
            <a:lvl1pPr defTabSz="1161258">
              <a:lnSpc>
                <a:spcPct val="100000"/>
              </a:lnSpc>
              <a:spcBef>
                <a:spcPts val="0"/>
              </a:spcBef>
              <a:defRPr sz="2800" b="0" i="0">
                <a:solidFill>
                  <a:schemeClr val="tx1"/>
                </a:solidFill>
                <a:latin typeface="IBM Plex Sans Light" panose="020B0403050203000203" pitchFamily="34" charset="0"/>
              </a:defRPr>
            </a:lvl1pPr>
            <a:lvl2pPr defTabSz="1161258">
              <a:lnSpc>
                <a:spcPct val="100000"/>
              </a:lnSpc>
              <a:spcBef>
                <a:spcPts val="0"/>
              </a:spcBef>
              <a:defRPr sz="2800" b="0" i="0">
                <a:solidFill>
                  <a:schemeClr val="tx1"/>
                </a:solidFill>
                <a:latin typeface="IBM Plex Sans Light" panose="020B0403050203000203" pitchFamily="34" charset="0"/>
              </a:defRPr>
            </a:lvl2pPr>
            <a:lvl3pPr defTabSz="1161258">
              <a:lnSpc>
                <a:spcPct val="100000"/>
              </a:lnSpc>
              <a:spcBef>
                <a:spcPts val="0"/>
              </a:spcBef>
              <a:defRPr sz="2800" b="0" i="0">
                <a:solidFill>
                  <a:schemeClr val="tx1"/>
                </a:solidFill>
                <a:latin typeface="IBM Plex Sans Light" panose="020B0403050203000203" pitchFamily="34" charset="0"/>
              </a:defRPr>
            </a:lvl3pPr>
            <a:lvl4pPr defTabSz="1161258">
              <a:lnSpc>
                <a:spcPct val="100000"/>
              </a:lnSpc>
              <a:spcBef>
                <a:spcPts val="0"/>
              </a:spcBef>
              <a:defRPr sz="28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18859502" y="3429005"/>
            <a:ext cx="4963924" cy="8572498"/>
          </a:xfrm>
          <a:prstGeom prst="rect">
            <a:avLst/>
          </a:prstGeom>
        </p:spPr>
        <p:txBody>
          <a:bodyPr/>
          <a:lstStyle>
            <a:lvl1pPr defTabSz="1161258">
              <a:lnSpc>
                <a:spcPct val="100000"/>
              </a:lnSpc>
              <a:spcBef>
                <a:spcPts val="0"/>
              </a:spcBef>
              <a:defRPr sz="2800" b="0" i="0">
                <a:solidFill>
                  <a:schemeClr val="tx1"/>
                </a:solidFill>
                <a:latin typeface="IBM Plex Sans Light" panose="020B0403050203000203" pitchFamily="34" charset="0"/>
              </a:defRPr>
            </a:lvl1pPr>
            <a:lvl2pPr defTabSz="1161258">
              <a:lnSpc>
                <a:spcPct val="100000"/>
              </a:lnSpc>
              <a:spcBef>
                <a:spcPts val="0"/>
              </a:spcBef>
              <a:defRPr sz="2800" b="0" i="0">
                <a:solidFill>
                  <a:schemeClr val="tx1"/>
                </a:solidFill>
                <a:latin typeface="IBM Plex Sans Light" panose="020B0403050203000203" pitchFamily="34" charset="0"/>
              </a:defRPr>
            </a:lvl2pPr>
            <a:lvl3pPr defTabSz="1161258">
              <a:lnSpc>
                <a:spcPct val="100000"/>
              </a:lnSpc>
              <a:spcBef>
                <a:spcPts val="0"/>
              </a:spcBef>
              <a:defRPr sz="2800" b="0" i="0">
                <a:solidFill>
                  <a:schemeClr val="tx1"/>
                </a:solidFill>
                <a:latin typeface="IBM Plex Sans Light" panose="020B0403050203000203" pitchFamily="34" charset="0"/>
              </a:defRPr>
            </a:lvl3pPr>
            <a:lvl4pPr defTabSz="1161258">
              <a:lnSpc>
                <a:spcPct val="100000"/>
              </a:lnSpc>
              <a:spcBef>
                <a:spcPts val="0"/>
              </a:spcBef>
              <a:defRPr sz="28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12787782" y="384051"/>
            <a:ext cx="4963924" cy="15255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18847181" y="384051"/>
            <a:ext cx="4963924" cy="15255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05509968"/>
      </p:ext>
    </p:extLst>
  </p:cSld>
  <p:clrMapOvr>
    <a:masterClrMapping/>
  </p:clrMapOvr>
  <p:transition spd="med"/>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9"/>
            <a:ext cx="4956175" cy="1141414"/>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5"/>
            <a:ext cx="1216152" cy="121446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4"/>
            <a:ext cx="1217845"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7999"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6667503"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12739224" y="3429001"/>
            <a:ext cx="4963924" cy="8572502"/>
          </a:xfrm>
          <a:prstGeom prst="rect">
            <a:avLst/>
          </a:prstGeom>
        </p:spPr>
        <p:txBody>
          <a:bodyPr/>
          <a:lstStyle>
            <a:lvl1pPr defTabSz="1161258">
              <a:lnSpc>
                <a:spcPct val="100000"/>
              </a:lnSpc>
              <a:spcBef>
                <a:spcPts val="0"/>
              </a:spcBef>
              <a:defRPr sz="2800" b="0" i="0">
                <a:solidFill>
                  <a:schemeClr val="tx1"/>
                </a:solidFill>
                <a:latin typeface="IBM Plex Sans Light" panose="020B0403050203000203" pitchFamily="34" charset="0"/>
              </a:defRPr>
            </a:lvl1pPr>
            <a:lvl2pPr defTabSz="1161258">
              <a:lnSpc>
                <a:spcPct val="100000"/>
              </a:lnSpc>
              <a:spcBef>
                <a:spcPts val="0"/>
              </a:spcBef>
              <a:defRPr sz="2800" b="0" i="0">
                <a:solidFill>
                  <a:schemeClr val="tx1"/>
                </a:solidFill>
                <a:latin typeface="IBM Plex Sans Light" panose="020B0403050203000203" pitchFamily="34" charset="0"/>
              </a:defRPr>
            </a:lvl2pPr>
            <a:lvl3pPr defTabSz="1161258">
              <a:lnSpc>
                <a:spcPct val="100000"/>
              </a:lnSpc>
              <a:spcBef>
                <a:spcPts val="0"/>
              </a:spcBef>
              <a:defRPr sz="2800" b="0" i="0">
                <a:solidFill>
                  <a:schemeClr val="tx1"/>
                </a:solidFill>
                <a:latin typeface="IBM Plex Sans Light" panose="020B0403050203000203" pitchFamily="34" charset="0"/>
              </a:defRPr>
            </a:lvl3pPr>
            <a:lvl4pPr defTabSz="1161258">
              <a:lnSpc>
                <a:spcPct val="100000"/>
              </a:lnSpc>
              <a:spcBef>
                <a:spcPts val="0"/>
              </a:spcBef>
              <a:defRPr sz="28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18859502" y="3429001"/>
            <a:ext cx="4963924" cy="8572502"/>
          </a:xfrm>
          <a:prstGeom prst="rect">
            <a:avLst/>
          </a:prstGeom>
        </p:spPr>
        <p:txBody>
          <a:bodyPr/>
          <a:lstStyle>
            <a:lvl1pPr defTabSz="1161258">
              <a:lnSpc>
                <a:spcPct val="100000"/>
              </a:lnSpc>
              <a:spcBef>
                <a:spcPts val="0"/>
              </a:spcBef>
              <a:defRPr sz="2800" b="0" i="0">
                <a:solidFill>
                  <a:schemeClr val="tx1"/>
                </a:solidFill>
                <a:latin typeface="IBM Plex Sans Light" panose="020B0403050203000203" pitchFamily="34" charset="0"/>
              </a:defRPr>
            </a:lvl1pPr>
            <a:lvl2pPr defTabSz="1161258">
              <a:lnSpc>
                <a:spcPct val="100000"/>
              </a:lnSpc>
              <a:spcBef>
                <a:spcPts val="0"/>
              </a:spcBef>
              <a:defRPr sz="2800" b="0" i="0">
                <a:solidFill>
                  <a:schemeClr val="tx1"/>
                </a:solidFill>
                <a:latin typeface="IBM Plex Sans Light" panose="020B0403050203000203" pitchFamily="34" charset="0"/>
              </a:defRPr>
            </a:lvl2pPr>
            <a:lvl3pPr defTabSz="1161258">
              <a:lnSpc>
                <a:spcPct val="100000"/>
              </a:lnSpc>
              <a:spcBef>
                <a:spcPts val="0"/>
              </a:spcBef>
              <a:defRPr sz="2800" b="0" i="0">
                <a:solidFill>
                  <a:schemeClr val="tx1"/>
                </a:solidFill>
                <a:latin typeface="IBM Plex Sans Light" panose="020B0403050203000203" pitchFamily="34" charset="0"/>
              </a:defRPr>
            </a:lvl3pPr>
            <a:lvl4pPr defTabSz="1161258">
              <a:lnSpc>
                <a:spcPct val="100000"/>
              </a:lnSpc>
              <a:spcBef>
                <a:spcPts val="0"/>
              </a:spcBef>
              <a:defRPr sz="28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87173292"/>
      </p:ext>
    </p:extLst>
  </p:cSld>
  <p:clrMapOvr>
    <a:masterClrMapping/>
  </p:clrMapOvr>
  <p:transition spd="med"/>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4"/>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560580" y="2456592"/>
            <a:ext cx="6670674" cy="3067904"/>
          </a:xfrm>
          <a:prstGeom prst="rect">
            <a:avLst/>
          </a:prstGeom>
        </p:spPr>
        <p:txBody>
          <a:bodyPr/>
          <a:lstStyle>
            <a:lvl1pPr defTabSz="1161258">
              <a:lnSpc>
                <a:spcPct val="100000"/>
              </a:lnSpc>
              <a:spcBef>
                <a:spcPts val="0"/>
              </a:spcBef>
              <a:defRPr sz="4400" b="0" i="0">
                <a:solidFill>
                  <a:schemeClr val="tx1"/>
                </a:solidFill>
                <a:latin typeface="IBM Plex Sans Light" panose="020B0403050203000203" pitchFamily="34" charset="0"/>
              </a:defRPr>
            </a:lvl1pPr>
            <a:lvl2pPr defTabSz="1161258">
              <a:lnSpc>
                <a:spcPct val="100000"/>
              </a:lnSpc>
              <a:spcBef>
                <a:spcPts val="0"/>
              </a:spcBef>
              <a:defRPr sz="4400" b="0" i="0">
                <a:solidFill>
                  <a:schemeClr val="tx1"/>
                </a:solidFill>
                <a:latin typeface="IBM Plex Sans Light" panose="020B0403050203000203" pitchFamily="34" charset="0"/>
              </a:defRPr>
            </a:lvl2pPr>
            <a:lvl3pPr defTabSz="1161258">
              <a:lnSpc>
                <a:spcPct val="100000"/>
              </a:lnSpc>
              <a:spcBef>
                <a:spcPts val="0"/>
              </a:spcBef>
              <a:defRPr sz="4400" b="0" i="0">
                <a:solidFill>
                  <a:schemeClr val="tx1"/>
                </a:solidFill>
                <a:latin typeface="IBM Plex Sans Light" panose="020B0403050203000203" pitchFamily="34" charset="0"/>
              </a:defRPr>
            </a:lvl3pPr>
            <a:lvl4pPr defTabSz="1161258">
              <a:lnSpc>
                <a:spcPct val="100000"/>
              </a:lnSpc>
              <a:spcBef>
                <a:spcPts val="0"/>
              </a:spcBef>
              <a:defRPr sz="44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12763505" y="2456595"/>
            <a:ext cx="6670674" cy="3067902"/>
          </a:xfrm>
          <a:prstGeom prst="rect">
            <a:avLst/>
          </a:prstGeom>
        </p:spPr>
        <p:txBody>
          <a:bodyPr/>
          <a:lstStyle>
            <a:lvl1pPr defTabSz="1161258">
              <a:lnSpc>
                <a:spcPct val="100000"/>
              </a:lnSpc>
              <a:spcBef>
                <a:spcPts val="0"/>
              </a:spcBef>
              <a:defRPr sz="4400" b="0" i="0">
                <a:solidFill>
                  <a:schemeClr val="tx1"/>
                </a:solidFill>
                <a:latin typeface="IBM Plex Sans Light" panose="020B0403050203000203" pitchFamily="34" charset="0"/>
              </a:defRPr>
            </a:lvl1pPr>
            <a:lvl2pPr defTabSz="1161258">
              <a:lnSpc>
                <a:spcPct val="100000"/>
              </a:lnSpc>
              <a:spcBef>
                <a:spcPts val="0"/>
              </a:spcBef>
              <a:defRPr sz="4400" b="0" i="0">
                <a:solidFill>
                  <a:schemeClr val="tx1"/>
                </a:solidFill>
                <a:latin typeface="IBM Plex Sans Light" panose="020B0403050203000203" pitchFamily="34" charset="0"/>
              </a:defRPr>
            </a:lvl2pPr>
            <a:lvl3pPr defTabSz="1161258">
              <a:lnSpc>
                <a:spcPct val="100000"/>
              </a:lnSpc>
              <a:spcBef>
                <a:spcPts val="0"/>
              </a:spcBef>
              <a:defRPr sz="4400" b="0" i="0">
                <a:solidFill>
                  <a:schemeClr val="tx1"/>
                </a:solidFill>
                <a:latin typeface="IBM Plex Sans Light" panose="020B0403050203000203" pitchFamily="34" charset="0"/>
              </a:defRPr>
            </a:lvl3pPr>
            <a:lvl4pPr defTabSz="1161258">
              <a:lnSpc>
                <a:spcPct val="100000"/>
              </a:lnSpc>
              <a:spcBef>
                <a:spcPts val="0"/>
              </a:spcBef>
              <a:defRPr sz="44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576078" y="8362098"/>
            <a:ext cx="6670674" cy="3067896"/>
          </a:xfrm>
          <a:prstGeom prst="rect">
            <a:avLst/>
          </a:prstGeom>
        </p:spPr>
        <p:txBody>
          <a:bodyPr/>
          <a:lstStyle>
            <a:lvl1pPr defTabSz="1161258">
              <a:lnSpc>
                <a:spcPct val="100000"/>
              </a:lnSpc>
              <a:spcBef>
                <a:spcPts val="0"/>
              </a:spcBef>
              <a:defRPr sz="4400" b="0" i="0">
                <a:solidFill>
                  <a:schemeClr val="tx1"/>
                </a:solidFill>
                <a:latin typeface="IBM Plex Sans Light" panose="020B0403050203000203" pitchFamily="34" charset="0"/>
              </a:defRPr>
            </a:lvl1pPr>
            <a:lvl2pPr defTabSz="1161258">
              <a:lnSpc>
                <a:spcPct val="100000"/>
              </a:lnSpc>
              <a:spcBef>
                <a:spcPts val="0"/>
              </a:spcBef>
              <a:defRPr sz="4400" b="0" i="0">
                <a:solidFill>
                  <a:schemeClr val="tx1"/>
                </a:solidFill>
                <a:latin typeface="IBM Plex Sans Light" panose="020B0403050203000203" pitchFamily="34" charset="0"/>
              </a:defRPr>
            </a:lvl2pPr>
            <a:lvl3pPr defTabSz="1161258">
              <a:lnSpc>
                <a:spcPct val="100000"/>
              </a:lnSpc>
              <a:spcBef>
                <a:spcPts val="0"/>
              </a:spcBef>
              <a:defRPr sz="4400" b="0" i="0">
                <a:solidFill>
                  <a:schemeClr val="tx1"/>
                </a:solidFill>
                <a:latin typeface="IBM Plex Sans Light" panose="020B0403050203000203" pitchFamily="34" charset="0"/>
              </a:defRPr>
            </a:lvl3pPr>
            <a:lvl4pPr defTabSz="1161258">
              <a:lnSpc>
                <a:spcPct val="100000"/>
              </a:lnSpc>
              <a:spcBef>
                <a:spcPts val="0"/>
              </a:spcBef>
              <a:defRPr sz="44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12778999" y="8362097"/>
            <a:ext cx="6670674" cy="3067894"/>
          </a:xfrm>
          <a:prstGeom prst="rect">
            <a:avLst/>
          </a:prstGeom>
        </p:spPr>
        <p:txBody>
          <a:bodyPr/>
          <a:lstStyle>
            <a:lvl1pPr defTabSz="1161258">
              <a:lnSpc>
                <a:spcPct val="100000"/>
              </a:lnSpc>
              <a:spcBef>
                <a:spcPts val="0"/>
              </a:spcBef>
              <a:defRPr sz="4400" b="0" i="0">
                <a:solidFill>
                  <a:schemeClr val="tx1"/>
                </a:solidFill>
                <a:latin typeface="IBM Plex Sans Light" panose="020B0403050203000203" pitchFamily="34" charset="0"/>
              </a:defRPr>
            </a:lvl1pPr>
            <a:lvl2pPr defTabSz="1161258">
              <a:lnSpc>
                <a:spcPct val="100000"/>
              </a:lnSpc>
              <a:spcBef>
                <a:spcPts val="0"/>
              </a:spcBef>
              <a:defRPr sz="4400" b="0" i="0">
                <a:solidFill>
                  <a:schemeClr val="tx1"/>
                </a:solidFill>
                <a:latin typeface="IBM Plex Sans Light" panose="020B0403050203000203" pitchFamily="34" charset="0"/>
              </a:defRPr>
            </a:lvl2pPr>
            <a:lvl3pPr defTabSz="1161258">
              <a:lnSpc>
                <a:spcPct val="100000"/>
              </a:lnSpc>
              <a:spcBef>
                <a:spcPts val="0"/>
              </a:spcBef>
              <a:defRPr sz="4400" b="0" i="0">
                <a:solidFill>
                  <a:schemeClr val="tx1"/>
                </a:solidFill>
                <a:latin typeface="IBM Plex Sans Light" panose="020B0403050203000203" pitchFamily="34" charset="0"/>
              </a:defRPr>
            </a:lvl3pPr>
            <a:lvl4pPr defTabSz="1161258">
              <a:lnSpc>
                <a:spcPct val="100000"/>
              </a:lnSpc>
              <a:spcBef>
                <a:spcPts val="0"/>
              </a:spcBef>
              <a:defRPr sz="44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5584607"/>
      </p:ext>
    </p:extLst>
  </p:cSld>
  <p:clrMapOvr>
    <a:masterClrMapping/>
  </p:clrMapOvr>
  <p:transition spd="med"/>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682498"/>
            <a:ext cx="5715000" cy="2276856"/>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1"/>
            <a:ext cx="4956175" cy="1141414"/>
          </a:xfrm>
          <a:prstGeom prst="rect">
            <a:avLst/>
          </a:prstGeom>
        </p:spPr>
        <p:txBody>
          <a:bodyPr/>
          <a:lstStyle>
            <a:lvl1pPr>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12728030" y="576077"/>
            <a:ext cx="4963924" cy="51450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18799751" y="576077"/>
            <a:ext cx="4963924" cy="51450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12728030" y="6667500"/>
            <a:ext cx="4963924" cy="495300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18799751" y="6667500"/>
            <a:ext cx="4963924" cy="495300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98219290"/>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33412524"/>
      </p:ext>
    </p:extLst>
  </p:cSld>
  <p:clrMapOvr>
    <a:masterClrMapping/>
  </p:clrMapOvr>
  <p:transition spd="med"/>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2"/>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0" y="576077"/>
            <a:ext cx="4963924" cy="51450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1" y="576077"/>
            <a:ext cx="4963924" cy="51450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0" y="6667500"/>
            <a:ext cx="4963924" cy="495300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1" y="6667500"/>
            <a:ext cx="4963924" cy="495300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96442561"/>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5203"/>
            <a:ext cx="4956175" cy="4573586"/>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12728030" y="6656834"/>
            <a:ext cx="4963924" cy="533424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18799751" y="6656834"/>
            <a:ext cx="4963924" cy="533424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560580" y="6656833"/>
            <a:ext cx="4963924" cy="533425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6632301" y="6656834"/>
            <a:ext cx="4963924" cy="533424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02329558"/>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51"/>
            <a:ext cx="11050589" cy="4573586"/>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12728030" y="6656834"/>
            <a:ext cx="4963924" cy="533424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18799751" y="6656834"/>
            <a:ext cx="4963924" cy="533424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560580" y="6656833"/>
            <a:ext cx="4963924" cy="533425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6632301" y="6656834"/>
            <a:ext cx="4963924" cy="533424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03769406"/>
      </p:ext>
    </p:extLst>
  </p:cSld>
  <p:clrMapOvr>
    <a:masterClrMapping/>
  </p:clrMapOvr>
  <p:transition spd="med"/>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1"/>
            <a:ext cx="4949826" cy="4573590"/>
          </a:xfrm>
        </p:spPr>
        <p:txBody>
          <a:bodyPr/>
          <a:lstStyle>
            <a:lvl1pPr>
              <a:lnSpc>
                <a:spcPct val="100000"/>
              </a:lnSpc>
              <a:defRPr sz="64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30" y="576077"/>
            <a:ext cx="4963924" cy="51450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1" y="576077"/>
            <a:ext cx="4963924" cy="51450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30" y="6667500"/>
            <a:ext cx="4963924" cy="495300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1" y="6667500"/>
            <a:ext cx="4963924" cy="495300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9" y="576075"/>
            <a:ext cx="4963924" cy="51450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9" y="6667499"/>
            <a:ext cx="4963924" cy="495299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7821"/>
      </p:ext>
    </p:extLst>
  </p:cSld>
  <p:clrMapOvr>
    <a:masterClrMapping/>
  </p:clrMapOvr>
  <p:transition spd="med"/>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385200"/>
            <a:ext cx="4949826"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3" y="57607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3" y="669463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5"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7999"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31"/>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12728030" y="1427413"/>
            <a:ext cx="4963924" cy="371608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18799751" y="1427413"/>
            <a:ext cx="4963924" cy="371607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12728030" y="7518834"/>
            <a:ext cx="4963924" cy="372065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18799751" y="7518837"/>
            <a:ext cx="4963924" cy="372065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6665979" y="1427408"/>
            <a:ext cx="4963924" cy="371608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6665979" y="7518837"/>
            <a:ext cx="4963924" cy="3720654"/>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88302295"/>
      </p:ext>
    </p:extLst>
  </p:cSld>
  <p:clrMapOvr>
    <a:masterClrMapping/>
  </p:clrMapOvr>
  <p:transition spd="med"/>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7999"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1"/>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12728030" y="576077"/>
            <a:ext cx="4963924" cy="51450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18799751" y="576077"/>
            <a:ext cx="4963924" cy="51450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12728030" y="6667500"/>
            <a:ext cx="4963924" cy="495300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18799751" y="6667500"/>
            <a:ext cx="4963924" cy="495300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574678" y="6665979"/>
            <a:ext cx="4963924" cy="4954514"/>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6665979" y="6667499"/>
            <a:ext cx="4963924" cy="495299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43312465"/>
      </p:ext>
    </p:extLst>
  </p:cSld>
  <p:clrMapOvr>
    <a:masterClrMapping/>
  </p:clrMapOvr>
  <p:transition spd="med"/>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5201"/>
            <a:ext cx="4949826" cy="3413126"/>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7999"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1"/>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552011" y="6665979"/>
            <a:ext cx="5026140" cy="4954514"/>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6659394" y="6665979"/>
            <a:ext cx="5026140" cy="495451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12725408" y="6701425"/>
            <a:ext cx="5026140" cy="491905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18791799" y="6665976"/>
            <a:ext cx="4978776" cy="495449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18812223" y="576077"/>
            <a:ext cx="4978776" cy="51450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12692373" y="576074"/>
            <a:ext cx="4978776" cy="514508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56708357"/>
      </p:ext>
    </p:extLst>
  </p:cSld>
  <p:clrMapOvr>
    <a:masterClrMapping/>
  </p:clrMapOvr>
  <p:transition spd="med"/>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7"/>
            <a:ext cx="11049000" cy="12574586"/>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3" y="3429001"/>
            <a:ext cx="4972489"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9" y="3429001"/>
            <a:ext cx="4972489"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23629039"/>
      </p:ext>
    </p:extLst>
  </p:cSld>
  <p:clrMapOvr>
    <a:masterClrMapping/>
  </p:clrMapOvr>
  <p:transition spd="med"/>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802" y="12904631"/>
            <a:ext cx="267701" cy="246222"/>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552013" y="3429001"/>
            <a:ext cx="4972489"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86785434"/>
      </p:ext>
    </p:extLst>
  </p:cSld>
  <p:clrMapOvr>
    <a:masterClrMapping/>
  </p:clrMapOvr>
  <p:transition spd="med"/>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802" y="12904631"/>
            <a:ext cx="267701" cy="246222"/>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3" y="565153"/>
            <a:ext cx="17151351" cy="125793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563070"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43807425"/>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560577" y="2456592"/>
            <a:ext cx="6670675" cy="3067904"/>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12763500" y="2456592"/>
            <a:ext cx="6670675" cy="3067901"/>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576073" y="8362096"/>
            <a:ext cx="6670675" cy="3067897"/>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12778996" y="8362096"/>
            <a:ext cx="6670675" cy="3067892"/>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80496384"/>
      </p:ext>
    </p:extLst>
  </p:cSld>
  <p:clrMapOvr>
    <a:masterClrMapping/>
  </p:clrMapOvr>
  <p:transition spd="med"/>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0" y="12904629"/>
            <a:ext cx="269341"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010203064"/>
      </p:ext>
    </p:extLst>
  </p:cSld>
  <p:clrMapOvr>
    <a:masterClrMapping/>
  </p:clrMapOvr>
  <p:transition spd="med"/>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0" y="12904629"/>
            <a:ext cx="269341"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4"/>
            <a:ext cx="23244176" cy="12580936"/>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188300782"/>
      </p:ext>
    </p:extLst>
  </p:cSld>
  <p:clrMapOvr>
    <a:masterClrMapping/>
  </p:clrMapOvr>
  <p:transition spd="med"/>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17123"/>
            <a:ext cx="2473324"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1"/>
            <a:ext cx="2473324"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18875"/>
            <a:ext cx="2473324" cy="2476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1"/>
            <a:ext cx="2473324"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1"/>
            <a:ext cx="2473324"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1"/>
            <a:ext cx="2473324"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12764901" y="6117123"/>
            <a:ext cx="2328217"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12764901" y="9525001"/>
            <a:ext cx="2328217"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12764901" y="2646073"/>
            <a:ext cx="2328217" cy="2476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3349625" y="2618877"/>
            <a:ext cx="5756495" cy="252462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3349625" y="6117126"/>
            <a:ext cx="5756495" cy="2460304"/>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3349623" y="9525000"/>
            <a:ext cx="5843619" cy="2460304"/>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12756888" y="6144323"/>
            <a:ext cx="2473324"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12756888" y="9552201"/>
            <a:ext cx="2473324"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12756888" y="2646073"/>
            <a:ext cx="2473324" cy="2476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12756889" y="6165249"/>
            <a:ext cx="2291074"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12756889" y="9573127"/>
            <a:ext cx="2291074"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12756889" y="2667001"/>
            <a:ext cx="2291074" cy="2476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15530439" y="2667003"/>
            <a:ext cx="5843619" cy="252462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15530439" y="6165250"/>
            <a:ext cx="5843619" cy="2460304"/>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15530439" y="9573128"/>
            <a:ext cx="5843619" cy="2460304"/>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21486332"/>
      </p:ext>
    </p:extLst>
  </p:cSld>
  <p:clrMapOvr>
    <a:masterClrMapping/>
  </p:clrMapOvr>
  <p:transition spd="med"/>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3"/>
            <a:ext cx="4949826" cy="4573586"/>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7"/>
            <a:ext cx="17145000" cy="11431586"/>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dirty="0"/>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64924194"/>
      </p:ext>
    </p:extLst>
  </p:cSld>
  <p:clrMapOvr>
    <a:masterClrMapping/>
  </p:clrMapOvr>
  <p:transition spd="med"/>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5200"/>
            <a:ext cx="4956175" cy="2859088"/>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4" y="569917"/>
            <a:ext cx="4952999" cy="11431586"/>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0" indent="-146300">
              <a:lnSpc>
                <a:spcPct val="120000"/>
              </a:lnSpc>
              <a:spcBef>
                <a:spcPts val="0"/>
              </a:spcBef>
              <a:defRPr sz="1600" b="0" i="0">
                <a:solidFill>
                  <a:schemeClr val="tx1"/>
                </a:solidFill>
                <a:latin typeface="IBM Plex Sans" panose="020B0503050203000203" pitchFamily="34" charset="0"/>
              </a:defRPr>
            </a:lvl2pPr>
            <a:lvl3pPr marL="292600" indent="-146300">
              <a:lnSpc>
                <a:spcPct val="120000"/>
              </a:lnSpc>
              <a:spcBef>
                <a:spcPts val="0"/>
              </a:spcBef>
              <a:defRPr sz="1600" b="0" i="0">
                <a:solidFill>
                  <a:schemeClr val="tx1"/>
                </a:solidFill>
                <a:latin typeface="IBM Plex Sans" panose="020B0503050203000203" pitchFamily="34" charset="0"/>
              </a:defRPr>
            </a:lvl3pPr>
            <a:lvl4pPr marL="438902" indent="-146300">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49053943"/>
      </p:ext>
    </p:extLst>
  </p:cSld>
  <p:clrMapOvr>
    <a:masterClrMapping/>
  </p:clrMapOvr>
  <p:transition spd="med"/>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2"/>
            <a:ext cx="4949826" cy="152704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20303498"/>
      </p:ext>
    </p:extLst>
  </p:cSld>
  <p:clrMapOvr>
    <a:masterClrMapping/>
  </p:clrMapOvr>
  <p:transition spd="med"/>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5200"/>
            <a:ext cx="4956175" cy="2859088"/>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4" y="569917"/>
            <a:ext cx="4952999" cy="11431586"/>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0" indent="-146300">
              <a:lnSpc>
                <a:spcPct val="120000"/>
              </a:lnSpc>
              <a:spcBef>
                <a:spcPts val="0"/>
              </a:spcBef>
              <a:defRPr sz="1600" b="0" i="0">
                <a:solidFill>
                  <a:schemeClr val="tx1"/>
                </a:solidFill>
                <a:latin typeface="IBM Plex Sans" panose="020B0503050203000203" pitchFamily="34" charset="0"/>
              </a:defRPr>
            </a:lvl2pPr>
            <a:lvl3pPr marL="292600" indent="-146300">
              <a:lnSpc>
                <a:spcPct val="120000"/>
              </a:lnSpc>
              <a:spcBef>
                <a:spcPts val="0"/>
              </a:spcBef>
              <a:defRPr sz="1600" b="0" i="0">
                <a:solidFill>
                  <a:schemeClr val="tx1"/>
                </a:solidFill>
                <a:latin typeface="IBM Plex Sans" panose="020B0503050203000203" pitchFamily="34" charset="0"/>
              </a:defRPr>
            </a:lvl3pPr>
            <a:lvl4pPr marL="438902" indent="-146300">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7" y="12804778"/>
            <a:ext cx="4956175" cy="381000"/>
          </a:xfrm>
        </p:spPr>
        <p:txBody>
          <a:bodyPr/>
          <a:lstStyle>
            <a:lvl1pPr>
              <a:defRPr b="0" i="0">
                <a:latin typeface="IBM Plex Sans Light" panose="020B0403050203000203" pitchFamily="34" charset="0"/>
              </a:defRPr>
            </a:lvl1p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3" y="569917"/>
            <a:ext cx="4952999" cy="11431586"/>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0" indent="-146300">
              <a:lnSpc>
                <a:spcPct val="120000"/>
              </a:lnSpc>
              <a:spcBef>
                <a:spcPts val="0"/>
              </a:spcBef>
              <a:defRPr sz="1600" b="0" i="0">
                <a:solidFill>
                  <a:schemeClr val="tx1"/>
                </a:solidFill>
                <a:latin typeface="IBM Plex Sans" panose="020B0503050203000203" pitchFamily="34" charset="0"/>
              </a:defRPr>
            </a:lvl2pPr>
            <a:lvl3pPr marL="292600" indent="-146300">
              <a:lnSpc>
                <a:spcPct val="120000"/>
              </a:lnSpc>
              <a:spcBef>
                <a:spcPts val="0"/>
              </a:spcBef>
              <a:defRPr sz="1600" b="0" i="0">
                <a:solidFill>
                  <a:schemeClr val="tx1"/>
                </a:solidFill>
                <a:latin typeface="IBM Plex Sans" panose="020B0503050203000203" pitchFamily="34" charset="0"/>
              </a:defRPr>
            </a:lvl3pPr>
            <a:lvl4pPr marL="438902" indent="-146300">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67103364"/>
      </p:ext>
    </p:extLst>
  </p:cSld>
  <p:clrMapOvr>
    <a:masterClrMapping/>
  </p:clrMapOvr>
  <p:transition spd="med"/>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4" y="6168462"/>
            <a:ext cx="3456432" cy="1379080"/>
          </a:xfrm>
          <a:prstGeom prst="rect">
            <a:avLst/>
          </a:prstGeom>
        </p:spPr>
      </p:pic>
    </p:spTree>
    <p:extLst>
      <p:ext uri="{BB962C8B-B14F-4D97-AF65-F5344CB8AC3E}">
        <p14:creationId xmlns:p14="http://schemas.microsoft.com/office/powerpoint/2010/main" val="1517377395"/>
      </p:ext>
    </p:extLst>
  </p:cSld>
  <p:clrMapOvr>
    <a:masterClrMapping/>
  </p:clrMapOvr>
  <p:transition spd="med"/>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56051A-7070-4A47-EFBE-24145D71DD13}"/>
              </a:ext>
            </a:extLst>
          </p:cNvPr>
          <p:cNvSpPr>
            <a:spLocks noGrp="1"/>
          </p:cNvSpPr>
          <p:nvPr>
            <p:ph type="ctrTitle"/>
          </p:nvPr>
        </p:nvSpPr>
        <p:spPr>
          <a:xfrm>
            <a:off x="3048397" y="2244726"/>
            <a:ext cx="18290381" cy="4775200"/>
          </a:xfrm>
        </p:spPr>
        <p:txBody>
          <a:bodyPr anchor="b"/>
          <a:lstStyle>
            <a:lvl1pPr algn="ctr">
              <a:defRPr sz="12000"/>
            </a:lvl1pPr>
          </a:lstStyle>
          <a:p>
            <a:r>
              <a:rPr lang="en-US"/>
              <a:t>Click to edit Master title style</a:t>
            </a:r>
          </a:p>
        </p:txBody>
      </p:sp>
      <p:sp>
        <p:nvSpPr>
          <p:cNvPr id="3" name="Subtitle 2">
            <a:extLst>
              <a:ext uri="{FF2B5EF4-FFF2-40B4-BE49-F238E27FC236}">
                <a16:creationId xmlns:a16="http://schemas.microsoft.com/office/drawing/2014/main" id="{2CE85AA7-7F71-DEA5-42E8-4903F04E7EB3}"/>
              </a:ext>
            </a:extLst>
          </p:cNvPr>
          <p:cNvSpPr>
            <a:spLocks noGrp="1"/>
          </p:cNvSpPr>
          <p:nvPr>
            <p:ph type="subTitle" idx="1"/>
          </p:nvPr>
        </p:nvSpPr>
        <p:spPr>
          <a:xfrm>
            <a:off x="3048397" y="7204075"/>
            <a:ext cx="18290381" cy="3311526"/>
          </a:xfrm>
        </p:spPr>
        <p:txBody>
          <a:bodyPr/>
          <a:lstStyle>
            <a:lvl1pPr marL="0" indent="0" algn="ctr">
              <a:buNone/>
              <a:defRPr sz="4800"/>
            </a:lvl1pPr>
            <a:lvl2pPr marL="914378" indent="0" algn="ctr">
              <a:buNone/>
              <a:defRPr sz="4000"/>
            </a:lvl2pPr>
            <a:lvl3pPr marL="1828754" indent="0" algn="ctr">
              <a:buNone/>
              <a:defRPr sz="3600"/>
            </a:lvl3pPr>
            <a:lvl4pPr marL="2743132" indent="0" algn="ctr">
              <a:buNone/>
              <a:defRPr sz="3200"/>
            </a:lvl4pPr>
            <a:lvl5pPr marL="3657508" indent="0" algn="ctr">
              <a:buNone/>
              <a:defRPr sz="3200"/>
            </a:lvl5pPr>
            <a:lvl6pPr marL="4571886" indent="0" algn="ctr">
              <a:buNone/>
              <a:defRPr sz="3200"/>
            </a:lvl6pPr>
            <a:lvl7pPr marL="5486262" indent="0" algn="ctr">
              <a:buNone/>
              <a:defRPr sz="3200"/>
            </a:lvl7pPr>
            <a:lvl8pPr marL="6400640" indent="0" algn="ctr">
              <a:buNone/>
              <a:defRPr sz="3200"/>
            </a:lvl8pPr>
            <a:lvl9pPr marL="7315018" indent="0" algn="ctr">
              <a:buNone/>
              <a:defRPr sz="3200"/>
            </a:lvl9pPr>
          </a:lstStyle>
          <a:p>
            <a:r>
              <a:rPr lang="en-US"/>
              <a:t>Click to edit Master subtitle style</a:t>
            </a:r>
          </a:p>
        </p:txBody>
      </p:sp>
      <p:sp>
        <p:nvSpPr>
          <p:cNvPr id="4" name="Date Placeholder 3">
            <a:extLst>
              <a:ext uri="{FF2B5EF4-FFF2-40B4-BE49-F238E27FC236}">
                <a16:creationId xmlns:a16="http://schemas.microsoft.com/office/drawing/2014/main" id="{9B952648-C764-2DDA-FDEB-508616D6293E}"/>
              </a:ext>
            </a:extLst>
          </p:cNvPr>
          <p:cNvSpPr>
            <a:spLocks noGrp="1"/>
          </p:cNvSpPr>
          <p:nvPr>
            <p:ph type="dt" sz="half" idx="10"/>
          </p:nvPr>
        </p:nvSpPr>
        <p:spPr/>
        <p:txBody>
          <a:bodyPr/>
          <a:lstStyle/>
          <a:p>
            <a:fld id="{4DA9FB3A-20F2-4737-8930-EDC33376DF83}" type="datetimeFigureOut">
              <a:rPr lang="en-US" smtClean="0"/>
              <a:t>3/28/24</a:t>
            </a:fld>
            <a:endParaRPr lang="en-US"/>
          </a:p>
        </p:txBody>
      </p:sp>
      <p:sp>
        <p:nvSpPr>
          <p:cNvPr id="5" name="Footer Placeholder 4">
            <a:extLst>
              <a:ext uri="{FF2B5EF4-FFF2-40B4-BE49-F238E27FC236}">
                <a16:creationId xmlns:a16="http://schemas.microsoft.com/office/drawing/2014/main" id="{834FAE88-2D96-10AA-7FE6-2C006C89DE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8A14FC-FEE1-0D6A-293C-1318A7DA4FC2}"/>
              </a:ext>
            </a:extLst>
          </p:cNvPr>
          <p:cNvSpPr>
            <a:spLocks noGrp="1"/>
          </p:cNvSpPr>
          <p:nvPr>
            <p:ph type="sldNum" sz="quarter" idx="12"/>
          </p:nvPr>
        </p:nvSpPr>
        <p:spPr/>
        <p:txBody>
          <a:bodyPr/>
          <a:lstStyle/>
          <a:p>
            <a:fld id="{CBCEE2DB-2DD7-42AB-A155-F98573B93BB8}" type="slidenum">
              <a:rPr lang="en-US" smtClean="0"/>
              <a:t>‹#›</a:t>
            </a:fld>
            <a:endParaRPr lang="en-US"/>
          </a:p>
        </p:txBody>
      </p:sp>
    </p:spTree>
    <p:extLst>
      <p:ext uri="{BB962C8B-B14F-4D97-AF65-F5344CB8AC3E}">
        <p14:creationId xmlns:p14="http://schemas.microsoft.com/office/powerpoint/2010/main" val="336024338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2_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28" indent="-255928">
              <a:lnSpc>
                <a:spcPct val="110000"/>
              </a:lnSpc>
              <a:spcBef>
                <a:spcPts val="0"/>
              </a:spcBef>
              <a:defRPr sz="2800" b="0" i="0">
                <a:solidFill>
                  <a:schemeClr val="tx1"/>
                </a:solidFill>
                <a:latin typeface="IBM Plex Sans Light" panose="020B0403050203000203" pitchFamily="34" charset="0"/>
              </a:defRPr>
            </a:lvl2pPr>
            <a:lvl3pPr marL="511860" indent="-255928">
              <a:lnSpc>
                <a:spcPct val="110000"/>
              </a:lnSpc>
              <a:spcBef>
                <a:spcPts val="0"/>
              </a:spcBef>
              <a:defRPr sz="2800" b="0" i="0">
                <a:solidFill>
                  <a:schemeClr val="tx1"/>
                </a:solidFill>
                <a:latin typeface="IBM Plex Sans Light" panose="020B0403050203000203" pitchFamily="34" charset="0"/>
              </a:defRPr>
            </a:lvl3pPr>
            <a:lvl4pPr marL="767788" indent="-2559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28" indent="-255928">
              <a:lnSpc>
                <a:spcPct val="110000"/>
              </a:lnSpc>
              <a:spcBef>
                <a:spcPts val="0"/>
              </a:spcBef>
              <a:defRPr sz="2800" b="0" i="0">
                <a:solidFill>
                  <a:schemeClr val="tx1"/>
                </a:solidFill>
                <a:latin typeface="IBM Plex Sans Light" panose="020B0403050203000203" pitchFamily="34" charset="0"/>
              </a:defRPr>
            </a:lvl2pPr>
            <a:lvl3pPr marL="511860" indent="-255928">
              <a:lnSpc>
                <a:spcPct val="110000"/>
              </a:lnSpc>
              <a:spcBef>
                <a:spcPts val="0"/>
              </a:spcBef>
              <a:defRPr sz="2800" b="0" i="0">
                <a:solidFill>
                  <a:schemeClr val="tx1"/>
                </a:solidFill>
                <a:latin typeface="IBM Plex Sans Light" panose="020B0403050203000203" pitchFamily="34" charset="0"/>
              </a:defRPr>
            </a:lvl3pPr>
            <a:lvl4pPr marL="767788" indent="-2559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28" indent="-255928">
              <a:lnSpc>
                <a:spcPct val="110000"/>
              </a:lnSpc>
              <a:spcBef>
                <a:spcPts val="0"/>
              </a:spcBef>
              <a:defRPr sz="2800" b="0" i="0">
                <a:solidFill>
                  <a:schemeClr val="tx1"/>
                </a:solidFill>
                <a:latin typeface="IBM Plex Sans Light" panose="020B0403050203000203" pitchFamily="34" charset="0"/>
              </a:defRPr>
            </a:lvl2pPr>
            <a:lvl3pPr marL="511860" indent="-255928">
              <a:lnSpc>
                <a:spcPct val="110000"/>
              </a:lnSpc>
              <a:spcBef>
                <a:spcPts val="0"/>
              </a:spcBef>
              <a:defRPr sz="2800" b="0" i="0">
                <a:solidFill>
                  <a:schemeClr val="tx1"/>
                </a:solidFill>
                <a:latin typeface="IBM Plex Sans Light" panose="020B0403050203000203" pitchFamily="34" charset="0"/>
              </a:defRPr>
            </a:lvl3pPr>
            <a:lvl4pPr marL="767788" indent="-2559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28" indent="-255928">
              <a:lnSpc>
                <a:spcPct val="110000"/>
              </a:lnSpc>
              <a:spcBef>
                <a:spcPts val="0"/>
              </a:spcBef>
              <a:defRPr sz="2800" b="0" i="0">
                <a:solidFill>
                  <a:schemeClr val="tx1"/>
                </a:solidFill>
                <a:latin typeface="IBM Plex Sans Light" panose="020B0403050203000203" pitchFamily="34" charset="0"/>
              </a:defRPr>
            </a:lvl2pPr>
            <a:lvl3pPr marL="511860" indent="-255928">
              <a:lnSpc>
                <a:spcPct val="110000"/>
              </a:lnSpc>
              <a:spcBef>
                <a:spcPts val="0"/>
              </a:spcBef>
              <a:defRPr sz="2800" b="0" i="0">
                <a:solidFill>
                  <a:schemeClr val="tx1"/>
                </a:solidFill>
                <a:latin typeface="IBM Plex Sans Light" panose="020B0403050203000203" pitchFamily="34" charset="0"/>
              </a:defRPr>
            </a:lvl3pPr>
            <a:lvl4pPr marL="767788" indent="-2559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28" indent="-255928">
              <a:lnSpc>
                <a:spcPct val="110000"/>
              </a:lnSpc>
              <a:spcBef>
                <a:spcPts val="0"/>
              </a:spcBef>
              <a:defRPr sz="2800" b="0" i="0">
                <a:solidFill>
                  <a:schemeClr val="tx1"/>
                </a:solidFill>
                <a:latin typeface="IBM Plex Sans Light" panose="020B0403050203000203" pitchFamily="34" charset="0"/>
              </a:defRPr>
            </a:lvl2pPr>
            <a:lvl3pPr marL="511860" indent="-255928">
              <a:lnSpc>
                <a:spcPct val="110000"/>
              </a:lnSpc>
              <a:spcBef>
                <a:spcPts val="0"/>
              </a:spcBef>
              <a:defRPr sz="2800" b="0" i="0">
                <a:solidFill>
                  <a:schemeClr val="tx1"/>
                </a:solidFill>
                <a:latin typeface="IBM Plex Sans Light" panose="020B0403050203000203" pitchFamily="34" charset="0"/>
              </a:defRPr>
            </a:lvl3pPr>
            <a:lvl4pPr marL="767788" indent="-2559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28" indent="-255928">
              <a:lnSpc>
                <a:spcPct val="110000"/>
              </a:lnSpc>
              <a:spcBef>
                <a:spcPts val="0"/>
              </a:spcBef>
              <a:defRPr sz="2800" b="0" i="0">
                <a:solidFill>
                  <a:schemeClr val="tx1"/>
                </a:solidFill>
                <a:latin typeface="IBM Plex Sans Light" panose="020B0403050203000203" pitchFamily="34" charset="0"/>
              </a:defRPr>
            </a:lvl2pPr>
            <a:lvl3pPr marL="511860" indent="-255928">
              <a:lnSpc>
                <a:spcPct val="110000"/>
              </a:lnSpc>
              <a:spcBef>
                <a:spcPts val="0"/>
              </a:spcBef>
              <a:defRPr sz="2800" b="0" i="0">
                <a:solidFill>
                  <a:schemeClr val="tx1"/>
                </a:solidFill>
                <a:latin typeface="IBM Plex Sans Light" panose="020B0403050203000203" pitchFamily="34" charset="0"/>
              </a:defRPr>
            </a:lvl3pPr>
            <a:lvl4pPr marL="767788" indent="-2559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dirty="0"/>
              <a:t>Group Name / DOC ID / Month XX, 2022 / © 2022 IBM Corporation</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80969576"/>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0"/>
            <a:ext cx="4956175" cy="1141412"/>
          </a:xfrm>
          <a:prstGeom prst="rect">
            <a:avLst/>
          </a:prstGeom>
        </p:spPr>
        <p:txBody>
          <a:bodyPr/>
          <a:lstStyle>
            <a:lvl1pPr>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0433241"/>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0"/>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91810613"/>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2224878651"/>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5200"/>
            <a:ext cx="4956175" cy="4573587"/>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1272802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1879974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560577" y="6656832"/>
            <a:ext cx="4963923" cy="533425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6632297"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54362297"/>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1272802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1879974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560577" y="6656832"/>
            <a:ext cx="4963923" cy="533425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6632297"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57828484"/>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4573588"/>
          </a:xfrm>
        </p:spPr>
        <p:txBody>
          <a:bodyPr/>
          <a:lstStyle>
            <a:lvl1pPr>
              <a:lnSpc>
                <a:spcPct val="100000"/>
              </a:lnSpc>
              <a:defRPr sz="64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6" y="576072"/>
            <a:ext cx="4963923" cy="5145084"/>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6" y="6667498"/>
            <a:ext cx="4963923" cy="4952998"/>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56056091"/>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385200"/>
            <a:ext cx="4949825" cy="28590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12728028" y="1427410"/>
            <a:ext cx="4963923" cy="3716082"/>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18799748" y="1427410"/>
            <a:ext cx="4963923" cy="371607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12728028" y="7518835"/>
            <a:ext cx="4963923" cy="372065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18799748" y="7518835"/>
            <a:ext cx="4963923" cy="3720651"/>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6665976" y="1427408"/>
            <a:ext cx="4963923" cy="3716081"/>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6665976" y="7518834"/>
            <a:ext cx="4963923" cy="3720653"/>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54205542"/>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574675" y="6665976"/>
            <a:ext cx="4963923" cy="4954514"/>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6665976" y="6667498"/>
            <a:ext cx="4963923" cy="4952998"/>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84512172"/>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5200"/>
            <a:ext cx="4949825" cy="3413126"/>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552009" y="6665975"/>
            <a:ext cx="5026139" cy="495451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6659393" y="6665975"/>
            <a:ext cx="5026139" cy="495450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12725407" y="6701421"/>
            <a:ext cx="5026139" cy="491905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18791798" y="6665975"/>
            <a:ext cx="4978776" cy="495449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18812222" y="576073"/>
            <a:ext cx="4978776"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12692373" y="576073"/>
            <a:ext cx="4978776" cy="514507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1212167"/>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0" y="3429000"/>
            <a:ext cx="4972490"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7" y="3429000"/>
            <a:ext cx="4972490"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24836230"/>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8" y="12904628"/>
            <a:ext cx="267702" cy="24622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552010" y="3429000"/>
            <a:ext cx="4972490"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30154425"/>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8" y="12904628"/>
            <a:ext cx="267702" cy="24622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563069"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7768506"/>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066270910"/>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a:prstGeom prst="rect">
            <a:avLst/>
          </a:prstGeom>
        </p:spPr>
        <p:txBody>
          <a:bodyPr anchor="b"/>
          <a:lstStyle>
            <a:lvl1pPr>
              <a:lnSpc>
                <a:spcPct val="100000"/>
              </a:lnSpc>
              <a:spcBef>
                <a:spcPts val="0"/>
              </a:spcBef>
              <a:defRPr sz="36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817174950"/>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7694905"/>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17123"/>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18874"/>
            <a:ext cx="2473325"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12764898" y="6117123"/>
            <a:ext cx="2328218"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12764898" y="9525000"/>
            <a:ext cx="2328218"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12764898" y="2646074"/>
            <a:ext cx="2328218"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3349623" y="2618874"/>
            <a:ext cx="5756496" cy="252462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3349623" y="6117123"/>
            <a:ext cx="5756496"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3349623" y="9525000"/>
            <a:ext cx="5843620"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12756886" y="6144323"/>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12756886" y="95522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12756886" y="2646074"/>
            <a:ext cx="2473325"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12756886" y="6165249"/>
            <a:ext cx="229107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12756886" y="9573126"/>
            <a:ext cx="229107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12756886" y="2667000"/>
            <a:ext cx="2291075"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15530437" y="2667000"/>
            <a:ext cx="5843620" cy="252462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15530437" y="6165249"/>
            <a:ext cx="5843620"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15530437" y="9573126"/>
            <a:ext cx="5843620"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36719277"/>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45735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dirty="0"/>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8229029"/>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5200"/>
            <a:ext cx="4956175" cy="2859087"/>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86187956"/>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704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9605039"/>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5200"/>
            <a:ext cx="4956175" cy="2859087"/>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lvl1pPr>
              <a:defRPr b="0" i="0">
                <a:latin typeface="IBM Plex Sans Light" panose="020B0403050203000203" pitchFamily="34" charset="0"/>
              </a:defRPr>
            </a:lvl1p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196161"/>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4195384914"/>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x">
  <p:cSld name="4_Text, 4 columns ">
    <p:spTree>
      <p:nvGrpSpPr>
        <p:cNvPr id="1" name=""/>
        <p:cNvGrpSpPr/>
        <p:nvPr/>
      </p:nvGrpSpPr>
      <p:grpSpPr>
        <a:xfrm>
          <a:off x="0" y="0"/>
          <a:ext cx="0" cy="0"/>
          <a:chOff x="0" y="0"/>
          <a:chExt cx="0" cy="0"/>
        </a:xfrm>
      </p:grpSpPr>
      <p:sp>
        <p:nvSpPr>
          <p:cNvPr id="185" name="幻灯片编号"/>
          <p:cNvSpPr txBox="1">
            <a:spLocks noGrp="1"/>
          </p:cNvSpPr>
          <p:nvPr>
            <p:ph type="sldNum" sz="quarter" idx="2"/>
          </p:nvPr>
        </p:nvSpPr>
        <p:spPr>
          <a:xfrm>
            <a:off x="23544693" y="12951799"/>
            <a:ext cx="270907" cy="246222"/>
          </a:xfrm>
          <a:prstGeom prst="rect">
            <a:avLst/>
          </a:prstGeom>
        </p:spPr>
        <p:txBody>
          <a:bodyPr/>
          <a:lstStyle/>
          <a:p>
            <a:fld id="{86CB4B4D-7CA3-9044-876B-883B54F8677D}" type="slidenum">
              <a:rPr/>
              <a:t>‹#›</a:t>
            </a:fld>
            <a:endParaRPr/>
          </a:p>
        </p:txBody>
      </p:sp>
      <p:sp>
        <p:nvSpPr>
          <p:cNvPr id="186" name="Text Placeholder 3"/>
          <p:cNvSpPr>
            <a:spLocks noGrp="1"/>
          </p:cNvSpPr>
          <p:nvPr>
            <p:ph type="body" sz="quarter" idx="21"/>
          </p:nvPr>
        </p:nvSpPr>
        <p:spPr>
          <a:xfrm>
            <a:off x="6668371" y="3429000"/>
            <a:ext cx="4952059"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Efficitur scelerisque velit. Vestibulum viverra, ante ac placerat pulvinar, erat risus pellentesque urna, ac posuere nibh nulla eu mi. Fusce scelerisque ultrices eros quis dignissim. Pellentesque mollis nibh at nibh imperdiet, sed ullamcorper velit posuere. Integer et velit blandit.</a:t>
            </a:r>
          </a:p>
        </p:txBody>
      </p:sp>
      <p:sp>
        <p:nvSpPr>
          <p:cNvPr id="187" name="Text Placeholder 4"/>
          <p:cNvSpPr>
            <a:spLocks noGrp="1"/>
          </p:cNvSpPr>
          <p:nvPr>
            <p:ph type="body" sz="quarter" idx="22"/>
          </p:nvPr>
        </p:nvSpPr>
        <p:spPr>
          <a:xfrm>
            <a:off x="12765163" y="3429000"/>
            <a:ext cx="4953645"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b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88" name="Text Placeholder 5"/>
          <p:cNvSpPr>
            <a:spLocks noGrp="1"/>
          </p:cNvSpPr>
          <p:nvPr>
            <p:ph type="body" sz="quarter" idx="23"/>
          </p:nvPr>
        </p:nvSpPr>
        <p:spPr>
          <a:xfrm>
            <a:off x="18861959" y="3429000"/>
            <a:ext cx="4959996"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a:t>
            </a:r>
          </a:p>
        </p:txBody>
      </p:sp>
      <p:sp>
        <p:nvSpPr>
          <p:cNvPr id="189" name="Title 1"/>
          <p:cNvSpPr txBox="1">
            <a:spLocks noGrp="1"/>
          </p:cNvSpPr>
          <p:nvPr>
            <p:ph type="body" sz="quarter" idx="24"/>
          </p:nvPr>
        </p:nvSpPr>
        <p:spPr>
          <a:xfrm>
            <a:off x="567006" y="569917"/>
            <a:ext cx="4950471" cy="1525590"/>
          </a:xfrm>
          <a:prstGeom prst="rect">
            <a:avLst/>
          </a:prstGeom>
        </p:spPr>
        <p:txBody>
          <a:bodyPr/>
          <a:lstStyle>
            <a:lvl1pPr>
              <a:defRPr sz="2800"/>
            </a:lvl1pPr>
          </a:lstStyle>
          <a:p>
            <a:r>
              <a:t>28/36/44pt short headline, 3 lines maximum, sentence case</a:t>
            </a:r>
          </a:p>
        </p:txBody>
      </p:sp>
      <p:sp>
        <p:nvSpPr>
          <p:cNvPr id="190" name="Text Placeholder 2"/>
          <p:cNvSpPr txBox="1">
            <a:spLocks noGrp="1"/>
          </p:cNvSpPr>
          <p:nvPr>
            <p:ph type="body" sz="quarter" idx="25"/>
          </p:nvPr>
        </p:nvSpPr>
        <p:spPr>
          <a:xfrm>
            <a:off x="568403" y="3429000"/>
            <a:ext cx="4956819"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91" name="Footer Placeholder 4"/>
          <p:cNvSpPr txBox="1">
            <a:spLocks noGrp="1"/>
          </p:cNvSpPr>
          <p:nvPr>
            <p:ph type="body" sz="quarter" idx="26"/>
          </p:nvPr>
        </p:nvSpPr>
        <p:spPr>
          <a:xfrm>
            <a:off x="568401" y="12942156"/>
            <a:ext cx="8570442" cy="259752"/>
          </a:xfrm>
          <a:prstGeom prst="rect">
            <a:avLst/>
          </a:prstGeom>
        </p:spPr>
        <p:txBody>
          <a:bodyPr anchor="b">
            <a:spAutoFit/>
          </a:bodyPr>
          <a:lstStyle>
            <a:lvl1pPr defTabSz="1828465">
              <a:lnSpc>
                <a:spcPct val="110000"/>
              </a:lnSpc>
              <a:defRPr sz="1600">
                <a:latin typeface="+mj-lt"/>
                <a:ea typeface="+mj-ea"/>
                <a:cs typeface="+mj-cs"/>
                <a:sym typeface="IBM Plex Sans"/>
              </a:defRPr>
            </a:lvl1pPr>
          </a:lstStyle>
          <a:p>
            <a:r>
              <a:t>Footer text (optional)</a:t>
            </a:r>
          </a:p>
        </p:txBody>
      </p:sp>
    </p:spTree>
    <p:extLst>
      <p:ext uri="{BB962C8B-B14F-4D97-AF65-F5344CB8AC3E}">
        <p14:creationId xmlns:p14="http://schemas.microsoft.com/office/powerpoint/2010/main" val="351250259"/>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pic>
        <p:nvPicPr>
          <p:cNvPr id="6" name="Picture"/>
          <p:cNvPicPr>
            <a:picLocks noChangeAspect="1"/>
          </p:cNvPicPr>
          <p:nvPr/>
        </p:nvPicPr>
        <p:blipFill>
          <a:blip r:embed="rId2"/>
          <a:srcRect/>
          <a:stretch/>
        </p:blipFill>
        <p:spPr>
          <a:xfrm>
            <a:off x="22386423" y="12547345"/>
            <a:ext cx="1391079" cy="554954"/>
          </a:xfrm>
          <a:prstGeom prst="rect">
            <a:avLst/>
          </a:prstGeom>
        </p:spPr>
      </p:pic>
    </p:spTree>
    <p:extLst>
      <p:ext uri="{BB962C8B-B14F-4D97-AF65-F5344CB8AC3E}">
        <p14:creationId xmlns:p14="http://schemas.microsoft.com/office/powerpoint/2010/main" val="28381798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38" y="1220"/>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p:nvPicPr>
        <p:blipFill>
          <a:blip r:embed="rId3"/>
          <a:srcRect/>
          <a:stretch/>
        </p:blipFill>
        <p:spPr>
          <a:xfrm>
            <a:off x="22386423" y="12547345"/>
            <a:ext cx="1391079" cy="554954"/>
          </a:xfrm>
          <a:prstGeom prst="rect">
            <a:avLst/>
          </a:prstGeom>
        </p:spPr>
      </p:pic>
    </p:spTree>
    <p:extLst>
      <p:ext uri="{BB962C8B-B14F-4D97-AF65-F5344CB8AC3E}">
        <p14:creationId xmlns:p14="http://schemas.microsoft.com/office/powerpoint/2010/main" val="19983352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4152614004"/>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38" y="1221"/>
            <a:ext cx="24359299"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p:nvPicPr>
        <p:blipFill>
          <a:blip r:embed="rId3"/>
          <a:srcRect/>
          <a:stretch/>
        </p:blipFill>
        <p:spPr>
          <a:xfrm>
            <a:off x="22386423" y="12547345"/>
            <a:ext cx="1391079" cy="554954"/>
          </a:xfrm>
          <a:prstGeom prst="rect">
            <a:avLst/>
          </a:prstGeom>
        </p:spPr>
      </p:pic>
    </p:spTree>
    <p:extLst>
      <p:ext uri="{BB962C8B-B14F-4D97-AF65-F5344CB8AC3E}">
        <p14:creationId xmlns:p14="http://schemas.microsoft.com/office/powerpoint/2010/main" val="27528365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45" y="1221"/>
            <a:ext cx="24359293"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p:nvPicPr>
        <p:blipFill>
          <a:blip r:embed="rId3"/>
          <a:srcRect/>
          <a:stretch/>
        </p:blipFill>
        <p:spPr>
          <a:xfrm>
            <a:off x="22386423" y="12547345"/>
            <a:ext cx="1391079" cy="554954"/>
          </a:xfrm>
          <a:prstGeom prst="rect">
            <a:avLst/>
          </a:prstGeom>
        </p:spPr>
      </p:pic>
    </p:spTree>
    <p:extLst>
      <p:ext uri="{BB962C8B-B14F-4D97-AF65-F5344CB8AC3E}">
        <p14:creationId xmlns:p14="http://schemas.microsoft.com/office/powerpoint/2010/main" val="5341344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45" y="1223"/>
            <a:ext cx="24359293"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p:nvPicPr>
        <p:blipFill>
          <a:blip r:embed="rId3"/>
          <a:srcRect/>
          <a:stretch/>
        </p:blipFill>
        <p:spPr>
          <a:xfrm>
            <a:off x="22386423" y="12547345"/>
            <a:ext cx="1391079" cy="554954"/>
          </a:xfrm>
          <a:prstGeom prst="rect">
            <a:avLst/>
          </a:prstGeom>
        </p:spPr>
      </p:pic>
    </p:spTree>
    <p:extLst>
      <p:ext uri="{BB962C8B-B14F-4D97-AF65-F5344CB8AC3E}">
        <p14:creationId xmlns:p14="http://schemas.microsoft.com/office/powerpoint/2010/main" val="18256079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p:nvPicPr>
        <p:blipFill>
          <a:blip r:embed="rId2"/>
          <a:stretch>
            <a:fillRect/>
          </a:stretch>
        </p:blipFill>
        <p:spPr>
          <a:xfrm>
            <a:off x="0" y="3"/>
            <a:ext cx="24387175" cy="137292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p:nvPicPr>
        <p:blipFill>
          <a:blip r:embed="rId3"/>
          <a:srcRect/>
          <a:stretch/>
        </p:blipFill>
        <p:spPr>
          <a:xfrm>
            <a:off x="22386423" y="12547345"/>
            <a:ext cx="1391079" cy="554954"/>
          </a:xfrm>
          <a:prstGeom prst="rect">
            <a:avLst/>
          </a:prstGeom>
        </p:spPr>
      </p:pic>
    </p:spTree>
    <p:extLst>
      <p:ext uri="{BB962C8B-B14F-4D97-AF65-F5344CB8AC3E}">
        <p14:creationId xmlns:p14="http://schemas.microsoft.com/office/powerpoint/2010/main" val="27772609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p:nvPicPr>
        <p:blipFill>
          <a:blip r:embed="rId3"/>
          <a:srcRect/>
          <a:stretch/>
        </p:blipFill>
        <p:spPr>
          <a:xfrm>
            <a:off x="22386423" y="12547345"/>
            <a:ext cx="1391079" cy="554954"/>
          </a:xfrm>
          <a:prstGeom prst="rect">
            <a:avLst/>
          </a:prstGeom>
        </p:spPr>
      </p:pic>
    </p:spTree>
    <p:extLst>
      <p:ext uri="{BB962C8B-B14F-4D97-AF65-F5344CB8AC3E}">
        <p14:creationId xmlns:p14="http://schemas.microsoft.com/office/powerpoint/2010/main" val="378133043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42" y="1223"/>
            <a:ext cx="24359291"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p:nvPicPr>
        <p:blipFill>
          <a:blip r:embed="rId3"/>
          <a:srcRect/>
          <a:stretch/>
        </p:blipFill>
        <p:spPr>
          <a:xfrm>
            <a:off x="22386423" y="12547345"/>
            <a:ext cx="1391079" cy="554954"/>
          </a:xfrm>
          <a:prstGeom prst="rect">
            <a:avLst/>
          </a:prstGeom>
        </p:spPr>
      </p:pic>
    </p:spTree>
    <p:extLst>
      <p:ext uri="{BB962C8B-B14F-4D97-AF65-F5344CB8AC3E}">
        <p14:creationId xmlns:p14="http://schemas.microsoft.com/office/powerpoint/2010/main" val="6084396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42" y="1218"/>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p:nvPicPr>
        <p:blipFill>
          <a:blip r:embed="rId3"/>
          <a:srcRect/>
          <a:stretch/>
        </p:blipFill>
        <p:spPr>
          <a:xfrm>
            <a:off x="22386423" y="12547345"/>
            <a:ext cx="1391079" cy="554954"/>
          </a:xfrm>
          <a:prstGeom prst="rect">
            <a:avLst/>
          </a:prstGeom>
        </p:spPr>
      </p:pic>
    </p:spTree>
    <p:extLst>
      <p:ext uri="{BB962C8B-B14F-4D97-AF65-F5344CB8AC3E}">
        <p14:creationId xmlns:p14="http://schemas.microsoft.com/office/powerpoint/2010/main" val="41532614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24496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464" indent="0">
              <a:buNone/>
              <a:defRPr/>
            </a:lvl3pPr>
            <a:lvl4pPr marL="1159572" indent="0">
              <a:buNone/>
              <a:defRPr/>
            </a:lvl4pPr>
            <a:lvl5pPr marL="1684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464" indent="0">
              <a:buNone/>
              <a:defRPr/>
            </a:lvl3pPr>
            <a:lvl4pPr marL="1159572" indent="0">
              <a:buNone/>
              <a:defRPr/>
            </a:lvl4pPr>
            <a:lvl5pPr marL="1684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869498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91"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052974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385200"/>
            <a:ext cx="10099675" cy="571500"/>
          </a:xfrm>
          <a:prstGeom prst="rect">
            <a:avLst/>
          </a:prstGeom>
        </p:spPr>
        <p:txBody>
          <a:bodyPr/>
          <a:lstStyle>
            <a:lvl1pPr>
              <a:lnSpc>
                <a:spcPct val="100000"/>
              </a:lnSpc>
              <a:spcBef>
                <a:spcPts val="0"/>
              </a:spcBef>
              <a:defRPr sz="36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3340209367"/>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91"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466299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3" y="243840"/>
            <a:ext cx="23411506" cy="11744960"/>
          </a:xfrm>
        </p:spPr>
        <p:txBody>
          <a:bodyPr/>
          <a:lstStyle>
            <a:lvl1pPr>
              <a:defRPr sz="25591"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3220474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2" y="536448"/>
            <a:ext cx="14835357"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9120843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25706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5" y="3316224"/>
            <a:ext cx="1099843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498033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397">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416156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7916401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085760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1997248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1047208"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00750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a:prstGeom prst="rect">
            <a:avLst/>
          </a:prstGeom>
        </p:spPr>
        <p:txBody>
          <a:bodyPr/>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18834040" y="569912"/>
            <a:ext cx="4953000" cy="11431587"/>
          </a:xfrm>
          <a:prstGeom prst="rect">
            <a:avLst/>
          </a:prstGeom>
        </p:spPr>
        <p:txBody>
          <a:bodyPr/>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14303940"/>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458029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7234541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684270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70"/>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p:nvCxnSpPr>
        <p:spPr bwMode="auto">
          <a:xfrm flipV="1">
            <a:off x="18280870" y="626541"/>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p:nvCxnSpPr>
        <p:spPr bwMode="auto">
          <a:xfrm>
            <a:off x="12781302"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666517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70"/>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p:nvCxnSpPr>
        <p:spPr bwMode="auto">
          <a:xfrm>
            <a:off x="609684"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p:nvCxnSpPr>
        <p:spPr bwMode="auto">
          <a:xfrm>
            <a:off x="12781302"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p:nvCxnSpPr>
        <p:spPr bwMode="auto">
          <a:xfrm flipV="1">
            <a:off x="18284428" y="626541"/>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4741352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3"/>
            <a:ext cx="24387175" cy="6851902"/>
          </a:xfrm>
          <a:noFill/>
        </p:spPr>
        <p:txBody>
          <a:bodyPr lIns="182880" tIns="164592" rIns="228600" bIns="228600"/>
          <a:lstStyle>
            <a:lvl1pPr>
              <a:defRPr sz="12797">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70"/>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70"/>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9"/>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9"/>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p:nvCxnSpPr>
        <p:spPr bwMode="auto">
          <a:xfrm flipV="1">
            <a:off x="6096794"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p:nvCxnSpPr>
        <p:spPr bwMode="auto">
          <a:xfrm flipV="1">
            <a:off x="12193588"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p:nvCxnSpPr>
        <p:spPr bwMode="auto">
          <a:xfrm flipV="1">
            <a:off x="18290381"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2376630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2814226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dirty="0"/>
              <a:t>Click icon to add picture</a:t>
            </a:r>
          </a:p>
        </p:txBody>
      </p:sp>
      <p:sp>
        <p:nvSpPr>
          <p:cNvPr id="6" name="Text Placeholder"/>
          <p:cNvSpPr>
            <a:spLocks noGrp="1"/>
          </p:cNvSpPr>
          <p:nvPr>
            <p:ph type="body" sz="quarter" idx="12"/>
          </p:nvPr>
        </p:nvSpPr>
        <p:spPr>
          <a:xfrm>
            <a:off x="-6"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028129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p:nvCxnSpPr>
        <p:spPr bwMode="auto">
          <a:xfrm flipV="1">
            <a:off x="6090843"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p:nvCxnSpPr>
        <p:spPr bwMode="auto">
          <a:xfrm flipV="1">
            <a:off x="18284430"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9684908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4"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67761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572839104"/>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1025686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2"/>
            <a:ext cx="4901822" cy="8672576"/>
          </a:xfrm>
        </p:spPr>
        <p:txBody>
          <a:bodyPr/>
          <a:lstStyle>
            <a:lvl1pPr>
              <a:spcBef>
                <a:spcPts val="800"/>
              </a:spcBef>
              <a:defRPr sz="3734">
                <a:solidFill>
                  <a:schemeClr val="tx1"/>
                </a:solidFill>
              </a:defRPr>
            </a:lvl1pPr>
            <a:lvl2pPr>
              <a:spcBef>
                <a:spcPts val="2934"/>
              </a:spcBef>
              <a:defRPr sz="3734">
                <a:solidFill>
                  <a:schemeClr val="tx1"/>
                </a:solidFill>
              </a:defRPr>
            </a:lvl2pPr>
            <a:lvl3pPr>
              <a:spcBef>
                <a:spcPts val="2934"/>
              </a:spcBef>
              <a:defRPr sz="3734">
                <a:solidFill>
                  <a:schemeClr val="tx1"/>
                </a:solidFill>
              </a:defRPr>
            </a:lvl3pPr>
            <a:lvl4pPr>
              <a:spcBef>
                <a:spcPts val="2934"/>
              </a:spcBef>
              <a:defRPr sz="3734">
                <a:solidFill>
                  <a:schemeClr val="tx1"/>
                </a:solidFill>
              </a:defRPr>
            </a:lvl4pPr>
            <a:lvl5pPr>
              <a:spcBef>
                <a:spcPts val="2934"/>
              </a:spcBef>
              <a:defRPr sz="37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0905316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6">
                <a:solidFill>
                  <a:schemeClr val="tx1"/>
                </a:solidFill>
              </a:defRPr>
            </a:lvl1pPr>
            <a:lvl2pPr>
              <a:spcBef>
                <a:spcPts val="800"/>
              </a:spcBef>
              <a:defRPr sz="2666">
                <a:solidFill>
                  <a:schemeClr val="tx1"/>
                </a:solidFill>
              </a:defRPr>
            </a:lvl2pPr>
            <a:lvl3pPr>
              <a:spcBef>
                <a:spcPts val="800"/>
              </a:spcBef>
              <a:defRPr sz="2666">
                <a:solidFill>
                  <a:schemeClr val="tx1"/>
                </a:solidFill>
              </a:defRPr>
            </a:lvl3pPr>
            <a:lvl4pPr>
              <a:spcBef>
                <a:spcPts val="800"/>
              </a:spcBef>
              <a:defRPr sz="2666">
                <a:solidFill>
                  <a:schemeClr val="tx1"/>
                </a:solidFill>
              </a:defRPr>
            </a:lvl4pPr>
            <a:lvl5pPr>
              <a:spcBef>
                <a:spcPts val="800"/>
              </a:spcBef>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397">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6082081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91" y="536448"/>
            <a:ext cx="17095228" cy="11452352"/>
          </a:xfrm>
        </p:spPr>
        <p:txBody>
          <a:bodyPr lIns="0" tIns="0" rIns="91440" bIns="91440"/>
          <a:lstStyle>
            <a:lvl1pPr>
              <a:defRPr>
                <a:solidFill>
                  <a:schemeClr val="tx1"/>
                </a:solidFill>
              </a:defRPr>
            </a:lvl1pPr>
          </a:lstStyle>
          <a:p>
            <a:r>
              <a:rPr lang="en-US" dirty="0"/>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5725291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0078813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89878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6">
                <a:solidFill>
                  <a:schemeClr val="tx1"/>
                </a:solidFill>
              </a:defRPr>
            </a:lvl1pPr>
            <a:lvl2pPr marL="0" indent="0">
              <a:spcBef>
                <a:spcPts val="0"/>
              </a:spcBef>
              <a:buNone/>
              <a:defRPr/>
            </a:lvl2pPr>
            <a:lvl3pPr marL="537464" indent="0">
              <a:buNone/>
              <a:defRPr/>
            </a:lvl3pPr>
            <a:lvl4pPr marL="1159572" indent="0">
              <a:buNone/>
              <a:defRPr/>
            </a:lvl4pPr>
            <a:lvl5pPr marL="1684342"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3258438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ibm sign-off (blue60)">
    <p:spTree>
      <p:nvGrpSpPr>
        <p:cNvPr id="1" name=""/>
        <p:cNvGrpSpPr/>
        <p:nvPr/>
      </p:nvGrpSpPr>
      <p:grpSpPr>
        <a:xfrm>
          <a:off x="0" y="0"/>
          <a:ext cx="0" cy="0"/>
          <a:chOff x="0" y="0"/>
          <a:chExt cx="0" cy="0"/>
        </a:xfrm>
      </p:grpSpPr>
      <p:pic>
        <p:nvPicPr>
          <p:cNvPr id="5" name="Picture"/>
          <p:cNvPicPr>
            <a:picLocks noChangeAspect="1"/>
          </p:cNvPicPr>
          <p:nvPr/>
        </p:nvPicPr>
        <p:blipFill>
          <a:blip r:embed="rId2"/>
          <a:srcRect/>
          <a:stretch/>
        </p:blipFill>
        <p:spPr>
          <a:xfrm>
            <a:off x="10463225" y="6167694"/>
            <a:ext cx="3460733" cy="1380616"/>
          </a:xfrm>
          <a:prstGeom prst="rect">
            <a:avLst/>
          </a:prstGeom>
        </p:spPr>
      </p:pic>
    </p:spTree>
    <p:extLst>
      <p:ext uri="{BB962C8B-B14F-4D97-AF65-F5344CB8AC3E}">
        <p14:creationId xmlns:p14="http://schemas.microsoft.com/office/powerpoint/2010/main" val="351657615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ibm sign-off (blue80)">
    <p:spTree>
      <p:nvGrpSpPr>
        <p:cNvPr id="1" name=""/>
        <p:cNvGrpSpPr/>
        <p:nvPr/>
      </p:nvGrpSpPr>
      <p:grpSpPr>
        <a:xfrm>
          <a:off x="0" y="0"/>
          <a:ext cx="0" cy="0"/>
          <a:chOff x="0" y="0"/>
          <a:chExt cx="0" cy="0"/>
        </a:xfrm>
      </p:grpSpPr>
      <p:pic>
        <p:nvPicPr>
          <p:cNvPr id="5" name="Picture"/>
          <p:cNvPicPr>
            <a:picLocks noChangeAspect="1"/>
          </p:cNvPicPr>
          <p:nvPr/>
        </p:nvPicPr>
        <p:blipFill>
          <a:blip r:embed="rId2"/>
          <a:srcRect/>
          <a:stretch/>
        </p:blipFill>
        <p:spPr>
          <a:xfrm>
            <a:off x="10463227" y="6167694"/>
            <a:ext cx="3460729" cy="1380616"/>
          </a:xfrm>
          <a:prstGeom prst="rect">
            <a:avLst/>
          </a:prstGeom>
        </p:spPr>
      </p:pic>
    </p:spTree>
    <p:extLst>
      <p:ext uri="{BB962C8B-B14F-4D97-AF65-F5344CB8AC3E}">
        <p14:creationId xmlns:p14="http://schemas.microsoft.com/office/powerpoint/2010/main" val="12442673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ibm sign-off (black)">
    <p:spTree>
      <p:nvGrpSpPr>
        <p:cNvPr id="1" name=""/>
        <p:cNvGrpSpPr/>
        <p:nvPr/>
      </p:nvGrpSpPr>
      <p:grpSpPr>
        <a:xfrm>
          <a:off x="0" y="0"/>
          <a:ext cx="0" cy="0"/>
          <a:chOff x="0" y="0"/>
          <a:chExt cx="0" cy="0"/>
        </a:xfrm>
      </p:grpSpPr>
      <p:pic>
        <p:nvPicPr>
          <p:cNvPr id="5" name="Picture"/>
          <p:cNvPicPr>
            <a:picLocks noChangeAspect="1"/>
          </p:cNvPicPr>
          <p:nvPr/>
        </p:nvPicPr>
        <p:blipFill>
          <a:blip r:embed="rId2"/>
          <a:srcRect/>
          <a:stretch/>
        </p:blipFill>
        <p:spPr>
          <a:xfrm>
            <a:off x="10463225" y="6167695"/>
            <a:ext cx="3460733" cy="1380618"/>
          </a:xfrm>
          <a:prstGeom prst="rect">
            <a:avLst/>
          </a:prstGeom>
        </p:spPr>
      </p:pic>
    </p:spTree>
    <p:extLst>
      <p:ext uri="{BB962C8B-B14F-4D97-AF65-F5344CB8AC3E}">
        <p14:creationId xmlns:p14="http://schemas.microsoft.com/office/powerpoint/2010/main" val="39753075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385200"/>
            <a:ext cx="17141825" cy="8191500"/>
          </a:xfrm>
        </p:spPr>
        <p:txBody>
          <a:bodyPr/>
          <a:lstStyle>
            <a:lvl1pPr>
              <a:lnSpc>
                <a:spcPct val="100000"/>
              </a:lnSpc>
              <a:defRPr sz="172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201808370"/>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6F511-4AF3-8F71-9FA1-BB28DBCF7C54}"/>
              </a:ext>
            </a:extLst>
          </p:cNvPr>
          <p:cNvSpPr>
            <a:spLocks noGrp="1"/>
          </p:cNvSpPr>
          <p:nvPr>
            <p:ph type="ctrTitle"/>
          </p:nvPr>
        </p:nvSpPr>
        <p:spPr>
          <a:xfrm>
            <a:off x="3048397" y="2244726"/>
            <a:ext cx="18290381" cy="4775200"/>
          </a:xfrm>
        </p:spPr>
        <p:txBody>
          <a:bodyPr anchor="b"/>
          <a:lstStyle>
            <a:lvl1pPr algn="ctr">
              <a:defRPr sz="11997"/>
            </a:lvl1pPr>
          </a:lstStyle>
          <a:p>
            <a:r>
              <a:rPr lang="en-US"/>
              <a:t>Click to edit Master title style</a:t>
            </a:r>
          </a:p>
        </p:txBody>
      </p:sp>
      <p:sp>
        <p:nvSpPr>
          <p:cNvPr id="3" name="Subtitle 2">
            <a:extLst>
              <a:ext uri="{FF2B5EF4-FFF2-40B4-BE49-F238E27FC236}">
                <a16:creationId xmlns:a16="http://schemas.microsoft.com/office/drawing/2014/main" id="{A64A8A98-EDAC-953B-0A97-4550BDAE59FC}"/>
              </a:ext>
            </a:extLst>
          </p:cNvPr>
          <p:cNvSpPr>
            <a:spLocks noGrp="1"/>
          </p:cNvSpPr>
          <p:nvPr>
            <p:ph type="subTitle" idx="1"/>
          </p:nvPr>
        </p:nvSpPr>
        <p:spPr>
          <a:xfrm>
            <a:off x="3048397" y="7204076"/>
            <a:ext cx="18290381" cy="3311524"/>
          </a:xfrm>
        </p:spPr>
        <p:txBody>
          <a:bodyPr/>
          <a:lstStyle>
            <a:lvl1pPr marL="0" indent="0" algn="ctr">
              <a:buNone/>
              <a:defRPr sz="4800"/>
            </a:lvl1pPr>
            <a:lvl2pPr marL="914127" indent="0" algn="ctr">
              <a:buNone/>
              <a:defRPr sz="4000"/>
            </a:lvl2pPr>
            <a:lvl3pPr marL="1828251" indent="0" algn="ctr">
              <a:buNone/>
              <a:defRPr sz="3600"/>
            </a:lvl3pPr>
            <a:lvl4pPr marL="2742378" indent="0" algn="ctr">
              <a:buNone/>
              <a:defRPr sz="3200"/>
            </a:lvl4pPr>
            <a:lvl5pPr marL="3656502" indent="0" algn="ctr">
              <a:buNone/>
              <a:defRPr sz="3200"/>
            </a:lvl5pPr>
            <a:lvl6pPr marL="4570629" indent="0" algn="ctr">
              <a:buNone/>
              <a:defRPr sz="3200"/>
            </a:lvl6pPr>
            <a:lvl7pPr marL="5484753" indent="0" algn="ctr">
              <a:buNone/>
              <a:defRPr sz="3200"/>
            </a:lvl7pPr>
            <a:lvl8pPr marL="6398880" indent="0" algn="ctr">
              <a:buNone/>
              <a:defRPr sz="3200"/>
            </a:lvl8pPr>
            <a:lvl9pPr marL="7313005" indent="0" algn="ctr">
              <a:buNone/>
              <a:defRPr sz="3200"/>
            </a:lvl9pPr>
          </a:lstStyle>
          <a:p>
            <a:r>
              <a:rPr lang="en-US"/>
              <a:t>Click to edit Master subtitle style</a:t>
            </a:r>
          </a:p>
        </p:txBody>
      </p:sp>
      <p:sp>
        <p:nvSpPr>
          <p:cNvPr id="4" name="Date Placeholder 3">
            <a:extLst>
              <a:ext uri="{FF2B5EF4-FFF2-40B4-BE49-F238E27FC236}">
                <a16:creationId xmlns:a16="http://schemas.microsoft.com/office/drawing/2014/main" id="{577B7288-DEE8-EC6E-1C2C-C63ABACBC117}"/>
              </a:ext>
            </a:extLst>
          </p:cNvPr>
          <p:cNvSpPr>
            <a:spLocks noGrp="1"/>
          </p:cNvSpPr>
          <p:nvPr>
            <p:ph type="dt" sz="half" idx="10"/>
          </p:nvPr>
        </p:nvSpPr>
        <p:spPr/>
        <p:txBody>
          <a:bodyPr/>
          <a:lstStyle/>
          <a:p>
            <a:fld id="{C8BF14AF-6C1B-AF48-B938-5421A0D328E3}" type="datetimeFigureOut">
              <a:rPr lang="en-US" smtClean="0"/>
              <a:t>3/28/24</a:t>
            </a:fld>
            <a:endParaRPr lang="en-US" dirty="0"/>
          </a:p>
        </p:txBody>
      </p:sp>
      <p:sp>
        <p:nvSpPr>
          <p:cNvPr id="5" name="Footer Placeholder 4">
            <a:extLst>
              <a:ext uri="{FF2B5EF4-FFF2-40B4-BE49-F238E27FC236}">
                <a16:creationId xmlns:a16="http://schemas.microsoft.com/office/drawing/2014/main" id="{D54DD9B8-AA62-18BC-C74F-FA2CB73EFB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AC769FE-3115-84A5-BB2C-23C7276B7CD3}"/>
              </a:ext>
            </a:extLst>
          </p:cNvPr>
          <p:cNvSpPr>
            <a:spLocks noGrp="1"/>
          </p:cNvSpPr>
          <p:nvPr>
            <p:ph type="sldNum" sz="quarter" idx="12"/>
          </p:nvPr>
        </p:nvSpPr>
        <p:spPr/>
        <p:txBody>
          <a:bodyPr/>
          <a:lstStyle/>
          <a:p>
            <a:fld id="{C8BD0C93-594B-8744-BB4B-3542166D5890}" type="slidenum">
              <a:rPr lang="en-US" smtClean="0"/>
              <a:t>‹#›</a:t>
            </a:fld>
            <a:endParaRPr lang="en-US" dirty="0"/>
          </a:p>
        </p:txBody>
      </p:sp>
    </p:spTree>
    <p:extLst>
      <p:ext uri="{BB962C8B-B14F-4D97-AF65-F5344CB8AC3E}">
        <p14:creationId xmlns:p14="http://schemas.microsoft.com/office/powerpoint/2010/main" val="204615704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38500" y="383876"/>
            <a:ext cx="11050589" cy="2859088"/>
          </a:xfrm>
        </p:spPr>
        <p:txBody>
          <a:bodyPr rIns="457200"/>
          <a:lstStyle>
            <a:lvl1pPr>
              <a:lnSpc>
                <a:spcPct val="100000"/>
              </a:lnSpc>
              <a:defRPr sz="5685">
                <a:solidFill>
                  <a:schemeClr val="tx2"/>
                </a:solidFill>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72022" y="12952565"/>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9" y="12804236"/>
            <a:ext cx="4956175" cy="381000"/>
          </a:xfrm>
        </p:spPr>
        <p:txBody>
          <a:bodyPr/>
          <a:lstStyle/>
          <a:p>
            <a:r>
              <a:rPr lang="en-US" dirty="0"/>
              <a:t>IBM Think 2023 / © 2023 IBM Corporation</a:t>
            </a:r>
          </a:p>
        </p:txBody>
      </p:sp>
    </p:spTree>
    <p:extLst>
      <p:ext uri="{BB962C8B-B14F-4D97-AF65-F5344CB8AC3E}">
        <p14:creationId xmlns:p14="http://schemas.microsoft.com/office/powerpoint/2010/main" val="2443322619"/>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4238" y="3183"/>
          <a:ext cx="4233" cy="3174"/>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4" name="Object 3" hidden="1"/>
                      <p:cNvPicPr/>
                      <p:nvPr/>
                    </p:nvPicPr>
                    <p:blipFill>
                      <a:blip r:embed="rId4"/>
                      <a:stretch>
                        <a:fillRect/>
                      </a:stretch>
                    </p:blipFill>
                    <p:spPr>
                      <a:xfrm>
                        <a:off x="4238" y="3183"/>
                        <a:ext cx="4233" cy="3174"/>
                      </a:xfrm>
                      <a:prstGeom prst="rect">
                        <a:avLst/>
                      </a:prstGeom>
                    </p:spPr>
                  </p:pic>
                </p:oleObj>
              </mc:Fallback>
            </mc:AlternateContent>
          </a:graphicData>
        </a:graphic>
      </p:graphicFrame>
      <p:sp>
        <p:nvSpPr>
          <p:cNvPr id="2" name="Title 1"/>
          <p:cNvSpPr>
            <a:spLocks noGrp="1"/>
          </p:cNvSpPr>
          <p:nvPr>
            <p:ph type="title"/>
          </p:nvPr>
        </p:nvSpPr>
        <p:spPr>
          <a:xfrm>
            <a:off x="518152" y="250338"/>
            <a:ext cx="22549670" cy="1148976"/>
          </a:xfrm>
        </p:spPr>
        <p:txBody>
          <a:bodyPr/>
          <a:lstStyle>
            <a:lvl1pPr>
              <a:defRPr>
                <a:latin typeface="IBM Plex Sans" panose="020B0503050203000203"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hasCustomPrompt="1"/>
          </p:nvPr>
        </p:nvSpPr>
        <p:spPr/>
        <p:txBody>
          <a:bodyPr/>
          <a:lstStyle>
            <a:lvl1pPr>
              <a:buClr>
                <a:schemeClr val="tx1"/>
              </a:buClr>
              <a:defRPr>
                <a:solidFill>
                  <a:schemeClr val="tx1"/>
                </a:solidFill>
                <a:latin typeface="IBM Plex Sans" panose="020B0503050203000203" pitchFamily="34" charset="0"/>
                <a:cs typeface="Arial" pitchFamily="34" charset="0"/>
              </a:defRPr>
            </a:lvl1pPr>
            <a:lvl2pPr>
              <a:buClr>
                <a:schemeClr val="tx1"/>
              </a:buClr>
              <a:defRPr>
                <a:solidFill>
                  <a:schemeClr val="tx1"/>
                </a:solidFill>
                <a:latin typeface="IBM Plex Sans" panose="020B0503050203000203" pitchFamily="34" charset="0"/>
                <a:cs typeface="Arial" pitchFamily="34" charset="0"/>
              </a:defRPr>
            </a:lvl2pPr>
            <a:lvl3pPr>
              <a:buClr>
                <a:schemeClr val="tx1"/>
              </a:buClr>
              <a:defRPr>
                <a:solidFill>
                  <a:schemeClr val="tx1"/>
                </a:solidFill>
                <a:latin typeface="IBM Plex Sans" panose="020B0503050203000203" pitchFamily="34" charset="0"/>
                <a:cs typeface="Arial" pitchFamily="34" charset="0"/>
              </a:defRPr>
            </a:lvl3pPr>
            <a:lvl4pPr>
              <a:buClr>
                <a:schemeClr val="tx1"/>
              </a:buClr>
              <a:defRPr>
                <a:solidFill>
                  <a:schemeClr val="tx1"/>
                </a:solidFill>
                <a:latin typeface="IBM Plex Sans" panose="020B0503050203000203" pitchFamily="34" charset="0"/>
              </a:defRPr>
            </a:lvl4pPr>
            <a:lvl5pPr>
              <a:defRPr>
                <a:latin typeface="HelvNeue Light for IBM"/>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Box 4"/>
          <p:cNvSpPr txBox="1"/>
          <p:nvPr userDrawn="1"/>
        </p:nvSpPr>
        <p:spPr>
          <a:xfrm>
            <a:off x="876419" y="13256764"/>
            <a:ext cx="1960785" cy="341632"/>
          </a:xfrm>
          <a:prstGeom prst="rect">
            <a:avLst/>
          </a:prstGeom>
          <a:noFill/>
        </p:spPr>
        <p:txBody>
          <a:bodyPr wrap="square" rtlCol="0" anchor="ctr">
            <a:spAutoFit/>
          </a:bodyPr>
          <a:lstStyle/>
          <a:p>
            <a:pPr fontAlgn="base">
              <a:lnSpc>
                <a:spcPct val="90000"/>
              </a:lnSpc>
              <a:spcBef>
                <a:spcPct val="0"/>
              </a:spcBef>
              <a:spcAft>
                <a:spcPct val="0"/>
              </a:spcAft>
            </a:pPr>
            <a:fld id="{9E5EBD0D-1F63-4584-AD74-0E25721BCF58}" type="slidenum">
              <a:rPr lang="en-US" sz="1800">
                <a:solidFill>
                  <a:srgbClr val="000000"/>
                </a:solidFill>
                <a:latin typeface="IBM Plex Sans" panose="020B0503050203000203" pitchFamily="34" charset="0"/>
                <a:cs typeface="Arial" panose="020B0604020202020204" pitchFamily="34" charset="0"/>
              </a:rPr>
              <a:pPr fontAlgn="base">
                <a:lnSpc>
                  <a:spcPct val="90000"/>
                </a:lnSpc>
                <a:spcBef>
                  <a:spcPct val="0"/>
                </a:spcBef>
                <a:spcAft>
                  <a:spcPct val="0"/>
                </a:spcAft>
              </a:pPr>
              <a:t>‹#›</a:t>
            </a:fld>
            <a:endParaRPr lang="en-US" sz="1800" dirty="0">
              <a:solidFill>
                <a:srgbClr val="000000"/>
              </a:solidFill>
              <a:latin typeface="IBM Plex Sans" panose="020B0503050203000203" pitchFamily="34" charset="0"/>
              <a:cs typeface="Arial" panose="020B0604020202020204" pitchFamily="34" charset="0"/>
            </a:endParaRPr>
          </a:p>
        </p:txBody>
      </p:sp>
    </p:spTree>
    <p:extLst>
      <p:ext uri="{BB962C8B-B14F-4D97-AF65-F5344CB8AC3E}">
        <p14:creationId xmlns:p14="http://schemas.microsoft.com/office/powerpoint/2010/main" val="292780110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x">
  <p:cSld name="4_Text, 4 columns ">
    <p:spTree>
      <p:nvGrpSpPr>
        <p:cNvPr id="1" name=""/>
        <p:cNvGrpSpPr/>
        <p:nvPr/>
      </p:nvGrpSpPr>
      <p:grpSpPr>
        <a:xfrm>
          <a:off x="0" y="0"/>
          <a:ext cx="0" cy="0"/>
          <a:chOff x="0" y="0"/>
          <a:chExt cx="0" cy="0"/>
        </a:xfrm>
      </p:grpSpPr>
      <p:sp>
        <p:nvSpPr>
          <p:cNvPr id="185" name="幻灯片编号"/>
          <p:cNvSpPr txBox="1">
            <a:spLocks noGrp="1"/>
          </p:cNvSpPr>
          <p:nvPr>
            <p:ph type="sldNum" sz="quarter" idx="2"/>
          </p:nvPr>
        </p:nvSpPr>
        <p:spPr>
          <a:xfrm>
            <a:off x="23544693" y="12951801"/>
            <a:ext cx="270907" cy="246222"/>
          </a:xfrm>
          <a:prstGeom prst="rect">
            <a:avLst/>
          </a:prstGeom>
        </p:spPr>
        <p:txBody>
          <a:bodyPr/>
          <a:lstStyle/>
          <a:p>
            <a:fld id="{86CB4B4D-7CA3-9044-876B-883B54F8677D}" type="slidenum">
              <a:rPr/>
              <a:t>‹#›</a:t>
            </a:fld>
            <a:endParaRPr dirty="0"/>
          </a:p>
        </p:txBody>
      </p:sp>
      <p:sp>
        <p:nvSpPr>
          <p:cNvPr id="186" name="Text Placeholder 3"/>
          <p:cNvSpPr>
            <a:spLocks noGrp="1"/>
          </p:cNvSpPr>
          <p:nvPr>
            <p:ph type="body" sz="quarter" idx="21"/>
          </p:nvPr>
        </p:nvSpPr>
        <p:spPr>
          <a:xfrm>
            <a:off x="6668373" y="3429000"/>
            <a:ext cx="4952059"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Efficitur scelerisque velit. Vestibulum viverra, ante ac placerat pulvinar, erat risus pellentesque urna, ac posuere nibh nulla eu mi. Fusce scelerisque ultrices eros quis dignissim. Pellentesque mollis nibh at nibh imperdiet, sed ullamcorper velit posuere. Integer et velit blandit.</a:t>
            </a:r>
          </a:p>
        </p:txBody>
      </p:sp>
      <p:sp>
        <p:nvSpPr>
          <p:cNvPr id="187" name="Text Placeholder 4"/>
          <p:cNvSpPr>
            <a:spLocks noGrp="1"/>
          </p:cNvSpPr>
          <p:nvPr>
            <p:ph type="body" sz="quarter" idx="22"/>
          </p:nvPr>
        </p:nvSpPr>
        <p:spPr>
          <a:xfrm>
            <a:off x="12765163" y="3429000"/>
            <a:ext cx="4953645"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b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88" name="Text Placeholder 5"/>
          <p:cNvSpPr>
            <a:spLocks noGrp="1"/>
          </p:cNvSpPr>
          <p:nvPr>
            <p:ph type="body" sz="quarter" idx="23"/>
          </p:nvPr>
        </p:nvSpPr>
        <p:spPr>
          <a:xfrm>
            <a:off x="18861961" y="3429000"/>
            <a:ext cx="4959996"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a:t>
            </a:r>
          </a:p>
        </p:txBody>
      </p:sp>
      <p:sp>
        <p:nvSpPr>
          <p:cNvPr id="189" name="Title 1"/>
          <p:cNvSpPr txBox="1">
            <a:spLocks noGrp="1"/>
          </p:cNvSpPr>
          <p:nvPr>
            <p:ph type="body" sz="quarter" idx="24"/>
          </p:nvPr>
        </p:nvSpPr>
        <p:spPr>
          <a:xfrm>
            <a:off x="567008" y="569919"/>
            <a:ext cx="4950471" cy="1525590"/>
          </a:xfrm>
          <a:prstGeom prst="rect">
            <a:avLst/>
          </a:prstGeom>
        </p:spPr>
        <p:txBody>
          <a:bodyPr/>
          <a:lstStyle>
            <a:lvl1pPr>
              <a:defRPr sz="2800"/>
            </a:lvl1pPr>
          </a:lstStyle>
          <a:p>
            <a:r>
              <a:t>28/36/44pt short headline, 3 lines maximum, sentence case</a:t>
            </a:r>
          </a:p>
        </p:txBody>
      </p:sp>
      <p:sp>
        <p:nvSpPr>
          <p:cNvPr id="190" name="Text Placeholder 2"/>
          <p:cNvSpPr txBox="1">
            <a:spLocks noGrp="1"/>
          </p:cNvSpPr>
          <p:nvPr>
            <p:ph type="body" sz="quarter" idx="25"/>
          </p:nvPr>
        </p:nvSpPr>
        <p:spPr>
          <a:xfrm>
            <a:off x="568405" y="3429000"/>
            <a:ext cx="4956819"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91" name="Footer Placeholder 4"/>
          <p:cNvSpPr txBox="1">
            <a:spLocks noGrp="1"/>
          </p:cNvSpPr>
          <p:nvPr>
            <p:ph type="body" sz="quarter" idx="26"/>
          </p:nvPr>
        </p:nvSpPr>
        <p:spPr>
          <a:xfrm>
            <a:off x="568403" y="12942156"/>
            <a:ext cx="8570442" cy="259752"/>
          </a:xfrm>
          <a:prstGeom prst="rect">
            <a:avLst/>
          </a:prstGeom>
        </p:spPr>
        <p:txBody>
          <a:bodyPr anchor="b">
            <a:spAutoFit/>
          </a:bodyPr>
          <a:lstStyle>
            <a:lvl1pPr defTabSz="1828099">
              <a:lnSpc>
                <a:spcPct val="110000"/>
              </a:lnSpc>
              <a:defRPr sz="1600">
                <a:latin typeface="+mj-lt"/>
                <a:ea typeface="+mj-ea"/>
                <a:cs typeface="+mj-cs"/>
                <a:sym typeface="IBM Plex Sans"/>
              </a:defRPr>
            </a:lvl1pPr>
          </a:lstStyle>
          <a:p>
            <a:r>
              <a:t>Footer text (optional)</a:t>
            </a:r>
          </a:p>
        </p:txBody>
      </p:sp>
    </p:spTree>
    <p:extLst>
      <p:ext uri="{BB962C8B-B14F-4D97-AF65-F5344CB8AC3E}">
        <p14:creationId xmlns:p14="http://schemas.microsoft.com/office/powerpoint/2010/main" val="1588704152"/>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pic>
        <p:nvPicPr>
          <p:cNvPr id="6" name="Picture"/>
          <p:cNvPicPr>
            <a:picLocks noChangeAspect="1"/>
          </p:cNvPicPr>
          <p:nvPr/>
        </p:nvPicPr>
        <p:blipFill>
          <a:blip r:embed="rId2"/>
          <a:srcRect/>
          <a:stretch/>
        </p:blipFill>
        <p:spPr>
          <a:xfrm>
            <a:off x="22386420" y="12547346"/>
            <a:ext cx="1391080" cy="554955"/>
          </a:xfrm>
          <a:prstGeom prst="rect">
            <a:avLst/>
          </a:prstGeom>
        </p:spPr>
      </p:pic>
    </p:spTree>
    <p:extLst>
      <p:ext uri="{BB962C8B-B14F-4D97-AF65-F5344CB8AC3E}">
        <p14:creationId xmlns:p14="http://schemas.microsoft.com/office/powerpoint/2010/main" val="39640653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38" y="1223"/>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p:nvPicPr>
        <p:blipFill>
          <a:blip r:embed="rId3"/>
          <a:srcRect/>
          <a:stretch/>
        </p:blipFill>
        <p:spPr>
          <a:xfrm>
            <a:off x="22386420" y="12547346"/>
            <a:ext cx="1391080" cy="554955"/>
          </a:xfrm>
          <a:prstGeom prst="rect">
            <a:avLst/>
          </a:prstGeom>
        </p:spPr>
      </p:pic>
    </p:spTree>
    <p:extLst>
      <p:ext uri="{BB962C8B-B14F-4D97-AF65-F5344CB8AC3E}">
        <p14:creationId xmlns:p14="http://schemas.microsoft.com/office/powerpoint/2010/main" val="213631992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38" y="1221"/>
            <a:ext cx="24359299"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p:nvPicPr>
        <p:blipFill>
          <a:blip r:embed="rId3"/>
          <a:srcRect/>
          <a:stretch/>
        </p:blipFill>
        <p:spPr>
          <a:xfrm>
            <a:off x="22386420" y="12547346"/>
            <a:ext cx="1391080" cy="554955"/>
          </a:xfrm>
          <a:prstGeom prst="rect">
            <a:avLst/>
          </a:prstGeom>
        </p:spPr>
      </p:pic>
    </p:spTree>
    <p:extLst>
      <p:ext uri="{BB962C8B-B14F-4D97-AF65-F5344CB8AC3E}">
        <p14:creationId xmlns:p14="http://schemas.microsoft.com/office/powerpoint/2010/main" val="407874683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44" y="1221"/>
            <a:ext cx="24359294"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p:nvPicPr>
        <p:blipFill>
          <a:blip r:embed="rId3"/>
          <a:srcRect/>
          <a:stretch/>
        </p:blipFill>
        <p:spPr>
          <a:xfrm>
            <a:off x="22386420" y="12547346"/>
            <a:ext cx="1391080" cy="554955"/>
          </a:xfrm>
          <a:prstGeom prst="rect">
            <a:avLst/>
          </a:prstGeom>
        </p:spPr>
      </p:pic>
    </p:spTree>
    <p:extLst>
      <p:ext uri="{BB962C8B-B14F-4D97-AF65-F5344CB8AC3E}">
        <p14:creationId xmlns:p14="http://schemas.microsoft.com/office/powerpoint/2010/main" val="9606480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44" y="1225"/>
            <a:ext cx="24359294"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p:nvPicPr>
        <p:blipFill>
          <a:blip r:embed="rId3"/>
          <a:srcRect/>
          <a:stretch/>
        </p:blipFill>
        <p:spPr>
          <a:xfrm>
            <a:off x="22386420" y="12547346"/>
            <a:ext cx="1391080" cy="554955"/>
          </a:xfrm>
          <a:prstGeom prst="rect">
            <a:avLst/>
          </a:prstGeom>
        </p:spPr>
      </p:pic>
    </p:spTree>
    <p:extLst>
      <p:ext uri="{BB962C8B-B14F-4D97-AF65-F5344CB8AC3E}">
        <p14:creationId xmlns:p14="http://schemas.microsoft.com/office/powerpoint/2010/main" val="190006160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p:nvPicPr>
        <p:blipFill>
          <a:blip r:embed="rId2"/>
          <a:stretch>
            <a:fillRect/>
          </a:stretch>
        </p:blipFill>
        <p:spPr>
          <a:xfrm>
            <a:off x="0" y="5"/>
            <a:ext cx="24387175" cy="1372925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IBM watsonx Orchestrate / © 2024 IBM Corporation</a:t>
            </a:r>
            <a:endParaRPr lang="en-US" dirty="0"/>
          </a:p>
        </p:txBody>
      </p:sp>
      <p:pic>
        <p:nvPicPr>
          <p:cNvPr id="6" name="Picture"/>
          <p:cNvPicPr>
            <a:picLocks noChangeAspect="1"/>
          </p:cNvPicPr>
          <p:nvPr/>
        </p:nvPicPr>
        <p:blipFill>
          <a:blip r:embed="rId3"/>
          <a:srcRect/>
          <a:stretch/>
        </p:blipFill>
        <p:spPr>
          <a:xfrm>
            <a:off x="22386420" y="12547346"/>
            <a:ext cx="1391080" cy="554955"/>
          </a:xfrm>
          <a:prstGeom prst="rect">
            <a:avLst/>
          </a:prstGeom>
        </p:spPr>
      </p:pic>
    </p:spTree>
    <p:extLst>
      <p:ext uri="{BB962C8B-B14F-4D97-AF65-F5344CB8AC3E}">
        <p14:creationId xmlns:p14="http://schemas.microsoft.com/office/powerpoint/2010/main" val="50056800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9" Type="http://schemas.openxmlformats.org/officeDocument/2006/relationships/slideLayout" Target="../slideLayouts/slideLayout86.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42" Type="http://schemas.openxmlformats.org/officeDocument/2006/relationships/slideLayout" Target="../slideLayouts/slideLayout89.xml"/><Relationship Id="rId47" Type="http://schemas.openxmlformats.org/officeDocument/2006/relationships/theme" Target="../theme/theme2.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slideLayout" Target="../slideLayouts/slideLayout87.xml"/><Relationship Id="rId45" Type="http://schemas.openxmlformats.org/officeDocument/2006/relationships/slideLayout" Target="../slideLayouts/slideLayout92.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4" Type="http://schemas.openxmlformats.org/officeDocument/2006/relationships/slideLayout" Target="../slideLayouts/slideLayout91.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43" Type="http://schemas.openxmlformats.org/officeDocument/2006/relationships/slideLayout" Target="../slideLayouts/slideLayout90.xml"/><Relationship Id="rId8" Type="http://schemas.openxmlformats.org/officeDocument/2006/relationships/slideLayout" Target="../slideLayouts/slideLayout55.xml"/><Relationship Id="rId3" Type="http://schemas.openxmlformats.org/officeDocument/2006/relationships/slideLayout" Target="../slideLayouts/slideLayout50.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slideLayout" Target="../slideLayouts/slideLayout85.xml"/><Relationship Id="rId46" Type="http://schemas.openxmlformats.org/officeDocument/2006/relationships/slideLayout" Target="../slideLayouts/slideLayout93.xml"/><Relationship Id="rId20" Type="http://schemas.openxmlformats.org/officeDocument/2006/relationships/slideLayout" Target="../slideLayouts/slideLayout67.xml"/><Relationship Id="rId41" Type="http://schemas.openxmlformats.org/officeDocument/2006/relationships/slideLayout" Target="../slideLayouts/slideLayout8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9" Type="http://schemas.openxmlformats.org/officeDocument/2006/relationships/slideLayout" Target="../slideLayouts/slideLayout132.xml"/><Relationship Id="rId21" Type="http://schemas.openxmlformats.org/officeDocument/2006/relationships/slideLayout" Target="../slideLayouts/slideLayout114.xml"/><Relationship Id="rId34" Type="http://schemas.openxmlformats.org/officeDocument/2006/relationships/slideLayout" Target="../slideLayouts/slideLayout127.xml"/><Relationship Id="rId42" Type="http://schemas.openxmlformats.org/officeDocument/2006/relationships/slideLayout" Target="../slideLayouts/slideLayout135.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slideLayout" Target="../slideLayouts/slideLayout122.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32" Type="http://schemas.openxmlformats.org/officeDocument/2006/relationships/slideLayout" Target="../slideLayouts/slideLayout125.xml"/><Relationship Id="rId37" Type="http://schemas.openxmlformats.org/officeDocument/2006/relationships/slideLayout" Target="../slideLayouts/slideLayout130.xml"/><Relationship Id="rId40" Type="http://schemas.openxmlformats.org/officeDocument/2006/relationships/slideLayout" Target="../slideLayouts/slideLayout133.xml"/><Relationship Id="rId45" Type="http://schemas.openxmlformats.org/officeDocument/2006/relationships/slideLayout" Target="../slideLayouts/slideLayout138.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36" Type="http://schemas.openxmlformats.org/officeDocument/2006/relationships/slideLayout" Target="../slideLayouts/slideLayout129.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slideLayout" Target="../slideLayouts/slideLayout124.xml"/><Relationship Id="rId44" Type="http://schemas.openxmlformats.org/officeDocument/2006/relationships/slideLayout" Target="../slideLayouts/slideLayout137.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35" Type="http://schemas.openxmlformats.org/officeDocument/2006/relationships/slideLayout" Target="../slideLayouts/slideLayout128.xml"/><Relationship Id="rId43" Type="http://schemas.openxmlformats.org/officeDocument/2006/relationships/slideLayout" Target="../slideLayouts/slideLayout136.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slideLayout" Target="../slideLayouts/slideLayout126.xml"/><Relationship Id="rId38" Type="http://schemas.openxmlformats.org/officeDocument/2006/relationships/slideLayout" Target="../slideLayouts/slideLayout131.xml"/><Relationship Id="rId46" Type="http://schemas.openxmlformats.org/officeDocument/2006/relationships/theme" Target="../theme/theme3.xml"/><Relationship Id="rId20" Type="http://schemas.openxmlformats.org/officeDocument/2006/relationships/slideLayout" Target="../slideLayouts/slideLayout113.xml"/><Relationship Id="rId41" Type="http://schemas.openxmlformats.org/officeDocument/2006/relationships/slideLayout" Target="../slideLayouts/slideLayout13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9" Type="http://schemas.openxmlformats.org/officeDocument/2006/relationships/slideLayout" Target="../slideLayouts/slideLayout177.xml"/><Relationship Id="rId21" Type="http://schemas.openxmlformats.org/officeDocument/2006/relationships/slideLayout" Target="../slideLayouts/slideLayout159.xml"/><Relationship Id="rId34" Type="http://schemas.openxmlformats.org/officeDocument/2006/relationships/slideLayout" Target="../slideLayouts/slideLayout172.xml"/><Relationship Id="rId42" Type="http://schemas.openxmlformats.org/officeDocument/2006/relationships/slideLayout" Target="../slideLayouts/slideLayout180.xml"/><Relationship Id="rId47" Type="http://schemas.openxmlformats.org/officeDocument/2006/relationships/slideLayout" Target="../slideLayouts/slideLayout185.xml"/><Relationship Id="rId7" Type="http://schemas.openxmlformats.org/officeDocument/2006/relationships/slideLayout" Target="../slideLayouts/slideLayout14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9" Type="http://schemas.openxmlformats.org/officeDocument/2006/relationships/slideLayout" Target="../slideLayouts/slideLayout167.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45" Type="http://schemas.openxmlformats.org/officeDocument/2006/relationships/slideLayout" Target="../slideLayouts/slideLayout183.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4" Type="http://schemas.openxmlformats.org/officeDocument/2006/relationships/slideLayout" Target="../slideLayouts/slideLayout182.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slideLayout" Target="../slideLayouts/slideLayout181.xml"/><Relationship Id="rId48" Type="http://schemas.openxmlformats.org/officeDocument/2006/relationships/theme" Target="../theme/theme4.xml"/><Relationship Id="rId8" Type="http://schemas.openxmlformats.org/officeDocument/2006/relationships/slideLayout" Target="../slideLayouts/slideLayout146.xml"/><Relationship Id="rId3" Type="http://schemas.openxmlformats.org/officeDocument/2006/relationships/slideLayout" Target="../slideLayouts/slideLayout141.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46" Type="http://schemas.openxmlformats.org/officeDocument/2006/relationships/slideLayout" Target="../slideLayouts/slideLayout184.xml"/><Relationship Id="rId20" Type="http://schemas.openxmlformats.org/officeDocument/2006/relationships/slideLayout" Target="../slideLayouts/slideLayout158.xml"/><Relationship Id="rId41" Type="http://schemas.openxmlformats.org/officeDocument/2006/relationships/slideLayout" Target="../slideLayouts/slideLayout17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26" Type="http://schemas.openxmlformats.org/officeDocument/2006/relationships/slideLayout" Target="../slideLayouts/slideLayout211.xml"/><Relationship Id="rId39" Type="http://schemas.openxmlformats.org/officeDocument/2006/relationships/slideLayout" Target="../slideLayouts/slideLayout224.xml"/><Relationship Id="rId21" Type="http://schemas.openxmlformats.org/officeDocument/2006/relationships/slideLayout" Target="../slideLayouts/slideLayout206.xml"/><Relationship Id="rId34" Type="http://schemas.openxmlformats.org/officeDocument/2006/relationships/slideLayout" Target="../slideLayouts/slideLayout219.xml"/><Relationship Id="rId42" Type="http://schemas.openxmlformats.org/officeDocument/2006/relationships/slideLayout" Target="../slideLayouts/slideLayout227.xml"/><Relationship Id="rId47" Type="http://schemas.openxmlformats.org/officeDocument/2006/relationships/theme" Target="../theme/theme5.xml"/><Relationship Id="rId7" Type="http://schemas.openxmlformats.org/officeDocument/2006/relationships/slideLayout" Target="../slideLayouts/slideLayout19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9" Type="http://schemas.openxmlformats.org/officeDocument/2006/relationships/slideLayout" Target="../slideLayouts/slideLayout214.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slideLayout" Target="../slideLayouts/slideLayout209.xml"/><Relationship Id="rId32" Type="http://schemas.openxmlformats.org/officeDocument/2006/relationships/slideLayout" Target="../slideLayouts/slideLayout217.xml"/><Relationship Id="rId37" Type="http://schemas.openxmlformats.org/officeDocument/2006/relationships/slideLayout" Target="../slideLayouts/slideLayout222.xml"/><Relationship Id="rId40" Type="http://schemas.openxmlformats.org/officeDocument/2006/relationships/slideLayout" Target="../slideLayouts/slideLayout225.xml"/><Relationship Id="rId45" Type="http://schemas.openxmlformats.org/officeDocument/2006/relationships/slideLayout" Target="../slideLayouts/slideLayout230.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28" Type="http://schemas.openxmlformats.org/officeDocument/2006/relationships/slideLayout" Target="../slideLayouts/slideLayout213.xml"/><Relationship Id="rId36" Type="http://schemas.openxmlformats.org/officeDocument/2006/relationships/slideLayout" Target="../slideLayouts/slideLayout221.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31" Type="http://schemas.openxmlformats.org/officeDocument/2006/relationships/slideLayout" Target="../slideLayouts/slideLayout216.xml"/><Relationship Id="rId44" Type="http://schemas.openxmlformats.org/officeDocument/2006/relationships/slideLayout" Target="../slideLayouts/slideLayout229.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 Id="rId27" Type="http://schemas.openxmlformats.org/officeDocument/2006/relationships/slideLayout" Target="../slideLayouts/slideLayout212.xml"/><Relationship Id="rId30" Type="http://schemas.openxmlformats.org/officeDocument/2006/relationships/slideLayout" Target="../slideLayouts/slideLayout215.xml"/><Relationship Id="rId35" Type="http://schemas.openxmlformats.org/officeDocument/2006/relationships/slideLayout" Target="../slideLayouts/slideLayout220.xml"/><Relationship Id="rId43" Type="http://schemas.openxmlformats.org/officeDocument/2006/relationships/slideLayout" Target="../slideLayouts/slideLayout228.xml"/><Relationship Id="rId8" Type="http://schemas.openxmlformats.org/officeDocument/2006/relationships/slideLayout" Target="../slideLayouts/slideLayout193.xml"/><Relationship Id="rId3" Type="http://schemas.openxmlformats.org/officeDocument/2006/relationships/slideLayout" Target="../slideLayouts/slideLayout188.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5" Type="http://schemas.openxmlformats.org/officeDocument/2006/relationships/slideLayout" Target="../slideLayouts/slideLayout210.xml"/><Relationship Id="rId33" Type="http://schemas.openxmlformats.org/officeDocument/2006/relationships/slideLayout" Target="../slideLayouts/slideLayout218.xml"/><Relationship Id="rId38" Type="http://schemas.openxmlformats.org/officeDocument/2006/relationships/slideLayout" Target="../slideLayouts/slideLayout223.xml"/><Relationship Id="rId46" Type="http://schemas.openxmlformats.org/officeDocument/2006/relationships/slideLayout" Target="../slideLayouts/slideLayout231.xml"/><Relationship Id="rId20" Type="http://schemas.openxmlformats.org/officeDocument/2006/relationships/slideLayout" Target="../slideLayouts/slideLayout205.xml"/><Relationship Id="rId41" Type="http://schemas.openxmlformats.org/officeDocument/2006/relationships/slideLayout" Target="../slideLayouts/slideLayout22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26" Type="http://schemas.openxmlformats.org/officeDocument/2006/relationships/slideLayout" Target="../slideLayouts/slideLayout257.xml"/><Relationship Id="rId39" Type="http://schemas.openxmlformats.org/officeDocument/2006/relationships/slideLayout" Target="../slideLayouts/slideLayout270.xml"/><Relationship Id="rId21" Type="http://schemas.openxmlformats.org/officeDocument/2006/relationships/slideLayout" Target="../slideLayouts/slideLayout252.xml"/><Relationship Id="rId34" Type="http://schemas.openxmlformats.org/officeDocument/2006/relationships/slideLayout" Target="../slideLayouts/slideLayout265.xml"/><Relationship Id="rId42" Type="http://schemas.openxmlformats.org/officeDocument/2006/relationships/slideLayout" Target="../slideLayouts/slideLayout273.xml"/><Relationship Id="rId47" Type="http://schemas.openxmlformats.org/officeDocument/2006/relationships/slideLayout" Target="../slideLayouts/slideLayout278.xml"/><Relationship Id="rId7" Type="http://schemas.openxmlformats.org/officeDocument/2006/relationships/slideLayout" Target="../slideLayouts/slideLayout23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9" Type="http://schemas.openxmlformats.org/officeDocument/2006/relationships/slideLayout" Target="../slideLayouts/slideLayout260.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32" Type="http://schemas.openxmlformats.org/officeDocument/2006/relationships/slideLayout" Target="../slideLayouts/slideLayout263.xml"/><Relationship Id="rId37" Type="http://schemas.openxmlformats.org/officeDocument/2006/relationships/slideLayout" Target="../slideLayouts/slideLayout268.xml"/><Relationship Id="rId40" Type="http://schemas.openxmlformats.org/officeDocument/2006/relationships/slideLayout" Target="../slideLayouts/slideLayout271.xml"/><Relationship Id="rId45" Type="http://schemas.openxmlformats.org/officeDocument/2006/relationships/slideLayout" Target="../slideLayouts/slideLayout276.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28" Type="http://schemas.openxmlformats.org/officeDocument/2006/relationships/slideLayout" Target="../slideLayouts/slideLayout259.xml"/><Relationship Id="rId36" Type="http://schemas.openxmlformats.org/officeDocument/2006/relationships/slideLayout" Target="../slideLayouts/slideLayout267.xml"/><Relationship Id="rId49" Type="http://schemas.openxmlformats.org/officeDocument/2006/relationships/theme" Target="../theme/theme6.xml"/><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31" Type="http://schemas.openxmlformats.org/officeDocument/2006/relationships/slideLayout" Target="../slideLayouts/slideLayout262.xml"/><Relationship Id="rId44" Type="http://schemas.openxmlformats.org/officeDocument/2006/relationships/slideLayout" Target="../slideLayouts/slideLayout275.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slideLayout" Target="../slideLayouts/slideLayout253.xml"/><Relationship Id="rId27" Type="http://schemas.openxmlformats.org/officeDocument/2006/relationships/slideLayout" Target="../slideLayouts/slideLayout258.xml"/><Relationship Id="rId30" Type="http://schemas.openxmlformats.org/officeDocument/2006/relationships/slideLayout" Target="../slideLayouts/slideLayout261.xml"/><Relationship Id="rId35" Type="http://schemas.openxmlformats.org/officeDocument/2006/relationships/slideLayout" Target="../slideLayouts/slideLayout266.xml"/><Relationship Id="rId43" Type="http://schemas.openxmlformats.org/officeDocument/2006/relationships/slideLayout" Target="../slideLayouts/slideLayout274.xml"/><Relationship Id="rId48" Type="http://schemas.openxmlformats.org/officeDocument/2006/relationships/slideLayout" Target="../slideLayouts/slideLayout279.xml"/><Relationship Id="rId8" Type="http://schemas.openxmlformats.org/officeDocument/2006/relationships/slideLayout" Target="../slideLayouts/slideLayout239.xml"/><Relationship Id="rId3" Type="http://schemas.openxmlformats.org/officeDocument/2006/relationships/slideLayout" Target="../slideLayouts/slideLayout234.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slideLayout" Target="../slideLayouts/slideLayout256.xml"/><Relationship Id="rId33" Type="http://schemas.openxmlformats.org/officeDocument/2006/relationships/slideLayout" Target="../slideLayouts/slideLayout264.xml"/><Relationship Id="rId38" Type="http://schemas.openxmlformats.org/officeDocument/2006/relationships/slideLayout" Target="../slideLayouts/slideLayout269.xml"/><Relationship Id="rId46" Type="http://schemas.openxmlformats.org/officeDocument/2006/relationships/slideLayout" Target="../slideLayouts/slideLayout277.xml"/><Relationship Id="rId20" Type="http://schemas.openxmlformats.org/officeDocument/2006/relationships/slideLayout" Target="../slideLayouts/slideLayout251.xml"/><Relationship Id="rId41" Type="http://schemas.openxmlformats.org/officeDocument/2006/relationships/slideLayout" Target="../slideLayouts/slideLayout272.xml"/><Relationship Id="rId1" Type="http://schemas.openxmlformats.org/officeDocument/2006/relationships/slideLayout" Target="../slideLayouts/slideLayout232.xml"/><Relationship Id="rId6" Type="http://schemas.openxmlformats.org/officeDocument/2006/relationships/slideLayout" Target="../slideLayouts/slideLayout2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4956176" cy="381000"/>
          </a:xfrm>
          <a:prstGeom prst="rect">
            <a:avLst/>
          </a:prstGeom>
        </p:spPr>
        <p:txBody>
          <a:bodyPr vert="horz" lIns="0" tIns="0" rIns="0" bIns="0" rtlCol="0" anchor="b"/>
          <a:lstStyle>
            <a:lvl1pPr algn="l">
              <a:defRPr sz="1600" b="0" i="0">
                <a:solidFill>
                  <a:schemeClr val="tx1"/>
                </a:solidFill>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669031262"/>
      </p:ext>
    </p:extLst>
  </p:cSld>
  <p:clrMap bg1="dk1" tx1="lt1" bg2="dk2" tx2="lt2" accent1="accent1" accent2="accent2" accent3="accent3" accent4="accent4" accent5="accent5" accent6="accent6" hlink="hlink" folHlink="folHlink"/>
  <p:sldLayoutIdLst>
    <p:sldLayoutId id="2147483944" r:id="rId1"/>
    <p:sldLayoutId id="2147483945" r:id="rId2"/>
    <p:sldLayoutId id="2147483904" r:id="rId3"/>
    <p:sldLayoutId id="2147483905" r:id="rId4"/>
    <p:sldLayoutId id="2147483901" r:id="rId5"/>
    <p:sldLayoutId id="2147483692" r:id="rId6"/>
    <p:sldLayoutId id="2147483906" r:id="rId7"/>
    <p:sldLayoutId id="2147483907" r:id="rId8"/>
    <p:sldLayoutId id="2147483910" r:id="rId9"/>
    <p:sldLayoutId id="2147483908" r:id="rId10"/>
    <p:sldLayoutId id="2147483909" r:id="rId11"/>
    <p:sldLayoutId id="2147483912" r:id="rId12"/>
    <p:sldLayoutId id="2147483914" r:id="rId13"/>
    <p:sldLayoutId id="2147483915" r:id="rId14"/>
    <p:sldLayoutId id="2147483913" r:id="rId15"/>
    <p:sldLayoutId id="2147483917" r:id="rId16"/>
    <p:sldLayoutId id="2147483942" r:id="rId17"/>
    <p:sldLayoutId id="2147483919" r:id="rId18"/>
    <p:sldLayoutId id="2147483929" r:id="rId19"/>
    <p:sldLayoutId id="2147483920" r:id="rId20"/>
    <p:sldLayoutId id="2147483930" r:id="rId21"/>
    <p:sldLayoutId id="2147483928" r:id="rId22"/>
    <p:sldLayoutId id="2147483948" r:id="rId23"/>
    <p:sldLayoutId id="2147483927" r:id="rId24"/>
    <p:sldLayoutId id="2147483950" r:id="rId25"/>
    <p:sldLayoutId id="2147483921" r:id="rId26"/>
    <p:sldLayoutId id="2147483916" r:id="rId27"/>
    <p:sldLayoutId id="2147483922" r:id="rId28"/>
    <p:sldLayoutId id="2147483953" r:id="rId29"/>
    <p:sldLayoutId id="2147483956" r:id="rId30"/>
    <p:sldLayoutId id="2147483923" r:id="rId31"/>
    <p:sldLayoutId id="2147483924" r:id="rId32"/>
    <p:sldLayoutId id="2147483926" r:id="rId33"/>
    <p:sldLayoutId id="2147483925" r:id="rId34"/>
    <p:sldLayoutId id="2147483959" r:id="rId35"/>
    <p:sldLayoutId id="2147483937" r:id="rId36"/>
    <p:sldLayoutId id="2147483932" r:id="rId37"/>
    <p:sldLayoutId id="2147483934" r:id="rId38"/>
    <p:sldLayoutId id="2147483935" r:id="rId39"/>
    <p:sldLayoutId id="2147483936" r:id="rId40"/>
    <p:sldLayoutId id="2147483938" r:id="rId41"/>
    <p:sldLayoutId id="2147483939" r:id="rId42"/>
    <p:sldLayoutId id="2147483940" r:id="rId43"/>
    <p:sldLayoutId id="2147483943" r:id="rId44"/>
    <p:sldLayoutId id="2147483960" r:id="rId45"/>
    <p:sldLayoutId id="2147483941" r:id="rId46"/>
    <p:sldLayoutId id="2147484200" r:id="rId47"/>
  </p:sldLayoutIdLst>
  <p:transition spd="med"/>
  <p:hf sldNum="0" hdr="0" ftr="0" dt="0"/>
  <p:txStyles>
    <p:title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userDrawn="1">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60" y="12801605"/>
            <a:ext cx="10974055" cy="444498"/>
          </a:xfrm>
          <a:prstGeom prst="rect">
            <a:avLst/>
          </a:prstGeom>
        </p:spPr>
        <p:txBody>
          <a:bodyPr vert="horz" lIns="0" tIns="0" rIns="0" bIns="0" rtlCol="0" anchor="ctr"/>
          <a:lstStyle>
            <a:lvl1pPr marL="0" marR="0" indent="0" algn="l" defTabSz="1828717"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dirty="0"/>
              <a:t>Group Name / DOC ID / Month XX, 2022 / © 2022 IBM Corporation</a:t>
            </a:r>
          </a:p>
        </p:txBody>
      </p:sp>
      <p:sp>
        <p:nvSpPr>
          <p:cNvPr id="8" name="Slide Number Placeholder"/>
          <p:cNvSpPr>
            <a:spLocks noGrp="1"/>
          </p:cNvSpPr>
          <p:nvPr>
            <p:ph type="sldNum" sz="quarter" idx="4"/>
          </p:nvPr>
        </p:nvSpPr>
        <p:spPr>
          <a:xfrm>
            <a:off x="18900069" y="12801605"/>
            <a:ext cx="4877253" cy="444498"/>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p:nvGrpSpPr>
        <p:grpSpPr>
          <a:xfrm>
            <a:off x="-292649" y="-294640"/>
            <a:ext cx="24974505" cy="14305280"/>
            <a:chOff x="-109730" y="-110490"/>
            <a:chExt cx="9364220" cy="5364480"/>
          </a:xfrm>
        </p:grpSpPr>
        <p:grpSp>
          <p:nvGrpSpPr>
            <p:cNvPr id="60" name="Group 59"/>
            <p:cNvGrpSpPr/>
            <p:nvPr/>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34553787"/>
      </p:ext>
    </p:extLst>
  </p:cSld>
  <p:clrMap bg1="dk1" tx1="lt1" bg2="dk2" tx2="lt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 id="2147483976" r:id="rId13"/>
    <p:sldLayoutId id="2147483977" r:id="rId14"/>
    <p:sldLayoutId id="2147483978" r:id="rId15"/>
    <p:sldLayoutId id="2147483979" r:id="rId16"/>
    <p:sldLayoutId id="2147483980" r:id="rId17"/>
    <p:sldLayoutId id="2147483981" r:id="rId18"/>
    <p:sldLayoutId id="2147483982" r:id="rId19"/>
    <p:sldLayoutId id="2147483983" r:id="rId20"/>
    <p:sldLayoutId id="2147483984" r:id="rId21"/>
    <p:sldLayoutId id="2147483985" r:id="rId22"/>
    <p:sldLayoutId id="2147483986" r:id="rId23"/>
    <p:sldLayoutId id="2147483987" r:id="rId24"/>
    <p:sldLayoutId id="2147483988" r:id="rId25"/>
    <p:sldLayoutId id="2147483989" r:id="rId26"/>
    <p:sldLayoutId id="2147483990" r:id="rId27"/>
    <p:sldLayoutId id="2147483991" r:id="rId28"/>
    <p:sldLayoutId id="2147483992" r:id="rId29"/>
    <p:sldLayoutId id="2147483993" r:id="rId30"/>
    <p:sldLayoutId id="2147483994" r:id="rId31"/>
    <p:sldLayoutId id="2147483995" r:id="rId32"/>
    <p:sldLayoutId id="2147483996" r:id="rId33"/>
    <p:sldLayoutId id="2147483997" r:id="rId34"/>
    <p:sldLayoutId id="2147483998" r:id="rId35"/>
    <p:sldLayoutId id="2147483999" r:id="rId36"/>
    <p:sldLayoutId id="2147484000" r:id="rId37"/>
    <p:sldLayoutId id="2147484001" r:id="rId38"/>
    <p:sldLayoutId id="2147484002" r:id="rId39"/>
    <p:sldLayoutId id="2147484003" r:id="rId40"/>
    <p:sldLayoutId id="2147484004" r:id="rId41"/>
    <p:sldLayoutId id="2147484005" r:id="rId42"/>
    <p:sldLayoutId id="2147484006" r:id="rId43"/>
    <p:sldLayoutId id="2147484007" r:id="rId44"/>
    <p:sldLayoutId id="2147484008" r:id="rId45"/>
    <p:sldLayoutId id="2147484009" r:id="rId46"/>
  </p:sldLayoutIdLst>
  <p:hf hdr="0" dt="0"/>
  <p:txStyles>
    <p:titleStyle>
      <a:lvl1pPr algn="l" rtl="0" eaLnBrk="1" fontAlgn="base" hangingPunct="1">
        <a:lnSpc>
          <a:spcPct val="90000"/>
        </a:lnSpc>
        <a:spcBef>
          <a:spcPct val="0"/>
        </a:spcBef>
        <a:spcAft>
          <a:spcPct val="0"/>
        </a:spcAft>
        <a:defRPr sz="639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17">
          <a:solidFill>
            <a:srgbClr val="191919"/>
          </a:solidFill>
          <a:latin typeface="IBM Plex Sans Light" pitchFamily="34" charset="0"/>
        </a:defRPr>
      </a:lvl2pPr>
      <a:lvl3pPr algn="l" rtl="0" eaLnBrk="1" fontAlgn="base" hangingPunct="1">
        <a:lnSpc>
          <a:spcPct val="90000"/>
        </a:lnSpc>
        <a:spcBef>
          <a:spcPct val="0"/>
        </a:spcBef>
        <a:spcAft>
          <a:spcPct val="0"/>
        </a:spcAft>
        <a:defRPr sz="5917">
          <a:solidFill>
            <a:srgbClr val="191919"/>
          </a:solidFill>
          <a:latin typeface="IBM Plex Sans Light" pitchFamily="34" charset="0"/>
        </a:defRPr>
      </a:lvl3pPr>
      <a:lvl4pPr algn="l" rtl="0" eaLnBrk="1" fontAlgn="base" hangingPunct="1">
        <a:lnSpc>
          <a:spcPct val="90000"/>
        </a:lnSpc>
        <a:spcBef>
          <a:spcPct val="0"/>
        </a:spcBef>
        <a:spcAft>
          <a:spcPct val="0"/>
        </a:spcAft>
        <a:defRPr sz="5917">
          <a:solidFill>
            <a:srgbClr val="191919"/>
          </a:solidFill>
          <a:latin typeface="IBM Plex Sans Light" pitchFamily="34" charset="0"/>
        </a:defRPr>
      </a:lvl4pPr>
      <a:lvl5pPr algn="l" rtl="0" eaLnBrk="1" fontAlgn="base" hangingPunct="1">
        <a:lnSpc>
          <a:spcPct val="90000"/>
        </a:lnSpc>
        <a:spcBef>
          <a:spcPct val="0"/>
        </a:spcBef>
        <a:spcAft>
          <a:spcPct val="0"/>
        </a:spcAft>
        <a:defRPr sz="5917">
          <a:solidFill>
            <a:srgbClr val="191919"/>
          </a:solidFill>
          <a:latin typeface="IBM Plex Sans Light" pitchFamily="34" charset="0"/>
        </a:defRPr>
      </a:lvl5pPr>
      <a:lvl6pPr marL="966533" algn="l" rtl="0" eaLnBrk="1" fontAlgn="base" hangingPunct="1">
        <a:lnSpc>
          <a:spcPct val="90000"/>
        </a:lnSpc>
        <a:spcBef>
          <a:spcPct val="0"/>
        </a:spcBef>
        <a:spcAft>
          <a:spcPct val="0"/>
        </a:spcAft>
        <a:defRPr sz="5917">
          <a:solidFill>
            <a:srgbClr val="191919"/>
          </a:solidFill>
          <a:latin typeface="IBM Plex Sans Light" pitchFamily="34" charset="0"/>
        </a:defRPr>
      </a:lvl6pPr>
      <a:lvl7pPr marL="1933077" algn="l" rtl="0" eaLnBrk="1" fontAlgn="base" hangingPunct="1">
        <a:lnSpc>
          <a:spcPct val="90000"/>
        </a:lnSpc>
        <a:spcBef>
          <a:spcPct val="0"/>
        </a:spcBef>
        <a:spcAft>
          <a:spcPct val="0"/>
        </a:spcAft>
        <a:defRPr sz="5917">
          <a:solidFill>
            <a:srgbClr val="191919"/>
          </a:solidFill>
          <a:latin typeface="IBM Plex Sans Light" pitchFamily="34" charset="0"/>
        </a:defRPr>
      </a:lvl7pPr>
      <a:lvl8pPr marL="2899610" algn="l" rtl="0" eaLnBrk="1" fontAlgn="base" hangingPunct="1">
        <a:lnSpc>
          <a:spcPct val="90000"/>
        </a:lnSpc>
        <a:spcBef>
          <a:spcPct val="0"/>
        </a:spcBef>
        <a:spcAft>
          <a:spcPct val="0"/>
        </a:spcAft>
        <a:defRPr sz="5917">
          <a:solidFill>
            <a:srgbClr val="191919"/>
          </a:solidFill>
          <a:latin typeface="IBM Plex Sans Light" pitchFamily="34" charset="0"/>
        </a:defRPr>
      </a:lvl8pPr>
      <a:lvl9pPr marL="3866145" algn="l" rtl="0" eaLnBrk="1" fontAlgn="base" hangingPunct="1">
        <a:lnSpc>
          <a:spcPct val="90000"/>
        </a:lnSpc>
        <a:spcBef>
          <a:spcPct val="0"/>
        </a:spcBef>
        <a:spcAft>
          <a:spcPct val="0"/>
        </a:spcAft>
        <a:defRPr sz="5917">
          <a:solidFill>
            <a:srgbClr val="191919"/>
          </a:solidFill>
          <a:latin typeface="IBM Plex Sans Light" pitchFamily="34" charset="0"/>
        </a:defRPr>
      </a:lvl9pPr>
    </p:titleStyle>
    <p:bodyStyle>
      <a:lvl1pPr marL="0" indent="0" algn="l" rtl="0" eaLnBrk="1" fontAlgn="base" hangingPunct="1">
        <a:lnSpc>
          <a:spcPct val="100000"/>
        </a:lnSpc>
        <a:spcBef>
          <a:spcPts val="2934"/>
        </a:spcBef>
        <a:spcAft>
          <a:spcPct val="0"/>
        </a:spcAft>
        <a:buClr>
          <a:srgbClr val="001141"/>
        </a:buClr>
        <a:buSzPct val="90000"/>
        <a:buFont typeface="IBM Plex Sans Light" pitchFamily="2" charset="2"/>
        <a:buNone/>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056" indent="-463146"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117" indent="-463146" algn="l" rtl="0" eaLnBrk="1" fontAlgn="base" hangingPunct="1">
        <a:lnSpc>
          <a:spcPct val="100000"/>
        </a:lnSpc>
        <a:spcBef>
          <a:spcPts val="2934"/>
        </a:spcBef>
        <a:spcAft>
          <a:spcPct val="0"/>
        </a:spcAft>
        <a:buClr>
          <a:srgbClr val="001141"/>
        </a:buClr>
        <a:buSzPct val="100000"/>
        <a:buFont typeface="IBM Plex Sans Light" panose="020B0604020202020204" pitchFamily="34" charset="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5876" indent="-463146"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1398" indent="-463146" algn="l" rtl="0" eaLnBrk="1" fontAlgn="base" hangingPunct="1">
        <a:lnSpc>
          <a:spcPct val="100000"/>
        </a:lnSpc>
        <a:spcBef>
          <a:spcPts val="2934"/>
        </a:spcBef>
        <a:spcAft>
          <a:spcPct val="0"/>
        </a:spcAft>
        <a:buClr>
          <a:srgbClr val="001141"/>
        </a:buClr>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1884" indent="-345673"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88423" indent="-345673"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4958" indent="-345673"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1500" indent="-345673"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077" rtl="0" eaLnBrk="1" latinLnBrk="0" hangingPunct="1">
        <a:defRPr sz="3808" kern="1200">
          <a:solidFill>
            <a:schemeClr val="tx1"/>
          </a:solidFill>
          <a:latin typeface="+mn-lt"/>
          <a:ea typeface="+mn-ea"/>
          <a:cs typeface="+mn-cs"/>
        </a:defRPr>
      </a:lvl1pPr>
      <a:lvl2pPr marL="966533" algn="l" defTabSz="1933077" rtl="0" eaLnBrk="1" latinLnBrk="0" hangingPunct="1">
        <a:defRPr sz="3808" kern="1200">
          <a:solidFill>
            <a:schemeClr val="tx1"/>
          </a:solidFill>
          <a:latin typeface="+mn-lt"/>
          <a:ea typeface="+mn-ea"/>
          <a:cs typeface="+mn-cs"/>
        </a:defRPr>
      </a:lvl2pPr>
      <a:lvl3pPr marL="1933077" algn="l" defTabSz="1933077" rtl="0" eaLnBrk="1" latinLnBrk="0" hangingPunct="1">
        <a:defRPr sz="3808" kern="1200">
          <a:solidFill>
            <a:schemeClr val="tx1"/>
          </a:solidFill>
          <a:latin typeface="+mn-lt"/>
          <a:ea typeface="+mn-ea"/>
          <a:cs typeface="+mn-cs"/>
        </a:defRPr>
      </a:lvl3pPr>
      <a:lvl4pPr marL="2899610" algn="l" defTabSz="1933077" rtl="0" eaLnBrk="1" latinLnBrk="0" hangingPunct="1">
        <a:defRPr sz="3808" kern="1200">
          <a:solidFill>
            <a:schemeClr val="tx1"/>
          </a:solidFill>
          <a:latin typeface="+mn-lt"/>
          <a:ea typeface="+mn-ea"/>
          <a:cs typeface="+mn-cs"/>
        </a:defRPr>
      </a:lvl4pPr>
      <a:lvl5pPr marL="3866145" algn="l" defTabSz="1933077" rtl="0" eaLnBrk="1" latinLnBrk="0" hangingPunct="1">
        <a:defRPr sz="3808" kern="1200">
          <a:solidFill>
            <a:schemeClr val="tx1"/>
          </a:solidFill>
          <a:latin typeface="+mn-lt"/>
          <a:ea typeface="+mn-ea"/>
          <a:cs typeface="+mn-cs"/>
        </a:defRPr>
      </a:lvl5pPr>
      <a:lvl6pPr marL="4832687" algn="l" defTabSz="1933077" rtl="0" eaLnBrk="1" latinLnBrk="0" hangingPunct="1">
        <a:defRPr sz="3808" kern="1200">
          <a:solidFill>
            <a:schemeClr val="tx1"/>
          </a:solidFill>
          <a:latin typeface="+mn-lt"/>
          <a:ea typeface="+mn-ea"/>
          <a:cs typeface="+mn-cs"/>
        </a:defRPr>
      </a:lvl6pPr>
      <a:lvl7pPr marL="5799218" algn="l" defTabSz="1933077" rtl="0" eaLnBrk="1" latinLnBrk="0" hangingPunct="1">
        <a:defRPr sz="3808" kern="1200">
          <a:solidFill>
            <a:schemeClr val="tx1"/>
          </a:solidFill>
          <a:latin typeface="+mn-lt"/>
          <a:ea typeface="+mn-ea"/>
          <a:cs typeface="+mn-cs"/>
        </a:defRPr>
      </a:lvl7pPr>
      <a:lvl8pPr marL="6765755" algn="l" defTabSz="1933077" rtl="0" eaLnBrk="1" latinLnBrk="0" hangingPunct="1">
        <a:defRPr sz="3808" kern="1200">
          <a:solidFill>
            <a:schemeClr val="tx1"/>
          </a:solidFill>
          <a:latin typeface="+mn-lt"/>
          <a:ea typeface="+mn-ea"/>
          <a:cs typeface="+mn-cs"/>
        </a:defRPr>
      </a:lvl8pPr>
      <a:lvl9pPr marL="7732293" algn="l" defTabSz="1933077"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60" y="12801606"/>
            <a:ext cx="10974055" cy="444499"/>
          </a:xfrm>
          <a:prstGeom prst="rect">
            <a:avLst/>
          </a:prstGeom>
        </p:spPr>
        <p:txBody>
          <a:bodyPr vert="horz" lIns="0" tIns="0" rIns="0" bIns="0" rtlCol="0" anchor="ctr"/>
          <a:lstStyle>
            <a:lvl1pPr marL="0" marR="0" indent="0" algn="l" defTabSz="1829107"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IBM watsonx Orchestrate / © 2024 IBM Corporation</a:t>
            </a:r>
            <a:endParaRPr lang="en-US" dirty="0"/>
          </a:p>
        </p:txBody>
      </p:sp>
      <p:sp>
        <p:nvSpPr>
          <p:cNvPr id="8" name="Slide Number Placeholder"/>
          <p:cNvSpPr>
            <a:spLocks noGrp="1"/>
          </p:cNvSpPr>
          <p:nvPr>
            <p:ph type="sldNum" sz="quarter" idx="4"/>
          </p:nvPr>
        </p:nvSpPr>
        <p:spPr>
          <a:xfrm>
            <a:off x="18900066" y="12801606"/>
            <a:ext cx="4877254" cy="444499"/>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p:nvGrpSpPr>
        <p:grpSpPr>
          <a:xfrm>
            <a:off x="-292652" y="-294640"/>
            <a:ext cx="24974505" cy="14305280"/>
            <a:chOff x="-109730" y="-110490"/>
            <a:chExt cx="9364220" cy="5364480"/>
          </a:xfrm>
        </p:grpSpPr>
        <p:grpSp>
          <p:nvGrpSpPr>
            <p:cNvPr id="60" name="Group 59"/>
            <p:cNvGrpSpPr/>
            <p:nvPr/>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682549460"/>
      </p:ext>
    </p:extLst>
  </p:cSld>
  <p:clrMap bg1="dk1" tx1="lt1" bg2="dk2" tx2="lt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 id="2147484032" r:id="rId22"/>
    <p:sldLayoutId id="2147484033" r:id="rId23"/>
    <p:sldLayoutId id="2147484034" r:id="rId24"/>
    <p:sldLayoutId id="2147484035" r:id="rId25"/>
    <p:sldLayoutId id="2147484036" r:id="rId26"/>
    <p:sldLayoutId id="2147484037" r:id="rId27"/>
    <p:sldLayoutId id="2147484038" r:id="rId28"/>
    <p:sldLayoutId id="2147484039" r:id="rId29"/>
    <p:sldLayoutId id="2147484040" r:id="rId30"/>
    <p:sldLayoutId id="2147484041" r:id="rId31"/>
    <p:sldLayoutId id="2147484042" r:id="rId32"/>
    <p:sldLayoutId id="2147484043" r:id="rId33"/>
    <p:sldLayoutId id="2147484044" r:id="rId34"/>
    <p:sldLayoutId id="2147484045" r:id="rId35"/>
    <p:sldLayoutId id="2147484046" r:id="rId36"/>
    <p:sldLayoutId id="2147484047" r:id="rId37"/>
    <p:sldLayoutId id="2147484048" r:id="rId38"/>
    <p:sldLayoutId id="2147484049" r:id="rId39"/>
    <p:sldLayoutId id="2147484050" r:id="rId40"/>
    <p:sldLayoutId id="2147484051" r:id="rId41"/>
    <p:sldLayoutId id="2147484052" r:id="rId42"/>
    <p:sldLayoutId id="2147484053" r:id="rId43"/>
    <p:sldLayoutId id="2147484054" r:id="rId44"/>
    <p:sldLayoutId id="2147484055" r:id="rId45"/>
  </p:sldLayoutIdLst>
  <p:hf sldNum="0" hdr="0" dt="0"/>
  <p:txStyles>
    <p:titleStyle>
      <a:lvl1pPr algn="l" rtl="0" eaLnBrk="1" fontAlgn="base" hangingPunct="1">
        <a:lnSpc>
          <a:spcPct val="90000"/>
        </a:lnSpc>
        <a:spcBef>
          <a:spcPct val="0"/>
        </a:spcBef>
        <a:spcAft>
          <a:spcPct val="0"/>
        </a:spcAft>
        <a:defRPr sz="6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19">
          <a:solidFill>
            <a:srgbClr val="191919"/>
          </a:solidFill>
          <a:latin typeface="IBM Plex Sans Light" pitchFamily="34" charset="0"/>
        </a:defRPr>
      </a:lvl2pPr>
      <a:lvl3pPr algn="l" rtl="0" eaLnBrk="1" fontAlgn="base" hangingPunct="1">
        <a:lnSpc>
          <a:spcPct val="90000"/>
        </a:lnSpc>
        <a:spcBef>
          <a:spcPct val="0"/>
        </a:spcBef>
        <a:spcAft>
          <a:spcPct val="0"/>
        </a:spcAft>
        <a:defRPr sz="5919">
          <a:solidFill>
            <a:srgbClr val="191919"/>
          </a:solidFill>
          <a:latin typeface="IBM Plex Sans Light" pitchFamily="34" charset="0"/>
        </a:defRPr>
      </a:lvl3pPr>
      <a:lvl4pPr algn="l" rtl="0" eaLnBrk="1" fontAlgn="base" hangingPunct="1">
        <a:lnSpc>
          <a:spcPct val="90000"/>
        </a:lnSpc>
        <a:spcBef>
          <a:spcPct val="0"/>
        </a:spcBef>
        <a:spcAft>
          <a:spcPct val="0"/>
        </a:spcAft>
        <a:defRPr sz="5919">
          <a:solidFill>
            <a:srgbClr val="191919"/>
          </a:solidFill>
          <a:latin typeface="IBM Plex Sans Light" pitchFamily="34" charset="0"/>
        </a:defRPr>
      </a:lvl4pPr>
      <a:lvl5pPr algn="l" rtl="0" eaLnBrk="1" fontAlgn="base" hangingPunct="1">
        <a:lnSpc>
          <a:spcPct val="90000"/>
        </a:lnSpc>
        <a:spcBef>
          <a:spcPct val="0"/>
        </a:spcBef>
        <a:spcAft>
          <a:spcPct val="0"/>
        </a:spcAft>
        <a:defRPr sz="5919">
          <a:solidFill>
            <a:srgbClr val="191919"/>
          </a:solidFill>
          <a:latin typeface="IBM Plex Sans Light" pitchFamily="34" charset="0"/>
        </a:defRPr>
      </a:lvl5pPr>
      <a:lvl6pPr marL="966739" algn="l" rtl="0" eaLnBrk="1" fontAlgn="base" hangingPunct="1">
        <a:lnSpc>
          <a:spcPct val="90000"/>
        </a:lnSpc>
        <a:spcBef>
          <a:spcPct val="0"/>
        </a:spcBef>
        <a:spcAft>
          <a:spcPct val="0"/>
        </a:spcAft>
        <a:defRPr sz="5919">
          <a:solidFill>
            <a:srgbClr val="191919"/>
          </a:solidFill>
          <a:latin typeface="IBM Plex Sans Light" pitchFamily="34" charset="0"/>
        </a:defRPr>
      </a:lvl6pPr>
      <a:lvl7pPr marL="1933487" algn="l" rtl="0" eaLnBrk="1" fontAlgn="base" hangingPunct="1">
        <a:lnSpc>
          <a:spcPct val="90000"/>
        </a:lnSpc>
        <a:spcBef>
          <a:spcPct val="0"/>
        </a:spcBef>
        <a:spcAft>
          <a:spcPct val="0"/>
        </a:spcAft>
        <a:defRPr sz="5919">
          <a:solidFill>
            <a:srgbClr val="191919"/>
          </a:solidFill>
          <a:latin typeface="IBM Plex Sans Light" pitchFamily="34" charset="0"/>
        </a:defRPr>
      </a:lvl7pPr>
      <a:lvl8pPr marL="2900226" algn="l" rtl="0" eaLnBrk="1" fontAlgn="base" hangingPunct="1">
        <a:lnSpc>
          <a:spcPct val="90000"/>
        </a:lnSpc>
        <a:spcBef>
          <a:spcPct val="0"/>
        </a:spcBef>
        <a:spcAft>
          <a:spcPct val="0"/>
        </a:spcAft>
        <a:defRPr sz="5919">
          <a:solidFill>
            <a:srgbClr val="191919"/>
          </a:solidFill>
          <a:latin typeface="IBM Plex Sans Light" pitchFamily="34" charset="0"/>
        </a:defRPr>
      </a:lvl8pPr>
      <a:lvl9pPr marL="3866968" algn="l" rtl="0" eaLnBrk="1" fontAlgn="base" hangingPunct="1">
        <a:lnSpc>
          <a:spcPct val="90000"/>
        </a:lnSpc>
        <a:spcBef>
          <a:spcPct val="0"/>
        </a:spcBef>
        <a:spcAft>
          <a:spcPct val="0"/>
        </a:spcAft>
        <a:defRPr sz="5919">
          <a:solidFill>
            <a:srgbClr val="191919"/>
          </a:solidFill>
          <a:latin typeface="IBM Plex Sans Light" pitchFamily="34" charset="0"/>
        </a:defRPr>
      </a:lvl9pPr>
    </p:titleStyle>
    <p:bodyStyle>
      <a:lvl1pPr marL="0" indent="0" algn="l" rtl="0" eaLnBrk="1" fontAlgn="base" hangingPunct="1">
        <a:lnSpc>
          <a:spcPct val="100000"/>
        </a:lnSpc>
        <a:spcBef>
          <a:spcPts val="2933"/>
        </a:spcBef>
        <a:spcAft>
          <a:spcPct val="0"/>
        </a:spcAft>
        <a:buClr>
          <a:srgbClr val="001141"/>
        </a:buClr>
        <a:buSzPct val="90000"/>
        <a:buFont typeface="IBM Plex Sans Light" pitchFamily="2" charset="2"/>
        <a:buNone/>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154" indent="-463245"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310" indent="-463245" algn="l" rtl="0" eaLnBrk="1" fontAlgn="base" hangingPunct="1">
        <a:lnSpc>
          <a:spcPct val="100000"/>
        </a:lnSpc>
        <a:spcBef>
          <a:spcPts val="2933"/>
        </a:spcBef>
        <a:spcAft>
          <a:spcPct val="0"/>
        </a:spcAft>
        <a:buClr>
          <a:srgbClr val="001141"/>
        </a:buClr>
        <a:buSzPct val="100000"/>
        <a:buFont typeface="IBM Plex Sans Light" panose="020B0604020202020204" pitchFamily="34" charset="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234" indent="-463245"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1853" indent="-463245" algn="l" rtl="0" eaLnBrk="1" fontAlgn="base" hangingPunct="1">
        <a:lnSpc>
          <a:spcPct val="100000"/>
        </a:lnSpc>
        <a:spcBef>
          <a:spcPts val="2933"/>
        </a:spcBef>
        <a:spcAft>
          <a:spcPct val="0"/>
        </a:spcAft>
        <a:buClr>
          <a:srgbClr val="001141"/>
        </a:buClr>
        <a:buFont typeface="IBM Plex Sans Light" charset="-12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2780" indent="-345748"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89527" indent="-345748"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6266" indent="-345748"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014" indent="-345748"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487" rtl="0" eaLnBrk="1" latinLnBrk="0" hangingPunct="1">
        <a:defRPr sz="3808" kern="1200">
          <a:solidFill>
            <a:schemeClr val="tx1"/>
          </a:solidFill>
          <a:latin typeface="+mn-lt"/>
          <a:ea typeface="+mn-ea"/>
          <a:cs typeface="+mn-cs"/>
        </a:defRPr>
      </a:lvl1pPr>
      <a:lvl2pPr marL="966739" algn="l" defTabSz="1933487" rtl="0" eaLnBrk="1" latinLnBrk="0" hangingPunct="1">
        <a:defRPr sz="3808" kern="1200">
          <a:solidFill>
            <a:schemeClr val="tx1"/>
          </a:solidFill>
          <a:latin typeface="+mn-lt"/>
          <a:ea typeface="+mn-ea"/>
          <a:cs typeface="+mn-cs"/>
        </a:defRPr>
      </a:lvl2pPr>
      <a:lvl3pPr marL="1933487" algn="l" defTabSz="1933487" rtl="0" eaLnBrk="1" latinLnBrk="0" hangingPunct="1">
        <a:defRPr sz="3808" kern="1200">
          <a:solidFill>
            <a:schemeClr val="tx1"/>
          </a:solidFill>
          <a:latin typeface="+mn-lt"/>
          <a:ea typeface="+mn-ea"/>
          <a:cs typeface="+mn-cs"/>
        </a:defRPr>
      </a:lvl3pPr>
      <a:lvl4pPr marL="2900226" algn="l" defTabSz="1933487" rtl="0" eaLnBrk="1" latinLnBrk="0" hangingPunct="1">
        <a:defRPr sz="3808" kern="1200">
          <a:solidFill>
            <a:schemeClr val="tx1"/>
          </a:solidFill>
          <a:latin typeface="+mn-lt"/>
          <a:ea typeface="+mn-ea"/>
          <a:cs typeface="+mn-cs"/>
        </a:defRPr>
      </a:lvl4pPr>
      <a:lvl5pPr marL="3866968" algn="l" defTabSz="1933487" rtl="0" eaLnBrk="1" latinLnBrk="0" hangingPunct="1">
        <a:defRPr sz="3808" kern="1200">
          <a:solidFill>
            <a:schemeClr val="tx1"/>
          </a:solidFill>
          <a:latin typeface="+mn-lt"/>
          <a:ea typeface="+mn-ea"/>
          <a:cs typeface="+mn-cs"/>
        </a:defRPr>
      </a:lvl5pPr>
      <a:lvl6pPr marL="4833713" algn="l" defTabSz="1933487" rtl="0" eaLnBrk="1" latinLnBrk="0" hangingPunct="1">
        <a:defRPr sz="3808" kern="1200">
          <a:solidFill>
            <a:schemeClr val="tx1"/>
          </a:solidFill>
          <a:latin typeface="+mn-lt"/>
          <a:ea typeface="+mn-ea"/>
          <a:cs typeface="+mn-cs"/>
        </a:defRPr>
      </a:lvl6pPr>
      <a:lvl7pPr marL="5800450" algn="l" defTabSz="1933487" rtl="0" eaLnBrk="1" latinLnBrk="0" hangingPunct="1">
        <a:defRPr sz="3808" kern="1200">
          <a:solidFill>
            <a:schemeClr val="tx1"/>
          </a:solidFill>
          <a:latin typeface="+mn-lt"/>
          <a:ea typeface="+mn-ea"/>
          <a:cs typeface="+mn-cs"/>
        </a:defRPr>
      </a:lvl7pPr>
      <a:lvl8pPr marL="6767194" algn="l" defTabSz="1933487" rtl="0" eaLnBrk="1" latinLnBrk="0" hangingPunct="1">
        <a:defRPr sz="3808" kern="1200">
          <a:solidFill>
            <a:schemeClr val="tx1"/>
          </a:solidFill>
          <a:latin typeface="+mn-lt"/>
          <a:ea typeface="+mn-ea"/>
          <a:cs typeface="+mn-cs"/>
        </a:defRPr>
      </a:lvl8pPr>
      <a:lvl9pPr marL="7733937" algn="l" defTabSz="1933487"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72020" y="12966459"/>
            <a:ext cx="240481" cy="218778"/>
          </a:xfrm>
          <a:prstGeom prst="rect">
            <a:avLst/>
          </a:prstGeom>
          <a:ln w="12700">
            <a:miter lim="400000"/>
          </a:ln>
        </p:spPr>
        <p:txBody>
          <a:bodyPr wrap="none" lIns="0" tIns="0" rIns="0" bIns="0" anchor="b" anchorCtr="0">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3"/>
            <a:ext cx="22590125" cy="86693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5" cy="381000"/>
          </a:xfrm>
          <a:prstGeom prst="rect">
            <a:avLst/>
          </a:prstGeom>
        </p:spPr>
        <p:txBody>
          <a:bodyPr vert="horz" lIns="0" tIns="0" rIns="0" bIns="0" rtlCol="0" anchor="b"/>
          <a:lstStyle>
            <a:lvl1pPr algn="l">
              <a:defRPr sz="1422" b="0" i="0">
                <a:solidFill>
                  <a:schemeClr val="tx1"/>
                </a:solidFill>
                <a:latin typeface="IBM Plex Sans" panose="020B0503050203000203" pitchFamily="34" charset="0"/>
              </a:defRPr>
            </a:lvl1pPr>
          </a:lstStyle>
          <a:p>
            <a:r>
              <a:rPr lang="en-US"/>
              <a:t>2024 IBM Corporation / IBM Client Confidential</a:t>
            </a:r>
          </a:p>
        </p:txBody>
      </p:sp>
    </p:spTree>
    <p:extLst>
      <p:ext uri="{BB962C8B-B14F-4D97-AF65-F5344CB8AC3E}">
        <p14:creationId xmlns:p14="http://schemas.microsoft.com/office/powerpoint/2010/main" val="74825565"/>
      </p:ext>
    </p:extLst>
  </p:cSld>
  <p:clrMap bg1="dk1" tx1="lt1" bg2="dk2" tx2="lt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 id="2147484076" r:id="rId20"/>
    <p:sldLayoutId id="2147484077" r:id="rId21"/>
    <p:sldLayoutId id="2147484078" r:id="rId22"/>
    <p:sldLayoutId id="2147484079" r:id="rId23"/>
    <p:sldLayoutId id="2147484080" r:id="rId24"/>
    <p:sldLayoutId id="2147484081" r:id="rId25"/>
    <p:sldLayoutId id="2147484082" r:id="rId26"/>
    <p:sldLayoutId id="2147484083" r:id="rId27"/>
    <p:sldLayoutId id="2147484084" r:id="rId28"/>
    <p:sldLayoutId id="2147484085" r:id="rId29"/>
    <p:sldLayoutId id="2147484086" r:id="rId30"/>
    <p:sldLayoutId id="2147484087" r:id="rId31"/>
    <p:sldLayoutId id="2147484088" r:id="rId32"/>
    <p:sldLayoutId id="2147484089" r:id="rId33"/>
    <p:sldLayoutId id="2147484090" r:id="rId34"/>
    <p:sldLayoutId id="2147484091" r:id="rId35"/>
    <p:sldLayoutId id="2147484092" r:id="rId36"/>
    <p:sldLayoutId id="2147484093" r:id="rId37"/>
    <p:sldLayoutId id="2147484094" r:id="rId38"/>
    <p:sldLayoutId id="2147484095" r:id="rId39"/>
    <p:sldLayoutId id="2147484096" r:id="rId40"/>
    <p:sldLayoutId id="2147484097" r:id="rId41"/>
    <p:sldLayoutId id="2147484098" r:id="rId42"/>
    <p:sldLayoutId id="2147484099" r:id="rId43"/>
    <p:sldLayoutId id="2147484100" r:id="rId44"/>
    <p:sldLayoutId id="2147484101" r:id="rId45"/>
    <p:sldLayoutId id="2147484102" r:id="rId46"/>
    <p:sldLayoutId id="2147484103" r:id="rId47"/>
  </p:sldLayoutIdLst>
  <p:transition spd="med"/>
  <p:hf sldNum="0" hdr="0" dt="0"/>
  <p:txStyles>
    <p:titleStyle>
      <a:lvl1pPr marL="0" marR="0" indent="0" algn="l" defTabSz="2167684" rtl="0" eaLnBrk="1" latinLnBrk="0" hangingPunct="1">
        <a:lnSpc>
          <a:spcPct val="90000"/>
        </a:lnSpc>
        <a:spcBef>
          <a:spcPts val="0"/>
        </a:spcBef>
        <a:spcAft>
          <a:spcPts val="0"/>
        </a:spcAft>
        <a:buClrTx/>
        <a:buSzTx/>
        <a:buFontTx/>
        <a:buNone/>
        <a:tabLst/>
        <a:defRPr sz="5690" b="0" i="0" u="none" strike="noStrike" cap="none" spc="0" baseline="0">
          <a:solidFill>
            <a:schemeClr val="tx2"/>
          </a:solidFill>
          <a:uFillTx/>
          <a:latin typeface="+mj-lt"/>
          <a:ea typeface="+mj-ea"/>
          <a:cs typeface="+mj-cs"/>
          <a:sym typeface="IBM Plex Sans Light"/>
        </a:defRPr>
      </a:lvl1pPr>
      <a:lvl2pPr marL="0" marR="0" indent="0" algn="l" defTabSz="2167684" rtl="0" eaLnBrk="1" latinLnBrk="0" hangingPunct="1">
        <a:lnSpc>
          <a:spcPct val="90000"/>
        </a:lnSpc>
        <a:spcBef>
          <a:spcPts val="0"/>
        </a:spcBef>
        <a:spcAft>
          <a:spcPts val="0"/>
        </a:spcAft>
        <a:buClrTx/>
        <a:buSzTx/>
        <a:buFontTx/>
        <a:buNone/>
        <a:tabLst/>
        <a:defRPr sz="5690" b="0" i="0" u="none" strike="noStrike" cap="none" spc="0" baseline="0">
          <a:solidFill>
            <a:srgbClr val="000000"/>
          </a:solidFill>
          <a:uFillTx/>
          <a:latin typeface="+mj-lt"/>
          <a:ea typeface="+mj-ea"/>
          <a:cs typeface="+mj-cs"/>
          <a:sym typeface="IBM Plex Sans Light"/>
        </a:defRPr>
      </a:lvl2pPr>
      <a:lvl3pPr marL="0" marR="0" indent="0" algn="l" defTabSz="2167684" rtl="0" eaLnBrk="1" latinLnBrk="0" hangingPunct="1">
        <a:lnSpc>
          <a:spcPct val="90000"/>
        </a:lnSpc>
        <a:spcBef>
          <a:spcPts val="0"/>
        </a:spcBef>
        <a:spcAft>
          <a:spcPts val="0"/>
        </a:spcAft>
        <a:buClrTx/>
        <a:buSzTx/>
        <a:buFontTx/>
        <a:buNone/>
        <a:tabLst/>
        <a:defRPr sz="5690" b="0" i="0" u="none" strike="noStrike" cap="none" spc="0" baseline="0">
          <a:solidFill>
            <a:srgbClr val="000000"/>
          </a:solidFill>
          <a:uFillTx/>
          <a:latin typeface="+mj-lt"/>
          <a:ea typeface="+mj-ea"/>
          <a:cs typeface="+mj-cs"/>
          <a:sym typeface="IBM Plex Sans Light"/>
        </a:defRPr>
      </a:lvl3pPr>
      <a:lvl4pPr marL="0" marR="0" indent="0" algn="l" defTabSz="2167684" rtl="0" eaLnBrk="1" latinLnBrk="0" hangingPunct="1">
        <a:lnSpc>
          <a:spcPct val="90000"/>
        </a:lnSpc>
        <a:spcBef>
          <a:spcPts val="0"/>
        </a:spcBef>
        <a:spcAft>
          <a:spcPts val="0"/>
        </a:spcAft>
        <a:buClrTx/>
        <a:buSzTx/>
        <a:buFontTx/>
        <a:buNone/>
        <a:tabLst/>
        <a:defRPr sz="5690" b="0" i="0" u="none" strike="noStrike" cap="none" spc="0" baseline="0">
          <a:solidFill>
            <a:srgbClr val="000000"/>
          </a:solidFill>
          <a:uFillTx/>
          <a:latin typeface="+mj-lt"/>
          <a:ea typeface="+mj-ea"/>
          <a:cs typeface="+mj-cs"/>
          <a:sym typeface="IBM Plex Sans Light"/>
        </a:defRPr>
      </a:lvl4pPr>
      <a:lvl5pPr marL="0" marR="0" indent="0" algn="l" defTabSz="2167684" rtl="0" eaLnBrk="1" latinLnBrk="0" hangingPunct="1">
        <a:lnSpc>
          <a:spcPct val="90000"/>
        </a:lnSpc>
        <a:spcBef>
          <a:spcPts val="0"/>
        </a:spcBef>
        <a:spcAft>
          <a:spcPts val="0"/>
        </a:spcAft>
        <a:buClrTx/>
        <a:buSzTx/>
        <a:buFontTx/>
        <a:buNone/>
        <a:tabLst/>
        <a:defRPr sz="5690" b="0" i="0" u="none" strike="noStrike" cap="none" spc="0" baseline="0">
          <a:solidFill>
            <a:srgbClr val="000000"/>
          </a:solidFill>
          <a:uFillTx/>
          <a:latin typeface="+mj-lt"/>
          <a:ea typeface="+mj-ea"/>
          <a:cs typeface="+mj-cs"/>
          <a:sym typeface="IBM Plex Sans Light"/>
        </a:defRPr>
      </a:lvl5pPr>
      <a:lvl6pPr marL="0" marR="0" indent="322314" algn="l" defTabSz="2167684" rtl="0" eaLnBrk="1" latinLnBrk="0" hangingPunct="1">
        <a:lnSpc>
          <a:spcPct val="90000"/>
        </a:lnSpc>
        <a:spcBef>
          <a:spcPts val="0"/>
        </a:spcBef>
        <a:spcAft>
          <a:spcPts val="0"/>
        </a:spcAft>
        <a:buClrTx/>
        <a:buSzTx/>
        <a:buFontTx/>
        <a:buNone/>
        <a:tabLst/>
        <a:defRPr sz="5690" b="0" i="0" u="none" strike="noStrike" cap="none" spc="0" baseline="0">
          <a:solidFill>
            <a:srgbClr val="000000"/>
          </a:solidFill>
          <a:uFillTx/>
          <a:latin typeface="+mj-lt"/>
          <a:ea typeface="+mj-ea"/>
          <a:cs typeface="+mj-cs"/>
          <a:sym typeface="IBM Plex Sans Light"/>
        </a:defRPr>
      </a:lvl6pPr>
      <a:lvl7pPr marL="0" marR="0" indent="644632" algn="l" defTabSz="2167684" rtl="0" eaLnBrk="1" latinLnBrk="0" hangingPunct="1">
        <a:lnSpc>
          <a:spcPct val="90000"/>
        </a:lnSpc>
        <a:spcBef>
          <a:spcPts val="0"/>
        </a:spcBef>
        <a:spcAft>
          <a:spcPts val="0"/>
        </a:spcAft>
        <a:buClrTx/>
        <a:buSzTx/>
        <a:buFontTx/>
        <a:buNone/>
        <a:tabLst/>
        <a:defRPr sz="5690" b="0" i="0" u="none" strike="noStrike" cap="none" spc="0" baseline="0">
          <a:solidFill>
            <a:srgbClr val="000000"/>
          </a:solidFill>
          <a:uFillTx/>
          <a:latin typeface="+mj-lt"/>
          <a:ea typeface="+mj-ea"/>
          <a:cs typeface="+mj-cs"/>
          <a:sym typeface="IBM Plex Sans Light"/>
        </a:defRPr>
      </a:lvl7pPr>
      <a:lvl8pPr marL="0" marR="0" indent="966948" algn="l" defTabSz="2167684" rtl="0" eaLnBrk="1" latinLnBrk="0" hangingPunct="1">
        <a:lnSpc>
          <a:spcPct val="90000"/>
        </a:lnSpc>
        <a:spcBef>
          <a:spcPts val="0"/>
        </a:spcBef>
        <a:spcAft>
          <a:spcPts val="0"/>
        </a:spcAft>
        <a:buClrTx/>
        <a:buSzTx/>
        <a:buFontTx/>
        <a:buNone/>
        <a:tabLst/>
        <a:defRPr sz="5690" b="0" i="0" u="none" strike="noStrike" cap="none" spc="0" baseline="0">
          <a:solidFill>
            <a:srgbClr val="000000"/>
          </a:solidFill>
          <a:uFillTx/>
          <a:latin typeface="+mj-lt"/>
          <a:ea typeface="+mj-ea"/>
          <a:cs typeface="+mj-cs"/>
          <a:sym typeface="IBM Plex Sans Light"/>
        </a:defRPr>
      </a:lvl8pPr>
      <a:lvl9pPr marL="0" marR="0" indent="1289264" algn="l" defTabSz="2167684" rtl="0" eaLnBrk="1" latinLnBrk="0" hangingPunct="1">
        <a:lnSpc>
          <a:spcPct val="90000"/>
        </a:lnSpc>
        <a:spcBef>
          <a:spcPts val="0"/>
        </a:spcBef>
        <a:spcAft>
          <a:spcPts val="0"/>
        </a:spcAft>
        <a:buClrTx/>
        <a:buSzTx/>
        <a:buFontTx/>
        <a:buNone/>
        <a:tabLst/>
        <a:defRPr sz="5690" b="0" i="0" u="none" strike="noStrike" cap="none" spc="0" baseline="0">
          <a:solidFill>
            <a:srgbClr val="000000"/>
          </a:solidFill>
          <a:uFillTx/>
          <a:latin typeface="+mj-lt"/>
          <a:ea typeface="+mj-ea"/>
          <a:cs typeface="+mj-cs"/>
          <a:sym typeface="IBM Plex Sans Light"/>
        </a:defRPr>
      </a:lvl9pPr>
    </p:titleStyle>
    <p:bodyStyle>
      <a:lvl1pPr marL="0" marR="0" indent="0" algn="l" defTabSz="2167684" rtl="0" eaLnBrk="1" latinLnBrk="0" hangingPunct="1">
        <a:lnSpc>
          <a:spcPct val="110000"/>
        </a:lnSpc>
        <a:spcBef>
          <a:spcPts val="0"/>
        </a:spcBef>
        <a:spcAft>
          <a:spcPts val="0"/>
        </a:spcAft>
        <a:buClrTx/>
        <a:buSzTx/>
        <a:buFontTx/>
        <a:buNone/>
        <a:tabLst/>
        <a:defRPr sz="3200" b="0" i="0" u="none" strike="noStrike" cap="none" spc="0" baseline="0">
          <a:solidFill>
            <a:schemeClr val="tx1"/>
          </a:solidFill>
          <a:uFillTx/>
          <a:latin typeface="+mj-lt"/>
          <a:ea typeface="+mj-ea"/>
          <a:cs typeface="+mj-cs"/>
          <a:sym typeface="IBM Plex Sans Light"/>
        </a:defRPr>
      </a:lvl1pPr>
      <a:lvl2pPr marL="292638" marR="0" indent="-292638" algn="l" defTabSz="2167684" rtl="0" eaLnBrk="1" latinLnBrk="0" hangingPunct="1">
        <a:lnSpc>
          <a:spcPct val="110000"/>
        </a:lnSpc>
        <a:spcBef>
          <a:spcPts val="0"/>
        </a:spcBef>
        <a:spcAft>
          <a:spcPts val="0"/>
        </a:spcAft>
        <a:buClrTx/>
        <a:buSzPct val="100000"/>
        <a:buFontTx/>
        <a:buChar char="–"/>
        <a:tabLst/>
        <a:defRPr sz="3200" b="0" i="0" u="none" strike="noStrike" cap="none" spc="0" baseline="0">
          <a:solidFill>
            <a:schemeClr val="tx1"/>
          </a:solidFill>
          <a:uFillTx/>
          <a:latin typeface="+mj-lt"/>
          <a:ea typeface="+mj-ea"/>
          <a:cs typeface="+mj-cs"/>
          <a:sym typeface="IBM Plex Sans Light"/>
        </a:defRPr>
      </a:lvl2pPr>
      <a:lvl3pPr marL="585274" marR="0" indent="-292638" algn="l" defTabSz="2167684" rtl="0" eaLnBrk="1" latinLnBrk="0" hangingPunct="1">
        <a:lnSpc>
          <a:spcPct val="110000"/>
        </a:lnSpc>
        <a:spcBef>
          <a:spcPts val="0"/>
        </a:spcBef>
        <a:spcAft>
          <a:spcPts val="0"/>
        </a:spcAft>
        <a:buClrTx/>
        <a:buSzPct val="100000"/>
        <a:buFontTx/>
        <a:buChar char="•"/>
        <a:tabLst/>
        <a:defRPr sz="3200" b="0" i="0" u="none" strike="noStrike" cap="none" spc="0" baseline="0">
          <a:solidFill>
            <a:schemeClr val="tx1"/>
          </a:solidFill>
          <a:uFillTx/>
          <a:latin typeface="+mj-lt"/>
          <a:ea typeface="+mj-ea"/>
          <a:cs typeface="+mj-cs"/>
          <a:sym typeface="IBM Plex Sans Light"/>
        </a:defRPr>
      </a:lvl3pPr>
      <a:lvl4pPr marL="877912" marR="0" indent="-292638" algn="l" defTabSz="2167684" rtl="0" eaLnBrk="1" latinLnBrk="0" hangingPunct="1">
        <a:lnSpc>
          <a:spcPct val="110000"/>
        </a:lnSpc>
        <a:spcBef>
          <a:spcPts val="0"/>
        </a:spcBef>
        <a:spcAft>
          <a:spcPts val="0"/>
        </a:spcAft>
        <a:buClrTx/>
        <a:buSzPct val="100000"/>
        <a:buFontTx/>
        <a:buChar char="–"/>
        <a:tabLst/>
        <a:defRPr sz="3200" b="0" i="0" u="none" strike="noStrike" cap="none" spc="0" baseline="0">
          <a:solidFill>
            <a:schemeClr val="tx1"/>
          </a:solidFill>
          <a:uFillTx/>
          <a:latin typeface="+mj-lt"/>
          <a:ea typeface="+mj-ea"/>
          <a:cs typeface="+mj-cs"/>
          <a:sym typeface="IBM Plex Sans Light"/>
        </a:defRPr>
      </a:lvl4pPr>
      <a:lvl5pPr marL="1016102" marR="0" indent="-406440" algn="l" defTabSz="2167684" rtl="0" eaLnBrk="1" latinLnBrk="0" hangingPunct="1">
        <a:lnSpc>
          <a:spcPct val="110000"/>
        </a:lnSpc>
        <a:spcBef>
          <a:spcPts val="2578"/>
        </a:spcBef>
        <a:spcAft>
          <a:spcPts val="0"/>
        </a:spcAft>
        <a:buClrTx/>
        <a:buSzPct val="100000"/>
        <a:buFont typeface="Arial" panose="020B0604020202020204" pitchFamily="34" charset="0"/>
        <a:buChar char="•"/>
        <a:tabLst/>
        <a:defRPr sz="3200" b="0" i="0" u="none" strike="noStrike" cap="none" spc="0" baseline="0">
          <a:solidFill>
            <a:srgbClr val="000000"/>
          </a:solidFill>
          <a:uFillTx/>
          <a:latin typeface="+mj-lt"/>
          <a:ea typeface="+mj-ea"/>
          <a:cs typeface="+mj-cs"/>
          <a:sym typeface="IBM Plex Sans Light"/>
        </a:defRPr>
      </a:lvl5pPr>
      <a:lvl6pPr marL="1638440" marR="0" indent="-345820" algn="l" defTabSz="2167684" rtl="0" eaLnBrk="1" latinLnBrk="0" hangingPunct="1">
        <a:lnSpc>
          <a:spcPct val="100000"/>
        </a:lnSpc>
        <a:spcBef>
          <a:spcPts val="2578"/>
        </a:spcBef>
        <a:spcAft>
          <a:spcPts val="0"/>
        </a:spcAft>
        <a:buClrTx/>
        <a:buSzPct val="100000"/>
        <a:buFontTx/>
        <a:buChar char="»"/>
        <a:tabLst/>
        <a:defRPr sz="3200" b="0" i="0" u="none" strike="noStrike" cap="none" spc="0" baseline="0">
          <a:solidFill>
            <a:srgbClr val="000000"/>
          </a:solidFill>
          <a:uFillTx/>
          <a:latin typeface="+mj-lt"/>
          <a:ea typeface="+mj-ea"/>
          <a:cs typeface="+mj-cs"/>
          <a:sym typeface="IBM Plex Sans Light"/>
        </a:defRPr>
      </a:lvl6pPr>
      <a:lvl7pPr marL="1960756" marR="0" indent="-345820" algn="l" defTabSz="2167684" rtl="0" eaLnBrk="1" latinLnBrk="0" hangingPunct="1">
        <a:lnSpc>
          <a:spcPct val="100000"/>
        </a:lnSpc>
        <a:spcBef>
          <a:spcPts val="2578"/>
        </a:spcBef>
        <a:spcAft>
          <a:spcPts val="0"/>
        </a:spcAft>
        <a:buClrTx/>
        <a:buSzPct val="100000"/>
        <a:buFontTx/>
        <a:buChar char="»"/>
        <a:tabLst/>
        <a:defRPr sz="3200" b="0" i="0" u="none" strike="noStrike" cap="none" spc="0" baseline="0">
          <a:solidFill>
            <a:srgbClr val="000000"/>
          </a:solidFill>
          <a:uFillTx/>
          <a:latin typeface="+mj-lt"/>
          <a:ea typeface="+mj-ea"/>
          <a:cs typeface="+mj-cs"/>
          <a:sym typeface="IBM Plex Sans Light"/>
        </a:defRPr>
      </a:lvl7pPr>
      <a:lvl8pPr marL="2283072" marR="0" indent="-345820" algn="l" defTabSz="2167684" rtl="0" eaLnBrk="1" latinLnBrk="0" hangingPunct="1">
        <a:lnSpc>
          <a:spcPct val="100000"/>
        </a:lnSpc>
        <a:spcBef>
          <a:spcPts val="2578"/>
        </a:spcBef>
        <a:spcAft>
          <a:spcPts val="0"/>
        </a:spcAft>
        <a:buClrTx/>
        <a:buSzPct val="100000"/>
        <a:buFontTx/>
        <a:buChar char="»"/>
        <a:tabLst/>
        <a:defRPr sz="3200" b="0" i="0" u="none" strike="noStrike" cap="none" spc="0" baseline="0">
          <a:solidFill>
            <a:srgbClr val="000000"/>
          </a:solidFill>
          <a:uFillTx/>
          <a:latin typeface="+mj-lt"/>
          <a:ea typeface="+mj-ea"/>
          <a:cs typeface="+mj-cs"/>
          <a:sym typeface="IBM Plex Sans Light"/>
        </a:defRPr>
      </a:lvl8pPr>
      <a:lvl9pPr marL="2605388" marR="0" indent="-345820" algn="l" defTabSz="2167684" rtl="0" eaLnBrk="1" latinLnBrk="0" hangingPunct="1">
        <a:lnSpc>
          <a:spcPct val="100000"/>
        </a:lnSpc>
        <a:spcBef>
          <a:spcPts val="2578"/>
        </a:spcBef>
        <a:spcAft>
          <a:spcPts val="0"/>
        </a:spcAft>
        <a:buClrTx/>
        <a:buSzPct val="100000"/>
        <a:buFontTx/>
        <a:buChar char="»"/>
        <a:tabLst/>
        <a:defRPr sz="3200" b="0" i="0" u="none" strike="noStrike" cap="none" spc="0" baseline="0">
          <a:solidFill>
            <a:srgbClr val="000000"/>
          </a:solidFill>
          <a:uFillTx/>
          <a:latin typeface="+mj-lt"/>
          <a:ea typeface="+mj-ea"/>
          <a:cs typeface="+mj-cs"/>
          <a:sym typeface="IBM Plex Sans Light"/>
        </a:defRPr>
      </a:lvl9pPr>
    </p:bodyStyle>
    <p:otherStyle>
      <a:lvl1pPr marL="0" marR="0" indent="0" algn="r" defTabSz="1626196" rtl="0" eaLnBrk="1" latinLnBrk="0" hangingPunct="1">
        <a:lnSpc>
          <a:spcPct val="100000"/>
        </a:lnSpc>
        <a:spcBef>
          <a:spcPts val="0"/>
        </a:spcBef>
        <a:spcAft>
          <a:spcPts val="0"/>
        </a:spcAft>
        <a:buClrTx/>
        <a:buSzTx/>
        <a:buFontTx/>
        <a:buNone/>
        <a:tabLst/>
        <a:defRPr sz="1422" b="0" i="0" u="none" strike="noStrike" cap="none" spc="0" baseline="0">
          <a:solidFill>
            <a:schemeClr val="tx1"/>
          </a:solidFill>
          <a:uFillTx/>
          <a:latin typeface="+mn-lt"/>
          <a:ea typeface="+mn-ea"/>
          <a:cs typeface="+mn-cs"/>
          <a:sym typeface="IBM Plex Sans"/>
        </a:defRPr>
      </a:lvl1pPr>
      <a:lvl2pPr marL="0" marR="0" indent="304912" algn="r" defTabSz="1626196" rtl="0" eaLnBrk="1" latinLnBrk="0" hangingPunct="1">
        <a:lnSpc>
          <a:spcPct val="100000"/>
        </a:lnSpc>
        <a:spcBef>
          <a:spcPts val="0"/>
        </a:spcBef>
        <a:spcAft>
          <a:spcPts val="0"/>
        </a:spcAft>
        <a:buClrTx/>
        <a:buSzTx/>
        <a:buFontTx/>
        <a:buNone/>
        <a:tabLst/>
        <a:defRPr sz="1422" b="0" i="0" u="none" strike="noStrike" cap="none" spc="0" baseline="0">
          <a:solidFill>
            <a:schemeClr val="tx1"/>
          </a:solidFill>
          <a:uFillTx/>
          <a:latin typeface="+mn-lt"/>
          <a:ea typeface="+mn-ea"/>
          <a:cs typeface="+mn-cs"/>
          <a:sym typeface="IBM Plex Sans"/>
        </a:defRPr>
      </a:lvl2pPr>
      <a:lvl3pPr marL="0" marR="0" indent="609822" algn="r" defTabSz="1626196" rtl="0" eaLnBrk="1" latinLnBrk="0" hangingPunct="1">
        <a:lnSpc>
          <a:spcPct val="100000"/>
        </a:lnSpc>
        <a:spcBef>
          <a:spcPts val="0"/>
        </a:spcBef>
        <a:spcAft>
          <a:spcPts val="0"/>
        </a:spcAft>
        <a:buClrTx/>
        <a:buSzTx/>
        <a:buFontTx/>
        <a:buNone/>
        <a:tabLst/>
        <a:defRPr sz="1422" b="0" i="0" u="none" strike="noStrike" cap="none" spc="0" baseline="0">
          <a:solidFill>
            <a:schemeClr val="tx1"/>
          </a:solidFill>
          <a:uFillTx/>
          <a:latin typeface="+mn-lt"/>
          <a:ea typeface="+mn-ea"/>
          <a:cs typeface="+mn-cs"/>
          <a:sym typeface="IBM Plex Sans"/>
        </a:defRPr>
      </a:lvl3pPr>
      <a:lvl4pPr marL="0" marR="0" indent="914736" algn="r" defTabSz="1626196" rtl="0" eaLnBrk="1" latinLnBrk="0" hangingPunct="1">
        <a:lnSpc>
          <a:spcPct val="100000"/>
        </a:lnSpc>
        <a:spcBef>
          <a:spcPts val="0"/>
        </a:spcBef>
        <a:spcAft>
          <a:spcPts val="0"/>
        </a:spcAft>
        <a:buClrTx/>
        <a:buSzTx/>
        <a:buFontTx/>
        <a:buNone/>
        <a:tabLst/>
        <a:defRPr sz="1422" b="0" i="0" u="none" strike="noStrike" cap="none" spc="0" baseline="0">
          <a:solidFill>
            <a:schemeClr val="tx1"/>
          </a:solidFill>
          <a:uFillTx/>
          <a:latin typeface="+mn-lt"/>
          <a:ea typeface="+mn-ea"/>
          <a:cs typeface="+mn-cs"/>
          <a:sym typeface="IBM Plex Sans"/>
        </a:defRPr>
      </a:lvl4pPr>
      <a:lvl5pPr marL="0" marR="0" indent="1219646" algn="r" defTabSz="1626196" rtl="0" eaLnBrk="1" latinLnBrk="0" hangingPunct="1">
        <a:lnSpc>
          <a:spcPct val="100000"/>
        </a:lnSpc>
        <a:spcBef>
          <a:spcPts val="0"/>
        </a:spcBef>
        <a:spcAft>
          <a:spcPts val="0"/>
        </a:spcAft>
        <a:buClrTx/>
        <a:buSzTx/>
        <a:buFontTx/>
        <a:buNone/>
        <a:tabLst/>
        <a:defRPr sz="1422" b="0" i="0" u="none" strike="noStrike" cap="none" spc="0" baseline="0">
          <a:solidFill>
            <a:schemeClr val="tx1"/>
          </a:solidFill>
          <a:uFillTx/>
          <a:latin typeface="+mn-lt"/>
          <a:ea typeface="+mn-ea"/>
          <a:cs typeface="+mn-cs"/>
          <a:sym typeface="IBM Plex Sans"/>
        </a:defRPr>
      </a:lvl5pPr>
      <a:lvl6pPr marL="0" marR="0" indent="1524558" algn="r" defTabSz="1626196" rtl="0" eaLnBrk="1" latinLnBrk="0" hangingPunct="1">
        <a:lnSpc>
          <a:spcPct val="100000"/>
        </a:lnSpc>
        <a:spcBef>
          <a:spcPts val="0"/>
        </a:spcBef>
        <a:spcAft>
          <a:spcPts val="0"/>
        </a:spcAft>
        <a:buClrTx/>
        <a:buSzTx/>
        <a:buFontTx/>
        <a:buNone/>
        <a:tabLst/>
        <a:defRPr sz="1422" b="0" i="0" u="none" strike="noStrike" cap="none" spc="0" baseline="0">
          <a:solidFill>
            <a:schemeClr val="tx1"/>
          </a:solidFill>
          <a:uFillTx/>
          <a:latin typeface="+mn-lt"/>
          <a:ea typeface="+mn-ea"/>
          <a:cs typeface="+mn-cs"/>
          <a:sym typeface="IBM Plex Sans"/>
        </a:defRPr>
      </a:lvl6pPr>
      <a:lvl7pPr marL="0" marR="0" indent="1829470" algn="r" defTabSz="1626196" rtl="0" eaLnBrk="1" latinLnBrk="0" hangingPunct="1">
        <a:lnSpc>
          <a:spcPct val="100000"/>
        </a:lnSpc>
        <a:spcBef>
          <a:spcPts val="0"/>
        </a:spcBef>
        <a:spcAft>
          <a:spcPts val="0"/>
        </a:spcAft>
        <a:buClrTx/>
        <a:buSzTx/>
        <a:buFontTx/>
        <a:buNone/>
        <a:tabLst/>
        <a:defRPr sz="1422" b="0" i="0" u="none" strike="noStrike" cap="none" spc="0" baseline="0">
          <a:solidFill>
            <a:schemeClr val="tx1"/>
          </a:solidFill>
          <a:uFillTx/>
          <a:latin typeface="+mn-lt"/>
          <a:ea typeface="+mn-ea"/>
          <a:cs typeface="+mn-cs"/>
          <a:sym typeface="IBM Plex Sans"/>
        </a:defRPr>
      </a:lvl7pPr>
      <a:lvl8pPr marL="0" marR="0" indent="2134382" algn="r" defTabSz="1626196" rtl="0" eaLnBrk="1" latinLnBrk="0" hangingPunct="1">
        <a:lnSpc>
          <a:spcPct val="100000"/>
        </a:lnSpc>
        <a:spcBef>
          <a:spcPts val="0"/>
        </a:spcBef>
        <a:spcAft>
          <a:spcPts val="0"/>
        </a:spcAft>
        <a:buClrTx/>
        <a:buSzTx/>
        <a:buFontTx/>
        <a:buNone/>
        <a:tabLst/>
        <a:defRPr sz="1422" b="0" i="0" u="none" strike="noStrike" cap="none" spc="0" baseline="0">
          <a:solidFill>
            <a:schemeClr val="tx1"/>
          </a:solidFill>
          <a:uFillTx/>
          <a:latin typeface="+mn-lt"/>
          <a:ea typeface="+mn-ea"/>
          <a:cs typeface="+mn-cs"/>
          <a:sym typeface="IBM Plex Sans"/>
        </a:defRPr>
      </a:lvl8pPr>
      <a:lvl9pPr marL="0" marR="0" indent="2439294" algn="r" defTabSz="1626196" rtl="0" eaLnBrk="1" latinLnBrk="0" hangingPunct="1">
        <a:lnSpc>
          <a:spcPct val="100000"/>
        </a:lnSpc>
        <a:spcBef>
          <a:spcPts val="0"/>
        </a:spcBef>
        <a:spcAft>
          <a:spcPts val="0"/>
        </a:spcAft>
        <a:buClrTx/>
        <a:buSzTx/>
        <a:buFontTx/>
        <a:buNone/>
        <a:tabLst/>
        <a:defRPr sz="1422"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3" y="12939015"/>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2797996457"/>
      </p:ext>
    </p:extLst>
  </p:cSld>
  <p:clrMap bg1="dk1" tx1="lt1" bg2="dk2" tx2="lt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 id="2147484119" r:id="rId15"/>
    <p:sldLayoutId id="2147484120" r:id="rId16"/>
    <p:sldLayoutId id="2147484121" r:id="rId17"/>
    <p:sldLayoutId id="2147484122" r:id="rId18"/>
    <p:sldLayoutId id="2147484123" r:id="rId19"/>
    <p:sldLayoutId id="2147484124" r:id="rId20"/>
    <p:sldLayoutId id="2147484125" r:id="rId21"/>
    <p:sldLayoutId id="2147484126" r:id="rId22"/>
    <p:sldLayoutId id="2147484127" r:id="rId23"/>
    <p:sldLayoutId id="2147484128" r:id="rId24"/>
    <p:sldLayoutId id="2147484129" r:id="rId25"/>
    <p:sldLayoutId id="2147484130" r:id="rId26"/>
    <p:sldLayoutId id="2147484131" r:id="rId27"/>
    <p:sldLayoutId id="2147484132" r:id="rId28"/>
    <p:sldLayoutId id="2147484133" r:id="rId29"/>
    <p:sldLayoutId id="2147484134" r:id="rId30"/>
    <p:sldLayoutId id="2147484135" r:id="rId31"/>
    <p:sldLayoutId id="2147484136" r:id="rId32"/>
    <p:sldLayoutId id="2147484137" r:id="rId33"/>
    <p:sldLayoutId id="2147484138" r:id="rId34"/>
    <p:sldLayoutId id="2147484139" r:id="rId35"/>
    <p:sldLayoutId id="2147484140" r:id="rId36"/>
    <p:sldLayoutId id="2147484141" r:id="rId37"/>
    <p:sldLayoutId id="2147484142" r:id="rId38"/>
    <p:sldLayoutId id="2147484143" r:id="rId39"/>
    <p:sldLayoutId id="2147484144" r:id="rId40"/>
    <p:sldLayoutId id="2147484145" r:id="rId41"/>
    <p:sldLayoutId id="2147484146" r:id="rId42"/>
    <p:sldLayoutId id="2147484147" r:id="rId43"/>
    <p:sldLayoutId id="2147484148" r:id="rId44"/>
    <p:sldLayoutId id="2147484149" r:id="rId45"/>
    <p:sldLayoutId id="2147484150" r:id="rId46"/>
  </p:sldLayoutIdLst>
  <p:transition spd="med"/>
  <p:hf hdr="0" dt="0"/>
  <p:txStyles>
    <p:titleStyle>
      <a:lvl1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4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68"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69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1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36"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6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38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5" y="12939015"/>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1"/>
            <a:ext cx="22590125" cy="86693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7" y="12804236"/>
            <a:ext cx="4956175" cy="381000"/>
          </a:xfrm>
          <a:prstGeom prst="rect">
            <a:avLst/>
          </a:prstGeom>
        </p:spPr>
        <p:txBody>
          <a:bodyPr vert="horz" lIns="0" tIns="0" rIns="0" bIns="0" rtlCol="0" anchor="b"/>
          <a:lstStyle>
            <a:lvl1pPr algn="l">
              <a:defRPr sz="1600" b="0" i="0">
                <a:solidFill>
                  <a:schemeClr val="tx1"/>
                </a:solidFill>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970677229"/>
      </p:ext>
    </p:extLst>
  </p:cSld>
  <p:clrMap bg1="dk1" tx1="lt1" bg2="dk2" tx2="lt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 id="2147484163" r:id="rId12"/>
    <p:sldLayoutId id="2147484164" r:id="rId13"/>
    <p:sldLayoutId id="2147484165" r:id="rId14"/>
    <p:sldLayoutId id="2147484166" r:id="rId15"/>
    <p:sldLayoutId id="2147484167" r:id="rId16"/>
    <p:sldLayoutId id="2147484168" r:id="rId17"/>
    <p:sldLayoutId id="2147484169" r:id="rId18"/>
    <p:sldLayoutId id="2147484170" r:id="rId19"/>
    <p:sldLayoutId id="2147484171" r:id="rId20"/>
    <p:sldLayoutId id="2147484172" r:id="rId21"/>
    <p:sldLayoutId id="2147484173" r:id="rId22"/>
    <p:sldLayoutId id="2147484174" r:id="rId23"/>
    <p:sldLayoutId id="2147484175" r:id="rId24"/>
    <p:sldLayoutId id="2147484176" r:id="rId25"/>
    <p:sldLayoutId id="2147484177" r:id="rId26"/>
    <p:sldLayoutId id="2147484178" r:id="rId27"/>
    <p:sldLayoutId id="2147484179" r:id="rId28"/>
    <p:sldLayoutId id="2147484180" r:id="rId29"/>
    <p:sldLayoutId id="2147484181" r:id="rId30"/>
    <p:sldLayoutId id="2147484182" r:id="rId31"/>
    <p:sldLayoutId id="2147484183" r:id="rId32"/>
    <p:sldLayoutId id="2147484184" r:id="rId33"/>
    <p:sldLayoutId id="2147484185" r:id="rId34"/>
    <p:sldLayoutId id="2147484186" r:id="rId35"/>
    <p:sldLayoutId id="2147484187" r:id="rId36"/>
    <p:sldLayoutId id="2147484188" r:id="rId37"/>
    <p:sldLayoutId id="2147484189" r:id="rId38"/>
    <p:sldLayoutId id="2147484190" r:id="rId39"/>
    <p:sldLayoutId id="2147484191" r:id="rId40"/>
    <p:sldLayoutId id="2147484192" r:id="rId41"/>
    <p:sldLayoutId id="2147484193" r:id="rId42"/>
    <p:sldLayoutId id="2147484194" r:id="rId43"/>
    <p:sldLayoutId id="2147484195" r:id="rId44"/>
    <p:sldLayoutId id="2147484196" r:id="rId45"/>
    <p:sldLayoutId id="2147484197" r:id="rId46"/>
    <p:sldLayoutId id="2147484198" r:id="rId47"/>
    <p:sldLayoutId id="2147484199" r:id="rId48"/>
  </p:sldLayoutIdLst>
  <p:transition spd="med"/>
  <p:hf sldNum="0" hdr="0" ftr="0" dt="0"/>
  <p:txStyles>
    <p:titleStyle>
      <a:lvl1pPr marL="0" marR="0" indent="0" algn="l" defTabSz="243834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34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34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34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34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58" algn="l" defTabSz="243834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20" algn="l" defTabSz="243834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680" algn="l" defTabSz="243834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42" algn="l" defTabSz="243834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34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592" marR="0" indent="-327592" algn="l" defTabSz="243834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784" marR="0" indent="-327592" algn="l" defTabSz="243834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376" marR="0" indent="-327592" algn="l" defTabSz="243834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782" marR="0" indent="0" algn="l" defTabSz="2438340" rtl="0" eaLnBrk="1" latinLnBrk="0" hangingPunct="1">
        <a:lnSpc>
          <a:spcPct val="110000"/>
        </a:lnSpc>
        <a:spcBef>
          <a:spcPts val="2902"/>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16" marR="0" indent="-388998" algn="l" defTabSz="2438340" rtl="0" eaLnBrk="1" latinLnBrk="0" hangingPunct="1">
        <a:lnSpc>
          <a:spcPct val="100000"/>
        </a:lnSpc>
        <a:spcBef>
          <a:spcPts val="2902"/>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576" marR="0" indent="-388998" algn="l" defTabSz="2438340" rtl="0" eaLnBrk="1" latinLnBrk="0" hangingPunct="1">
        <a:lnSpc>
          <a:spcPct val="100000"/>
        </a:lnSpc>
        <a:spcBef>
          <a:spcPts val="2902"/>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136" marR="0" indent="-388998" algn="l" defTabSz="2438340" rtl="0" eaLnBrk="1" latinLnBrk="0" hangingPunct="1">
        <a:lnSpc>
          <a:spcPct val="100000"/>
        </a:lnSpc>
        <a:spcBef>
          <a:spcPts val="2902"/>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694" marR="0" indent="-388998" algn="l" defTabSz="2438340" rtl="0" eaLnBrk="1" latinLnBrk="0" hangingPunct="1">
        <a:lnSpc>
          <a:spcPct val="100000"/>
        </a:lnSpc>
        <a:spcBef>
          <a:spcPts val="2902"/>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4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84" algn="r" defTabSz="182924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64" algn="r" defTabSz="182924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48" algn="r" defTabSz="182924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32" algn="r" defTabSz="182924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14" algn="r" defTabSz="182924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898" algn="r" defTabSz="182924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882" algn="r" defTabSz="182924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862" algn="r" defTabSz="182924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hyperlink" Target="mailto:morn@ibm.com" TargetMode="External"/><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image" Target="../media/image49.png"/><Relationship Id="rId21" Type="http://schemas.openxmlformats.org/officeDocument/2006/relationships/image" Target="../media/image67.png"/><Relationship Id="rId7" Type="http://schemas.openxmlformats.org/officeDocument/2006/relationships/image" Target="../media/image53.svg"/><Relationship Id="rId12" Type="http://schemas.openxmlformats.org/officeDocument/2006/relationships/image" Target="../media/image58.svg"/><Relationship Id="rId17" Type="http://schemas.openxmlformats.org/officeDocument/2006/relationships/image" Target="../media/image63.png"/><Relationship Id="rId25" Type="http://schemas.openxmlformats.org/officeDocument/2006/relationships/image" Target="../media/image71.png"/><Relationship Id="rId2" Type="http://schemas.openxmlformats.org/officeDocument/2006/relationships/notesSlide" Target="../notesSlides/notesSlide10.xml"/><Relationship Id="rId16" Type="http://schemas.openxmlformats.org/officeDocument/2006/relationships/image" Target="../media/image62.png"/><Relationship Id="rId20" Type="http://schemas.openxmlformats.org/officeDocument/2006/relationships/image" Target="../media/image66.png"/><Relationship Id="rId1" Type="http://schemas.openxmlformats.org/officeDocument/2006/relationships/slideLayout" Target="../slideLayouts/slideLayout93.xml"/><Relationship Id="rId6" Type="http://schemas.openxmlformats.org/officeDocument/2006/relationships/image" Target="../media/image52.png"/><Relationship Id="rId11" Type="http://schemas.openxmlformats.org/officeDocument/2006/relationships/image" Target="../media/image57.png"/><Relationship Id="rId24" Type="http://schemas.openxmlformats.org/officeDocument/2006/relationships/image" Target="../media/image70.png"/><Relationship Id="rId5" Type="http://schemas.openxmlformats.org/officeDocument/2006/relationships/image" Target="../media/image51.svg"/><Relationship Id="rId15" Type="http://schemas.openxmlformats.org/officeDocument/2006/relationships/image" Target="../media/image61.png"/><Relationship Id="rId23" Type="http://schemas.openxmlformats.org/officeDocument/2006/relationships/image" Target="../media/image69.png"/><Relationship Id="rId10" Type="http://schemas.openxmlformats.org/officeDocument/2006/relationships/image" Target="../media/image56.svg"/><Relationship Id="rId19" Type="http://schemas.openxmlformats.org/officeDocument/2006/relationships/image" Target="../media/image65.pn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image" Target="../media/image60.svg"/><Relationship Id="rId22" Type="http://schemas.openxmlformats.org/officeDocument/2006/relationships/image" Target="../media/image68.png"/><Relationship Id="rId27" Type="http://schemas.openxmlformats.org/officeDocument/2006/relationships/image" Target="../media/image73.png"/></Relationships>
</file>

<file path=ppt/slides/_rels/slide11.xml.rels><?xml version="1.0" encoding="UTF-8" standalone="yes"?>
<Relationships xmlns="http://schemas.openxmlformats.org/package/2006/relationships"><Relationship Id="rId8" Type="http://schemas.openxmlformats.org/officeDocument/2006/relationships/image" Target="../media/image75.svg"/><Relationship Id="rId13" Type="http://schemas.openxmlformats.org/officeDocument/2006/relationships/image" Target="../media/image80.png"/><Relationship Id="rId18" Type="http://schemas.openxmlformats.org/officeDocument/2006/relationships/image" Target="../media/image35.png"/><Relationship Id="rId3" Type="http://schemas.openxmlformats.org/officeDocument/2006/relationships/image" Target="../media/image45.png"/><Relationship Id="rId7" Type="http://schemas.openxmlformats.org/officeDocument/2006/relationships/image" Target="../media/image74.png"/><Relationship Id="rId12" Type="http://schemas.openxmlformats.org/officeDocument/2006/relationships/image" Target="../media/image79.svg"/><Relationship Id="rId17" Type="http://schemas.openxmlformats.org/officeDocument/2006/relationships/image" Target="../media/image64.png"/><Relationship Id="rId2" Type="http://schemas.openxmlformats.org/officeDocument/2006/relationships/notesSlide" Target="../notesSlides/notesSlide11.xml"/><Relationship Id="rId16" Type="http://schemas.openxmlformats.org/officeDocument/2006/relationships/image" Target="../media/image51.svg"/><Relationship Id="rId1" Type="http://schemas.openxmlformats.org/officeDocument/2006/relationships/slideLayout" Target="../slideLayouts/slideLayout138.xml"/><Relationship Id="rId6" Type="http://schemas.openxmlformats.org/officeDocument/2006/relationships/image" Target="../media/image18.png"/><Relationship Id="rId11" Type="http://schemas.openxmlformats.org/officeDocument/2006/relationships/image" Target="../media/image78.png"/><Relationship Id="rId5" Type="http://schemas.openxmlformats.org/officeDocument/2006/relationships/image" Target="../media/image41.png"/><Relationship Id="rId15" Type="http://schemas.openxmlformats.org/officeDocument/2006/relationships/image" Target="../media/image50.png"/><Relationship Id="rId10" Type="http://schemas.openxmlformats.org/officeDocument/2006/relationships/image" Target="../media/image77.png"/><Relationship Id="rId19"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76.png"/><Relationship Id="rId14" Type="http://schemas.openxmlformats.org/officeDocument/2006/relationships/image" Target="../media/image81.png"/></Relationships>
</file>

<file path=ppt/slides/_rels/slide12.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3.svg"/><Relationship Id="rId18" Type="http://schemas.openxmlformats.org/officeDocument/2006/relationships/image" Target="../media/image88.svg"/><Relationship Id="rId26" Type="http://schemas.openxmlformats.org/officeDocument/2006/relationships/image" Target="../media/image92.svg"/><Relationship Id="rId3" Type="http://schemas.openxmlformats.org/officeDocument/2006/relationships/image" Target="../media/image82.png"/><Relationship Id="rId21" Type="http://schemas.openxmlformats.org/officeDocument/2006/relationships/image" Target="../media/image59.png"/><Relationship Id="rId7" Type="http://schemas.openxmlformats.org/officeDocument/2006/relationships/image" Target="../media/image84.png"/><Relationship Id="rId12" Type="http://schemas.openxmlformats.org/officeDocument/2006/relationships/image" Target="../media/image52.png"/><Relationship Id="rId17" Type="http://schemas.openxmlformats.org/officeDocument/2006/relationships/image" Target="../media/image87.png"/><Relationship Id="rId25" Type="http://schemas.openxmlformats.org/officeDocument/2006/relationships/image" Target="../media/image91.png"/><Relationship Id="rId2" Type="http://schemas.openxmlformats.org/officeDocument/2006/relationships/notesSlide" Target="../notesSlides/notesSlide12.xml"/><Relationship Id="rId16" Type="http://schemas.openxmlformats.org/officeDocument/2006/relationships/image" Target="../media/image56.svg"/><Relationship Id="rId20" Type="http://schemas.openxmlformats.org/officeDocument/2006/relationships/image" Target="../media/image58.svg"/><Relationship Id="rId29" Type="http://schemas.openxmlformats.org/officeDocument/2006/relationships/image" Target="../media/image95.png"/><Relationship Id="rId1" Type="http://schemas.openxmlformats.org/officeDocument/2006/relationships/slideLayout" Target="../slideLayouts/slideLayout44.xml"/><Relationship Id="rId6" Type="http://schemas.openxmlformats.org/officeDocument/2006/relationships/image" Target="../media/image75.svg"/><Relationship Id="rId11" Type="http://schemas.openxmlformats.org/officeDocument/2006/relationships/image" Target="../media/image86.svg"/><Relationship Id="rId24" Type="http://schemas.openxmlformats.org/officeDocument/2006/relationships/image" Target="../media/image90.svg"/><Relationship Id="rId32" Type="http://schemas.openxmlformats.org/officeDocument/2006/relationships/image" Target="../media/image98.svg"/><Relationship Id="rId5" Type="http://schemas.openxmlformats.org/officeDocument/2006/relationships/image" Target="../media/image74.png"/><Relationship Id="rId15" Type="http://schemas.openxmlformats.org/officeDocument/2006/relationships/image" Target="../media/image55.png"/><Relationship Id="rId23" Type="http://schemas.openxmlformats.org/officeDocument/2006/relationships/image" Target="../media/image89.png"/><Relationship Id="rId28" Type="http://schemas.openxmlformats.org/officeDocument/2006/relationships/image" Target="../media/image94.svg"/><Relationship Id="rId10" Type="http://schemas.openxmlformats.org/officeDocument/2006/relationships/image" Target="../media/image85.png"/><Relationship Id="rId19" Type="http://schemas.openxmlformats.org/officeDocument/2006/relationships/image" Target="../media/image57.png"/><Relationship Id="rId31" Type="http://schemas.openxmlformats.org/officeDocument/2006/relationships/image" Target="../media/image97.png"/><Relationship Id="rId4" Type="http://schemas.openxmlformats.org/officeDocument/2006/relationships/image" Target="../media/image83.svg"/><Relationship Id="rId9" Type="http://schemas.openxmlformats.org/officeDocument/2006/relationships/image" Target="../media/image51.svg"/><Relationship Id="rId14" Type="http://schemas.openxmlformats.org/officeDocument/2006/relationships/image" Target="../media/image54.png"/><Relationship Id="rId22" Type="http://schemas.openxmlformats.org/officeDocument/2006/relationships/image" Target="../media/image60.svg"/><Relationship Id="rId27" Type="http://schemas.openxmlformats.org/officeDocument/2006/relationships/image" Target="../media/image93.png"/><Relationship Id="rId30" Type="http://schemas.openxmlformats.org/officeDocument/2006/relationships/image" Target="../media/image96.svg"/></Relationships>
</file>

<file path=ppt/slides/_rels/slide13.xml.rels><?xml version="1.0" encoding="UTF-8" standalone="yes"?>
<Relationships xmlns="http://schemas.openxmlformats.org/package/2006/relationships"><Relationship Id="rId8" Type="http://schemas.openxmlformats.org/officeDocument/2006/relationships/image" Target="../media/image104.png"/><Relationship Id="rId13" Type="http://schemas.openxmlformats.org/officeDocument/2006/relationships/image" Target="../media/image109.svg"/><Relationship Id="rId18" Type="http://schemas.openxmlformats.org/officeDocument/2006/relationships/image" Target="../media/image114.png"/><Relationship Id="rId3" Type="http://schemas.openxmlformats.org/officeDocument/2006/relationships/image" Target="../media/image99.png"/><Relationship Id="rId21" Type="http://schemas.openxmlformats.org/officeDocument/2006/relationships/image" Target="../media/image116.svg"/><Relationship Id="rId7" Type="http://schemas.openxmlformats.org/officeDocument/2006/relationships/image" Target="../media/image103.png"/><Relationship Id="rId12" Type="http://schemas.openxmlformats.org/officeDocument/2006/relationships/image" Target="../media/image108.png"/><Relationship Id="rId17" Type="http://schemas.openxmlformats.org/officeDocument/2006/relationships/image" Target="../media/image113.svg"/><Relationship Id="rId2" Type="http://schemas.openxmlformats.org/officeDocument/2006/relationships/notesSlide" Target="../notesSlides/notesSlide13.xml"/><Relationship Id="rId16" Type="http://schemas.openxmlformats.org/officeDocument/2006/relationships/image" Target="../media/image112.png"/><Relationship Id="rId20" Type="http://schemas.openxmlformats.org/officeDocument/2006/relationships/image" Target="../media/image31.png"/><Relationship Id="rId1" Type="http://schemas.openxmlformats.org/officeDocument/2006/relationships/slideLayout" Target="../slideLayouts/slideLayout185.xml"/><Relationship Id="rId6" Type="http://schemas.openxmlformats.org/officeDocument/2006/relationships/image" Target="../media/image102.svg"/><Relationship Id="rId11" Type="http://schemas.openxmlformats.org/officeDocument/2006/relationships/image" Target="../media/image107.png"/><Relationship Id="rId24" Type="http://schemas.openxmlformats.org/officeDocument/2006/relationships/image" Target="../media/image119.png"/><Relationship Id="rId5" Type="http://schemas.openxmlformats.org/officeDocument/2006/relationships/image" Target="../media/image101.png"/><Relationship Id="rId15" Type="http://schemas.openxmlformats.org/officeDocument/2006/relationships/image" Target="../media/image111.svg"/><Relationship Id="rId23" Type="http://schemas.openxmlformats.org/officeDocument/2006/relationships/image" Target="../media/image118.svg"/><Relationship Id="rId10" Type="http://schemas.openxmlformats.org/officeDocument/2006/relationships/image" Target="../media/image106.png"/><Relationship Id="rId19" Type="http://schemas.openxmlformats.org/officeDocument/2006/relationships/image" Target="../media/image115.svg"/><Relationship Id="rId4" Type="http://schemas.openxmlformats.org/officeDocument/2006/relationships/image" Target="../media/image100.svg"/><Relationship Id="rId9" Type="http://schemas.openxmlformats.org/officeDocument/2006/relationships/image" Target="../media/image105.png"/><Relationship Id="rId14" Type="http://schemas.openxmlformats.org/officeDocument/2006/relationships/image" Target="../media/image110.png"/><Relationship Id="rId22" Type="http://schemas.openxmlformats.org/officeDocument/2006/relationships/image" Target="../media/image117.png"/></Relationships>
</file>

<file path=ppt/slides/_rels/slide14.xml.rels><?xml version="1.0" encoding="UTF-8" standalone="yes"?>
<Relationships xmlns="http://schemas.openxmlformats.org/package/2006/relationships"><Relationship Id="rId3" Type="http://schemas.openxmlformats.org/officeDocument/2006/relationships/image" Target="../media/image120.emf"/><Relationship Id="rId2" Type="http://schemas.openxmlformats.org/officeDocument/2006/relationships/notesSlide" Target="../notesSlides/notesSlide14.xml"/><Relationship Id="rId1" Type="http://schemas.openxmlformats.org/officeDocument/2006/relationships/slideLayout" Target="../slideLayouts/slideLayout201.xml"/><Relationship Id="rId5" Type="http://schemas.openxmlformats.org/officeDocument/2006/relationships/image" Target="../media/image122.png"/><Relationship Id="rId4" Type="http://schemas.openxmlformats.org/officeDocument/2006/relationships/image" Target="../media/image121.emf"/></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279.xml"/><Relationship Id="rId6" Type="http://schemas.openxmlformats.org/officeDocument/2006/relationships/chart" Target="../charts/chart2.xml"/><Relationship Id="rId5" Type="http://schemas.openxmlformats.org/officeDocument/2006/relationships/image" Target="../media/image124.svg"/><Relationship Id="rId4" Type="http://schemas.openxmlformats.org/officeDocument/2006/relationships/image" Target="../media/image123.png"/></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6.xml"/><Relationship Id="rId1" Type="http://schemas.openxmlformats.org/officeDocument/2006/relationships/slideLayout" Target="../slideLayouts/slideLayout279.xml"/><Relationship Id="rId6" Type="http://schemas.openxmlformats.org/officeDocument/2006/relationships/chart" Target="../charts/chart4.xml"/><Relationship Id="rId5" Type="http://schemas.openxmlformats.org/officeDocument/2006/relationships/image" Target="../media/image124.svg"/><Relationship Id="rId4" Type="http://schemas.openxmlformats.org/officeDocument/2006/relationships/image" Target="../media/image123.png"/></Relationships>
</file>

<file path=ppt/slides/_rels/slide1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7.xml"/><Relationship Id="rId1" Type="http://schemas.openxmlformats.org/officeDocument/2006/relationships/slideLayout" Target="../slideLayouts/slideLayout279.xml"/><Relationship Id="rId6" Type="http://schemas.openxmlformats.org/officeDocument/2006/relationships/chart" Target="../charts/chart6.xml"/><Relationship Id="rId5" Type="http://schemas.openxmlformats.org/officeDocument/2006/relationships/image" Target="../media/image124.svg"/><Relationship Id="rId4" Type="http://schemas.openxmlformats.org/officeDocument/2006/relationships/image" Target="../media/image123.png"/></Relationships>
</file>

<file path=ppt/slides/_rels/slide1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8.xml"/><Relationship Id="rId1" Type="http://schemas.openxmlformats.org/officeDocument/2006/relationships/slideLayout" Target="../slideLayouts/slideLayout279.xml"/><Relationship Id="rId6" Type="http://schemas.openxmlformats.org/officeDocument/2006/relationships/chart" Target="../charts/chart8.xml"/><Relationship Id="rId5" Type="http://schemas.openxmlformats.org/officeDocument/2006/relationships/image" Target="../media/image124.svg"/><Relationship Id="rId4" Type="http://schemas.openxmlformats.org/officeDocument/2006/relationships/image" Target="../media/image123.png"/></Relationships>
</file>

<file path=ppt/slides/_rels/slide19.xml.rels><?xml version="1.0" encoding="UTF-8" standalone="yes"?>
<Relationships xmlns="http://schemas.openxmlformats.org/package/2006/relationships"><Relationship Id="rId8" Type="http://schemas.openxmlformats.org/officeDocument/2006/relationships/image" Target="../media/image130.emf"/><Relationship Id="rId3" Type="http://schemas.openxmlformats.org/officeDocument/2006/relationships/image" Target="../media/image125.emf"/><Relationship Id="rId7" Type="http://schemas.openxmlformats.org/officeDocument/2006/relationships/image" Target="../media/image129.emf"/><Relationship Id="rId2" Type="http://schemas.openxmlformats.org/officeDocument/2006/relationships/notesSlide" Target="../notesSlides/notesSlide19.xml"/><Relationship Id="rId1" Type="http://schemas.openxmlformats.org/officeDocument/2006/relationships/slideLayout" Target="../slideLayouts/slideLayout44.xml"/><Relationship Id="rId6" Type="http://schemas.openxmlformats.org/officeDocument/2006/relationships/image" Target="../media/image128.emf"/><Relationship Id="rId11" Type="http://schemas.openxmlformats.org/officeDocument/2006/relationships/image" Target="../media/image133.emf"/><Relationship Id="rId5" Type="http://schemas.openxmlformats.org/officeDocument/2006/relationships/image" Target="../media/image127.emf"/><Relationship Id="rId10" Type="http://schemas.openxmlformats.org/officeDocument/2006/relationships/image" Target="../media/image132.emf"/><Relationship Id="rId4" Type="http://schemas.openxmlformats.org/officeDocument/2006/relationships/image" Target="../media/image126.emf"/><Relationship Id="rId9" Type="http://schemas.openxmlformats.org/officeDocument/2006/relationships/image" Target="../media/image131.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4.xml"/></Relationships>
</file>

<file path=ppt/slides/_rels/slide21.xml.rels><?xml version="1.0" encoding="UTF-8" standalone="yes"?>
<Relationships xmlns="http://schemas.openxmlformats.org/package/2006/relationships"><Relationship Id="rId8" Type="http://schemas.openxmlformats.org/officeDocument/2006/relationships/image" Target="../media/image139.png"/><Relationship Id="rId13" Type="http://schemas.openxmlformats.org/officeDocument/2006/relationships/image" Target="../media/image144.svg"/><Relationship Id="rId3" Type="http://schemas.openxmlformats.org/officeDocument/2006/relationships/image" Target="../media/image134.png"/><Relationship Id="rId7" Type="http://schemas.openxmlformats.org/officeDocument/2006/relationships/image" Target="../media/image138.svg"/><Relationship Id="rId12" Type="http://schemas.openxmlformats.org/officeDocument/2006/relationships/image" Target="../media/image143.png"/><Relationship Id="rId2" Type="http://schemas.openxmlformats.org/officeDocument/2006/relationships/notesSlide" Target="../notesSlides/notesSlide21.xml"/><Relationship Id="rId1" Type="http://schemas.openxmlformats.org/officeDocument/2006/relationships/slideLayout" Target="../slideLayouts/slideLayout44.xml"/><Relationship Id="rId6" Type="http://schemas.openxmlformats.org/officeDocument/2006/relationships/image" Target="../media/image137.png"/><Relationship Id="rId11" Type="http://schemas.openxmlformats.org/officeDocument/2006/relationships/image" Target="../media/image142.svg"/><Relationship Id="rId5" Type="http://schemas.openxmlformats.org/officeDocument/2006/relationships/image" Target="../media/image136.svg"/><Relationship Id="rId10" Type="http://schemas.openxmlformats.org/officeDocument/2006/relationships/image" Target="../media/image141.png"/><Relationship Id="rId4" Type="http://schemas.openxmlformats.org/officeDocument/2006/relationships/image" Target="../media/image135.png"/><Relationship Id="rId9" Type="http://schemas.openxmlformats.org/officeDocument/2006/relationships/image" Target="../media/image140.svg"/></Relationships>
</file>

<file path=ppt/slides/_rels/slide22.xml.rels><?xml version="1.0" encoding="UTF-8" standalone="yes"?>
<Relationships xmlns="http://schemas.openxmlformats.org/package/2006/relationships"><Relationship Id="rId8" Type="http://schemas.openxmlformats.org/officeDocument/2006/relationships/image" Target="../media/image75.svg"/><Relationship Id="rId13" Type="http://schemas.openxmlformats.org/officeDocument/2006/relationships/image" Target="../media/image91.png"/><Relationship Id="rId3" Type="http://schemas.openxmlformats.org/officeDocument/2006/relationships/image" Target="../media/image145.png"/><Relationship Id="rId7" Type="http://schemas.openxmlformats.org/officeDocument/2006/relationships/image" Target="../media/image74.png"/><Relationship Id="rId12" Type="http://schemas.openxmlformats.org/officeDocument/2006/relationships/image" Target="../media/image81.png"/><Relationship Id="rId2" Type="http://schemas.openxmlformats.org/officeDocument/2006/relationships/notesSlide" Target="../notesSlides/notesSlide22.xml"/><Relationship Id="rId16" Type="http://schemas.openxmlformats.org/officeDocument/2006/relationships/image" Target="../media/image148.svg"/><Relationship Id="rId1" Type="http://schemas.openxmlformats.org/officeDocument/2006/relationships/slideLayout" Target="../slideLayouts/slideLayout3.xml"/><Relationship Id="rId6" Type="http://schemas.openxmlformats.org/officeDocument/2006/relationships/image" Target="../media/image83.svg"/><Relationship Id="rId11" Type="http://schemas.openxmlformats.org/officeDocument/2006/relationships/image" Target="../media/image79.svg"/><Relationship Id="rId5" Type="http://schemas.openxmlformats.org/officeDocument/2006/relationships/image" Target="../media/image82.png"/><Relationship Id="rId15" Type="http://schemas.openxmlformats.org/officeDocument/2006/relationships/image" Target="../media/image147.png"/><Relationship Id="rId10" Type="http://schemas.openxmlformats.org/officeDocument/2006/relationships/image" Target="../media/image78.png"/><Relationship Id="rId4" Type="http://schemas.openxmlformats.org/officeDocument/2006/relationships/image" Target="../media/image146.svg"/><Relationship Id="rId9" Type="http://schemas.openxmlformats.org/officeDocument/2006/relationships/image" Target="../media/image77.png"/><Relationship Id="rId14" Type="http://schemas.openxmlformats.org/officeDocument/2006/relationships/image" Target="../media/image92.svg"/></Relationships>
</file>

<file path=ppt/slides/_rels/slide23.xml.rels><?xml version="1.0" encoding="UTF-8" standalone="yes"?>
<Relationships xmlns="http://schemas.openxmlformats.org/package/2006/relationships"><Relationship Id="rId8" Type="http://schemas.openxmlformats.org/officeDocument/2006/relationships/image" Target="../media/image152.svg"/><Relationship Id="rId13" Type="http://schemas.openxmlformats.org/officeDocument/2006/relationships/image" Target="../media/image157.png"/><Relationship Id="rId3" Type="http://schemas.openxmlformats.org/officeDocument/2006/relationships/slideLayout" Target="../slideLayouts/slideLayout47.xml"/><Relationship Id="rId7" Type="http://schemas.openxmlformats.org/officeDocument/2006/relationships/image" Target="../media/image151.png"/><Relationship Id="rId12" Type="http://schemas.openxmlformats.org/officeDocument/2006/relationships/image" Target="../media/image156.svg"/><Relationship Id="rId2" Type="http://schemas.openxmlformats.org/officeDocument/2006/relationships/video" Target="../media/media1.mov"/><Relationship Id="rId1" Type="http://schemas.microsoft.com/office/2007/relationships/media" Target="../media/media1.mov"/><Relationship Id="rId6" Type="http://schemas.openxmlformats.org/officeDocument/2006/relationships/image" Target="../media/image150.svg"/><Relationship Id="rId11" Type="http://schemas.openxmlformats.org/officeDocument/2006/relationships/image" Target="../media/image155.png"/><Relationship Id="rId5" Type="http://schemas.openxmlformats.org/officeDocument/2006/relationships/image" Target="../media/image149.png"/><Relationship Id="rId15" Type="http://schemas.openxmlformats.org/officeDocument/2006/relationships/image" Target="../media/image159.png"/><Relationship Id="rId10" Type="http://schemas.openxmlformats.org/officeDocument/2006/relationships/image" Target="../media/image154.svg"/><Relationship Id="rId4" Type="http://schemas.openxmlformats.org/officeDocument/2006/relationships/notesSlide" Target="../notesSlides/notesSlide23.xml"/><Relationship Id="rId9" Type="http://schemas.openxmlformats.org/officeDocument/2006/relationships/image" Target="../media/image153.png"/><Relationship Id="rId14" Type="http://schemas.openxmlformats.org/officeDocument/2006/relationships/image" Target="../media/image158.svg"/></Relationships>
</file>

<file path=ppt/slides/_rels/slide24.xml.rels><?xml version="1.0" encoding="UTF-8" standalone="yes"?>
<Relationships xmlns="http://schemas.openxmlformats.org/package/2006/relationships"><Relationship Id="rId3" Type="http://schemas.openxmlformats.org/officeDocument/2006/relationships/image" Target="../media/image160.emf"/><Relationship Id="rId2" Type="http://schemas.openxmlformats.org/officeDocument/2006/relationships/notesSlide" Target="../notesSlides/notesSlide24.xml"/><Relationship Id="rId1" Type="http://schemas.openxmlformats.org/officeDocument/2006/relationships/slideLayout" Target="../slideLayouts/slideLayout44.xml"/><Relationship Id="rId5" Type="http://schemas.openxmlformats.org/officeDocument/2006/relationships/image" Target="../media/image162.emf"/><Relationship Id="rId4" Type="http://schemas.openxmlformats.org/officeDocument/2006/relationships/image" Target="../media/image161.emf"/></Relationships>
</file>

<file path=ppt/slides/_rels/slide25.xml.rels><?xml version="1.0" encoding="UTF-8" standalone="yes"?>
<Relationships xmlns="http://schemas.openxmlformats.org/package/2006/relationships"><Relationship Id="rId8" Type="http://schemas.openxmlformats.org/officeDocument/2006/relationships/image" Target="../media/image164.svg"/><Relationship Id="rId13" Type="http://schemas.openxmlformats.org/officeDocument/2006/relationships/image" Target="../media/image169.png"/><Relationship Id="rId3" Type="http://schemas.openxmlformats.org/officeDocument/2006/relationships/hyperlink" Target="https://www.ibm.com/case-studies/avid-solutions-international" TargetMode="External"/><Relationship Id="rId7" Type="http://schemas.openxmlformats.org/officeDocument/2006/relationships/image" Target="../media/image163.png"/><Relationship Id="rId12" Type="http://schemas.openxmlformats.org/officeDocument/2006/relationships/image" Target="../media/image168.svg"/><Relationship Id="rId2" Type="http://schemas.openxmlformats.org/officeDocument/2006/relationships/notesSlide" Target="../notesSlides/notesSlide25.xml"/><Relationship Id="rId1" Type="http://schemas.openxmlformats.org/officeDocument/2006/relationships/slideLayout" Target="../slideLayouts/slideLayout44.xml"/><Relationship Id="rId6" Type="http://schemas.openxmlformats.org/officeDocument/2006/relationships/hyperlink" Target="https://www.ibm.com/case-studies/ibm-human-resources-watson-orchestrate" TargetMode="External"/><Relationship Id="rId11" Type="http://schemas.openxmlformats.org/officeDocument/2006/relationships/image" Target="../media/image167.png"/><Relationship Id="rId5" Type="http://schemas.openxmlformats.org/officeDocument/2006/relationships/hyperlink" Target="https://www.ibm.com/case-studies/flocareer" TargetMode="External"/><Relationship Id="rId10" Type="http://schemas.openxmlformats.org/officeDocument/2006/relationships/image" Target="../media/image166.svg"/><Relationship Id="rId4" Type="http://schemas.openxmlformats.org/officeDocument/2006/relationships/hyperlink" Target="https://www.ibm.com/case-studies/sport-clips" TargetMode="External"/><Relationship Id="rId9" Type="http://schemas.openxmlformats.org/officeDocument/2006/relationships/image" Target="../media/image165.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s://www.ibm.com/account/reg/us-en/signup?formid=urx-52411" TargetMode="External"/><Relationship Id="rId2" Type="http://schemas.openxmlformats.org/officeDocument/2006/relationships/notesSlide" Target="../notesSlides/notesSlide27.xml"/><Relationship Id="rId1" Type="http://schemas.openxmlformats.org/officeDocument/2006/relationships/slideLayout" Target="../slideLayouts/slideLayout4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44.xml"/></Relationships>
</file>

<file path=ppt/slides/_rels/slide30.xml.rels><?xml version="1.0" encoding="UTF-8" standalone="yes"?>
<Relationships xmlns="http://schemas.openxmlformats.org/package/2006/relationships"><Relationship Id="rId3" Type="http://schemas.openxmlformats.org/officeDocument/2006/relationships/image" Target="../media/image170.emf"/><Relationship Id="rId2" Type="http://schemas.openxmlformats.org/officeDocument/2006/relationships/notesSlide" Target="../notesSlides/notesSlide30.xml"/><Relationship Id="rId1" Type="http://schemas.openxmlformats.org/officeDocument/2006/relationships/slideLayout" Target="../slideLayouts/slideLayout44.xml"/></Relationships>
</file>

<file path=ppt/slides/_rels/slide31.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31.xml"/><Relationship Id="rId1" Type="http://schemas.openxmlformats.org/officeDocument/2006/relationships/slideLayout" Target="../slideLayouts/slideLayout44.xml"/></Relationships>
</file>

<file path=ppt/slides/_rels/slide32.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32.xml"/><Relationship Id="rId1" Type="http://schemas.openxmlformats.org/officeDocument/2006/relationships/slideLayout" Target="../slideLayouts/slideLayout44.xml"/></Relationships>
</file>

<file path=ppt/slides/_rels/slide3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33.xml"/><Relationship Id="rId1" Type="http://schemas.openxmlformats.org/officeDocument/2006/relationships/slideLayout" Target="../slideLayouts/slideLayout44.xml"/><Relationship Id="rId5" Type="http://schemas.openxmlformats.org/officeDocument/2006/relationships/image" Target="../media/image175.png"/><Relationship Id="rId4" Type="http://schemas.openxmlformats.org/officeDocument/2006/relationships/image" Target="../media/image174.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18" Type="http://schemas.openxmlformats.org/officeDocument/2006/relationships/image" Target="../media/image34.sv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svg"/><Relationship Id="rId17" Type="http://schemas.openxmlformats.org/officeDocument/2006/relationships/image" Target="../media/image33.png"/><Relationship Id="rId2" Type="http://schemas.openxmlformats.org/officeDocument/2006/relationships/notesSlide" Target="../notesSlides/notesSlide6.xml"/><Relationship Id="rId16" Type="http://schemas.openxmlformats.org/officeDocument/2006/relationships/image" Target="../media/image32.svg"/><Relationship Id="rId1" Type="http://schemas.openxmlformats.org/officeDocument/2006/relationships/slideLayout" Target="../slideLayouts/slideLayout44.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 Id="rId14" Type="http://schemas.openxmlformats.org/officeDocument/2006/relationships/image" Target="../media/image30.svg"/></Relationships>
</file>

<file path=ppt/slides/_rels/slide7.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17" Type="http://schemas.microsoft.com/office/2007/relationships/hdphoto" Target="../media/hdphoto1.wdp"/><Relationship Id="rId2" Type="http://schemas.openxmlformats.org/officeDocument/2006/relationships/notesSlide" Target="../notesSlides/notesSlide7.xml"/><Relationship Id="rId16" Type="http://schemas.openxmlformats.org/officeDocument/2006/relationships/image" Target="../media/image48.png"/><Relationship Id="rId1" Type="http://schemas.openxmlformats.org/officeDocument/2006/relationships/slideLayout" Target="../slideLayouts/slideLayout44.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1" descr="Illustration showing intersecting gradient cyan lines terminated with white circles on a light blue background">
            <a:extLst>
              <a:ext uri="{FF2B5EF4-FFF2-40B4-BE49-F238E27FC236}">
                <a16:creationId xmlns:a16="http://schemas.microsoft.com/office/drawing/2014/main" id="{6F00A028-642F-70CA-E153-478C3BCCE4DF}"/>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9297" t="6666" r="8188" b="5557"/>
          <a:stretch/>
        </p:blipFill>
        <p:spPr>
          <a:xfrm>
            <a:off x="12763500" y="569913"/>
            <a:ext cx="11049000" cy="12574587"/>
          </a:xfrm>
          <a:prstGeom prst="rect">
            <a:avLst/>
          </a:prstGeom>
          <a:solidFill>
            <a:srgbClr val="E0E0E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pic>
      <p:pic>
        <p:nvPicPr>
          <p:cNvPr id="6" name="Picture Placeholder 5" descr="Illustration of cyan arrows flowing to the upper right corner of slide">
            <a:extLst>
              <a:ext uri="{FF2B5EF4-FFF2-40B4-BE49-F238E27FC236}">
                <a16:creationId xmlns:a16="http://schemas.microsoft.com/office/drawing/2014/main" id="{23CEE5CD-E831-3DFC-F207-808C15690E91}"/>
              </a:ext>
            </a:extLst>
          </p:cNvPr>
          <p:cNvPicPr>
            <a:picLocks noGrp="1" noChangeAspect="1"/>
          </p:cNvPicPr>
          <p:nvPr>
            <p:ph type="pic" sz="quarter" idx="12"/>
          </p:nvPr>
        </p:nvPicPr>
        <p:blipFill rotWithShape="1">
          <a:blip r:embed="rId4" cstate="screen">
            <a:extLst>
              <a:ext uri="{28A0092B-C50C-407E-A947-70E740481C1C}">
                <a14:useLocalDpi xmlns:a14="http://schemas.microsoft.com/office/drawing/2010/main"/>
              </a:ext>
            </a:extLst>
          </a:blip>
          <a:srcRect/>
          <a:stretch/>
        </p:blipFill>
        <p:spPr>
          <a:xfrm>
            <a:off x="12763500" y="569913"/>
            <a:ext cx="11049000" cy="12574587"/>
          </a:xfrm>
        </p:spPr>
      </p:pic>
      <p:sp>
        <p:nvSpPr>
          <p:cNvPr id="2" name="TextBox 1" descr="IBM 8-bar logo in black">
            <a:extLst>
              <a:ext uri="{FF2B5EF4-FFF2-40B4-BE49-F238E27FC236}">
                <a16:creationId xmlns:a16="http://schemas.microsoft.com/office/drawing/2014/main" id="{47FF669D-AFD9-83C3-6B35-1F5CF8033F7D}"/>
              </a:ext>
            </a:extLst>
          </p:cNvPr>
          <p:cNvSpPr txBox="1"/>
          <p:nvPr/>
        </p:nvSpPr>
        <p:spPr>
          <a:xfrm>
            <a:off x="889000" y="1275080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dirty="0">
              <a:solidFill>
                <a:srgbClr val="000000"/>
              </a:solidFill>
              <a:ea typeface="+mj-ea"/>
              <a:cs typeface="+mj-cs"/>
              <a:sym typeface="IBM Plex Sans Light"/>
            </a:endParaRPr>
          </a:p>
        </p:txBody>
      </p:sp>
      <p:sp>
        <p:nvSpPr>
          <p:cNvPr id="8" name="Title 7">
            <a:extLst>
              <a:ext uri="{FF2B5EF4-FFF2-40B4-BE49-F238E27FC236}">
                <a16:creationId xmlns:a16="http://schemas.microsoft.com/office/drawing/2014/main" id="{BFD98CCA-6C14-6AE2-D640-0C7E90B6A146}"/>
              </a:ext>
            </a:extLst>
          </p:cNvPr>
          <p:cNvSpPr>
            <a:spLocks noGrp="1"/>
          </p:cNvSpPr>
          <p:nvPr>
            <p:ph type="title"/>
          </p:nvPr>
        </p:nvSpPr>
        <p:spPr>
          <a:xfrm>
            <a:off x="574675" y="458490"/>
            <a:ext cx="11618912" cy="5194165"/>
          </a:xfrm>
        </p:spPr>
        <p:txBody>
          <a:bodyPr/>
          <a:lstStyle/>
          <a:p>
            <a:r>
              <a:rPr lang="en-US" sz="6400" kern="0" dirty="0">
                <a:solidFill>
                  <a:schemeClr val="tx1"/>
                </a:solidFill>
                <a:latin typeface="+mn-lt"/>
              </a:rPr>
              <a:t>AI Assistants</a:t>
            </a:r>
            <a:br>
              <a:rPr lang="en-US" sz="6400" kern="0" dirty="0">
                <a:solidFill>
                  <a:schemeClr val="tx1"/>
                </a:solidFill>
                <a:latin typeface="+mn-lt"/>
              </a:rPr>
            </a:br>
            <a:r>
              <a:rPr lang="en-US" sz="4400" i="1" dirty="0">
                <a:solidFill>
                  <a:schemeClr val="tx1"/>
                </a:solidFill>
                <a:latin typeface="+mn-lt"/>
              </a:rPr>
              <a:t>Unlocking new levels of productivity </a:t>
            </a:r>
            <a:br>
              <a:rPr lang="en-US" sz="4400" i="1" dirty="0">
                <a:solidFill>
                  <a:schemeClr val="tx1"/>
                </a:solidFill>
                <a:latin typeface="+mn-lt"/>
              </a:rPr>
            </a:br>
            <a:r>
              <a:rPr lang="en-US" sz="4400" i="1" dirty="0">
                <a:solidFill>
                  <a:schemeClr val="tx1"/>
                </a:solidFill>
                <a:latin typeface="+mn-lt"/>
              </a:rPr>
              <a:t>across the enterprise</a:t>
            </a:r>
            <a:br>
              <a:rPr lang="en-US" sz="6400" i="1" dirty="0">
                <a:solidFill>
                  <a:schemeClr val="tx1"/>
                </a:solidFill>
                <a:latin typeface="+mn-lt"/>
              </a:rPr>
            </a:br>
            <a:br>
              <a:rPr lang="en-US" sz="6400" i="1" kern="0" dirty="0">
                <a:solidFill>
                  <a:schemeClr val="tx1"/>
                </a:solidFill>
                <a:latin typeface="+mn-lt"/>
              </a:rPr>
            </a:br>
            <a:br>
              <a:rPr lang="en-US" sz="6400" i="1" kern="0" dirty="0">
                <a:solidFill>
                  <a:schemeClr val="tx1"/>
                </a:solidFill>
                <a:latin typeface="+mn-lt"/>
              </a:rPr>
            </a:br>
            <a:r>
              <a:rPr lang="en-US" sz="4400" i="1" kern="0" dirty="0">
                <a:solidFill>
                  <a:schemeClr val="tx1"/>
                </a:solidFill>
                <a:latin typeface="+mn-lt"/>
              </a:rPr>
              <a:t>IBM watsonx Orchestrate</a:t>
            </a:r>
            <a:br>
              <a:rPr lang="en-US" sz="4400" i="1" kern="0" dirty="0">
                <a:solidFill>
                  <a:schemeClr val="tx1"/>
                </a:solidFill>
                <a:latin typeface="+mn-lt"/>
              </a:rPr>
            </a:br>
            <a:br>
              <a:rPr lang="en-US" kern="0" dirty="0">
                <a:latin typeface="+mn-lt"/>
              </a:rPr>
            </a:br>
            <a:endParaRPr lang="en-US" dirty="0">
              <a:latin typeface="+mn-lt"/>
            </a:endParaRPr>
          </a:p>
        </p:txBody>
      </p:sp>
      <p:sp>
        <p:nvSpPr>
          <p:cNvPr id="9" name="TextBox 8">
            <a:extLst>
              <a:ext uri="{FF2B5EF4-FFF2-40B4-BE49-F238E27FC236}">
                <a16:creationId xmlns:a16="http://schemas.microsoft.com/office/drawing/2014/main" id="{22433705-0150-806E-3746-0173974A083D}"/>
              </a:ext>
            </a:extLst>
          </p:cNvPr>
          <p:cNvSpPr txBox="1"/>
          <p:nvPr/>
        </p:nvSpPr>
        <p:spPr>
          <a:xfrm>
            <a:off x="574675" y="8772919"/>
            <a:ext cx="5527675" cy="437158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r>
              <a:rPr lang="en-US" sz="2400" dirty="0">
                <a:solidFill>
                  <a:srgbClr val="000000"/>
                </a:solidFill>
              </a:rPr>
              <a:t>Giulio Soliani</a:t>
            </a:r>
            <a:endParaRPr lang="en-US" sz="2400" dirty="0">
              <a:solidFill>
                <a:srgbClr val="000000"/>
              </a:solidFill>
              <a:effectLst/>
            </a:endParaRPr>
          </a:p>
          <a:p>
            <a:r>
              <a:rPr lang="en-US" sz="2400" dirty="0">
                <a:solidFill>
                  <a:srgbClr val="000000"/>
                </a:solidFill>
              </a:rPr>
              <a:t>Product Lead, Digital Labor GTM</a:t>
            </a:r>
          </a:p>
          <a:p>
            <a:pPr>
              <a:lnSpc>
                <a:spcPct val="110000"/>
              </a:lnSpc>
            </a:pPr>
            <a:r>
              <a:rPr lang="en-US" sz="2400" kern="0" dirty="0">
                <a:solidFill>
                  <a:schemeClr val="accent1"/>
                </a:solidFill>
                <a:hlinkClick r:id="rId5"/>
              </a:rPr>
              <a:t>gsolian@ibm.com</a:t>
            </a:r>
          </a:p>
          <a:p>
            <a:pPr>
              <a:lnSpc>
                <a:spcPct val="110000"/>
              </a:lnSpc>
            </a:pPr>
            <a:endParaRPr lang="en-US" sz="2400" dirty="0"/>
          </a:p>
          <a:p>
            <a:pPr>
              <a:lnSpc>
                <a:spcPct val="110000"/>
              </a:lnSpc>
            </a:pPr>
            <a:r>
              <a:rPr lang="en-US" sz="2400" dirty="0"/>
              <a:t>Thomas Yang</a:t>
            </a:r>
            <a:br>
              <a:rPr lang="en-US" sz="2400" dirty="0"/>
            </a:br>
            <a:r>
              <a:rPr lang="en-US" sz="2400" dirty="0"/>
              <a:t>WW Technology Enablement</a:t>
            </a:r>
            <a:br>
              <a:rPr lang="en-US" sz="2400" dirty="0"/>
            </a:br>
            <a:r>
              <a:rPr lang="en-US" sz="2400" u="sng" dirty="0">
                <a:solidFill>
                  <a:schemeClr val="accent1"/>
                </a:solidFill>
              </a:rPr>
              <a:t>thomas.yang@us.ibm.com</a:t>
            </a:r>
            <a:br>
              <a:rPr lang="en-US" sz="2400" dirty="0"/>
            </a:br>
            <a:br>
              <a:rPr lang="en-US" sz="2400" dirty="0"/>
            </a:br>
            <a:r>
              <a:rPr lang="en-US" sz="2400" dirty="0"/>
              <a:t>Gerry Baird</a:t>
            </a:r>
            <a:br>
              <a:rPr lang="en-US" sz="2400" dirty="0"/>
            </a:br>
            <a:r>
              <a:rPr lang="en-US" sz="2400" dirty="0"/>
              <a:t>WW Technology Enablement</a:t>
            </a:r>
            <a:br>
              <a:rPr lang="en-US" sz="2400" dirty="0"/>
            </a:br>
            <a:r>
              <a:rPr lang="en-US" sz="2400" u="sng" dirty="0">
                <a:solidFill>
                  <a:schemeClr val="accent1"/>
                </a:solidFill>
              </a:rPr>
              <a:t>gerry.baird@uk.ibm.com</a:t>
            </a:r>
            <a:endParaRPr lang="en-US" sz="2400" dirty="0"/>
          </a:p>
        </p:txBody>
      </p:sp>
      <p:sp>
        <p:nvSpPr>
          <p:cNvPr id="10" name="TextBox 9">
            <a:extLst>
              <a:ext uri="{FF2B5EF4-FFF2-40B4-BE49-F238E27FC236}">
                <a16:creationId xmlns:a16="http://schemas.microsoft.com/office/drawing/2014/main" id="{490CB852-1CC1-298E-19B8-3C9C468831F1}"/>
              </a:ext>
            </a:extLst>
          </p:cNvPr>
          <p:cNvSpPr txBox="1"/>
          <p:nvPr/>
        </p:nvSpPr>
        <p:spPr>
          <a:xfrm>
            <a:off x="1537855" y="12718473"/>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dirty="0">
              <a:solidFill>
                <a:srgbClr val="000000"/>
              </a:solidFill>
              <a:ea typeface="+mj-ea"/>
              <a:cs typeface="+mj-cs"/>
              <a:sym typeface="IBM Plex Sans Light"/>
            </a:endParaRPr>
          </a:p>
        </p:txBody>
      </p:sp>
      <p:sp>
        <p:nvSpPr>
          <p:cNvPr id="3" name="Title">
            <a:extLst>
              <a:ext uri="{FF2B5EF4-FFF2-40B4-BE49-F238E27FC236}">
                <a16:creationId xmlns:a16="http://schemas.microsoft.com/office/drawing/2014/main" id="{F60C450A-8B14-2F57-B996-DD1DE222984C}"/>
              </a:ext>
            </a:extLst>
          </p:cNvPr>
          <p:cNvSpPr txBox="1">
            <a:spLocks/>
          </p:cNvSpPr>
          <p:nvPr/>
        </p:nvSpPr>
        <p:spPr>
          <a:xfrm>
            <a:off x="20989227" y="13266712"/>
            <a:ext cx="2854624" cy="233749"/>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400" b="0" i="0">
                <a:solidFill>
                  <a:schemeClr val="bg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pitchFamily="34" charset="0"/>
              </a:defRPr>
            </a:lvl9pPr>
          </a:lstStyle>
          <a:p>
            <a:pPr algn="r" defTabSz="914400"/>
            <a:r>
              <a:rPr lang="en-US" sz="1600" kern="0" dirty="0">
                <a:solidFill>
                  <a:schemeClr val="tx1"/>
                </a:solidFill>
                <a:latin typeface="IBM Plex Sans Light" panose="020B0403050203000203" pitchFamily="34" charset="0"/>
                <a:cs typeface="Arial"/>
              </a:rPr>
              <a:t>Version 2.2 2024-02-02</a:t>
            </a:r>
          </a:p>
          <a:p>
            <a:pPr algn="r" defTabSz="914400"/>
            <a:endParaRPr lang="en-US" sz="1100" kern="0" dirty="0">
              <a:solidFill>
                <a:schemeClr val="tx1"/>
              </a:solidFill>
              <a:latin typeface="IBM Plex Sans Light" panose="020B0403050203000203" pitchFamily="34" charset="0"/>
            </a:endParaRPr>
          </a:p>
        </p:txBody>
      </p:sp>
    </p:spTree>
    <p:extLst>
      <p:ext uri="{BB962C8B-B14F-4D97-AF65-F5344CB8AC3E}">
        <p14:creationId xmlns:p14="http://schemas.microsoft.com/office/powerpoint/2010/main" val="4137885734"/>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A51F0FD-A6EB-BD13-4503-741EE7746758}"/>
              </a:ext>
            </a:extLst>
          </p:cNvPr>
          <p:cNvSpPr/>
          <p:nvPr/>
        </p:nvSpPr>
        <p:spPr bwMode="auto">
          <a:xfrm>
            <a:off x="426218" y="11819480"/>
            <a:ext cx="23534742" cy="1216682"/>
          </a:xfrm>
          <a:prstGeom prst="rect">
            <a:avLst/>
          </a:prstGeom>
          <a:solidFill>
            <a:schemeClr val="bg1"/>
          </a:solidFill>
          <a:ln w="19050">
            <a:solidFill>
              <a:schemeClr val="tx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540" tIns="228540" rIns="228540" bIns="228540" numCol="1" rtlCol="0" anchor="ctr" anchorCtr="0" compatLnSpc="1">
            <a:prstTxWarp prst="textNoShape">
              <a:avLst/>
            </a:prstTxWarp>
          </a:bodyPr>
          <a:lstStyle/>
          <a:p>
            <a:pPr algn="ctr" defTabSz="1828647">
              <a:defRPr/>
            </a:pPr>
            <a:endParaRPr lang="en-US" sz="1800" spc="180" dirty="0">
              <a:solidFill>
                <a:srgbClr val="FFFFFF"/>
              </a:solidFill>
              <a:latin typeface="IBM Plex Sans" panose="020B0503050203000203" pitchFamily="34" charset="0"/>
              <a:sym typeface="Helvetica Neue"/>
            </a:endParaRPr>
          </a:p>
        </p:txBody>
      </p:sp>
      <p:sp>
        <p:nvSpPr>
          <p:cNvPr id="39" name="Right Bracket 38">
            <a:extLst>
              <a:ext uri="{FF2B5EF4-FFF2-40B4-BE49-F238E27FC236}">
                <a16:creationId xmlns:a16="http://schemas.microsoft.com/office/drawing/2014/main" id="{4A217491-6E03-CCD2-C7AC-5DA3D97CFBBC}"/>
              </a:ext>
            </a:extLst>
          </p:cNvPr>
          <p:cNvSpPr/>
          <p:nvPr/>
        </p:nvSpPr>
        <p:spPr bwMode="auto">
          <a:xfrm rot="16200000">
            <a:off x="12053341" y="-1929569"/>
            <a:ext cx="350822" cy="23464415"/>
          </a:xfrm>
          <a:prstGeom prst="rightBracket">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txBody>
          <a:bodyPr rtlCol="0" anchor="ctr"/>
          <a:lstStyle/>
          <a:p>
            <a:pPr algn="ctr" defTabSz="1828831"/>
            <a:endParaRPr lang="en-US" sz="7199" dirty="0">
              <a:solidFill>
                <a:srgbClr val="000000"/>
              </a:solidFill>
              <a:latin typeface="IBM Plex Sans Light"/>
              <a:sym typeface="Helvetica Neue"/>
            </a:endParaRPr>
          </a:p>
        </p:txBody>
      </p:sp>
      <p:sp>
        <p:nvSpPr>
          <p:cNvPr id="11" name="Rectangle 10">
            <a:extLst>
              <a:ext uri="{FF2B5EF4-FFF2-40B4-BE49-F238E27FC236}">
                <a16:creationId xmlns:a16="http://schemas.microsoft.com/office/drawing/2014/main" id="{BBD22FA0-1B3F-67B0-E6E6-D53341FD740B}"/>
              </a:ext>
            </a:extLst>
          </p:cNvPr>
          <p:cNvSpPr/>
          <p:nvPr/>
        </p:nvSpPr>
        <p:spPr bwMode="auto">
          <a:xfrm>
            <a:off x="14778583" y="10306779"/>
            <a:ext cx="9182376" cy="1216682"/>
          </a:xfrm>
          <a:prstGeom prst="rect">
            <a:avLst/>
          </a:prstGeom>
          <a:solidFill>
            <a:srgbClr val="1192E8"/>
          </a:solidFill>
          <a:ln w="19050">
            <a:solidFill>
              <a:schemeClr val="tx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540" tIns="228540" rIns="228540" bIns="228540" numCol="1" rtlCol="0" anchor="b" anchorCtr="0" compatLnSpc="1">
            <a:prstTxWarp prst="textNoShape">
              <a:avLst/>
            </a:prstTxWarp>
          </a:bodyPr>
          <a:lstStyle/>
          <a:p>
            <a:pPr algn="ctr" defTabSz="1828647">
              <a:defRPr/>
            </a:pPr>
            <a:r>
              <a:rPr lang="en-US" sz="1800" kern="0" spc="180" dirty="0">
                <a:solidFill>
                  <a:srgbClr val="FFFFFF"/>
                </a:solidFill>
                <a:latin typeface="IBM Plex Sans" panose="020B0503050203000203" pitchFamily="34" charset="0"/>
                <a:sym typeface="IBM Plex Sans"/>
              </a:rPr>
              <a:t>    RPA </a:t>
            </a:r>
            <a:r>
              <a:rPr lang="en-US" sz="1800" kern="0" spc="180" dirty="0">
                <a:solidFill>
                  <a:srgbClr val="000000"/>
                </a:solidFill>
                <a:latin typeface="IBM Plex Sans" panose="020B0503050203000203" pitchFamily="34" charset="0"/>
                <a:sym typeface="IBM Plex Sans"/>
              </a:rPr>
              <a:t> |  </a:t>
            </a:r>
            <a:r>
              <a:rPr lang="en-US" sz="1800" kern="0" spc="180" dirty="0">
                <a:solidFill>
                  <a:srgbClr val="FFFFFF"/>
                </a:solidFill>
                <a:latin typeface="IBM Plex Sans" panose="020B0503050203000203" pitchFamily="34" charset="0"/>
                <a:sym typeface="IBM Plex Sans"/>
              </a:rPr>
              <a:t>WORFKLOW </a:t>
            </a:r>
            <a:r>
              <a:rPr lang="en-US" sz="1800" kern="0" spc="180" dirty="0">
                <a:solidFill>
                  <a:srgbClr val="000000"/>
                </a:solidFill>
                <a:latin typeface="IBM Plex Sans" panose="020B0503050203000203" pitchFamily="34" charset="0"/>
                <a:sym typeface="IBM Plex Sans"/>
              </a:rPr>
              <a:t> |  </a:t>
            </a:r>
            <a:r>
              <a:rPr lang="en-US" sz="1800" kern="0" spc="180" dirty="0">
                <a:solidFill>
                  <a:srgbClr val="FFFFFF"/>
                </a:solidFill>
                <a:latin typeface="IBM Plex Sans" panose="020B0503050203000203" pitchFamily="34" charset="0"/>
                <a:sym typeface="IBM Plex Sans"/>
              </a:rPr>
              <a:t>DECISION </a:t>
            </a:r>
            <a:r>
              <a:rPr lang="en-US" sz="1800" kern="0" spc="180" dirty="0">
                <a:solidFill>
                  <a:srgbClr val="000000"/>
                </a:solidFill>
                <a:latin typeface="IBM Plex Sans" panose="020B0503050203000203" pitchFamily="34" charset="0"/>
                <a:sym typeface="IBM Plex Sans"/>
              </a:rPr>
              <a:t> |  </a:t>
            </a:r>
            <a:r>
              <a:rPr lang="en-US" sz="1800" kern="0" spc="180" dirty="0">
                <a:solidFill>
                  <a:srgbClr val="FFFFFF"/>
                </a:solidFill>
                <a:latin typeface="IBM Plex Sans" panose="020B0503050203000203" pitchFamily="34" charset="0"/>
                <a:sym typeface="IBM Plex Sans"/>
              </a:rPr>
              <a:t>DISCOVER EXISTING</a:t>
            </a:r>
            <a:endParaRPr lang="en-US" sz="1800" spc="180" dirty="0">
              <a:solidFill>
                <a:srgbClr val="FFFFFF"/>
              </a:solidFill>
              <a:latin typeface="IBM Plex Sans" panose="020B0503050203000203" pitchFamily="34" charset="0"/>
              <a:sym typeface="Helvetica Neue"/>
            </a:endParaRPr>
          </a:p>
        </p:txBody>
      </p:sp>
      <p:sp>
        <p:nvSpPr>
          <p:cNvPr id="13" name="Rounded Rectangle 12">
            <a:extLst>
              <a:ext uri="{FF2B5EF4-FFF2-40B4-BE49-F238E27FC236}">
                <a16:creationId xmlns:a16="http://schemas.microsoft.com/office/drawing/2014/main" id="{4EB6C05C-327B-BBC8-33B6-2801F9D9D54D}"/>
              </a:ext>
            </a:extLst>
          </p:cNvPr>
          <p:cNvSpPr>
            <a:spLocks/>
          </p:cNvSpPr>
          <p:nvPr/>
        </p:nvSpPr>
        <p:spPr bwMode="auto">
          <a:xfrm>
            <a:off x="16299007" y="2128960"/>
            <a:ext cx="3885188" cy="6399133"/>
          </a:xfrm>
          <a:prstGeom prst="roundRect">
            <a:avLst/>
          </a:prstGeom>
          <a:solidFill>
            <a:srgbClr val="E8DA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algn="ctr" defTabSz="914127" fontAlgn="base">
              <a:spcBef>
                <a:spcPct val="0"/>
              </a:spcBef>
              <a:spcAft>
                <a:spcPct val="0"/>
              </a:spcAft>
            </a:pPr>
            <a:r>
              <a:rPr lang="en-US" sz="2800" dirty="0">
                <a:solidFill>
                  <a:srgbClr val="000000"/>
                </a:solidFill>
                <a:latin typeface="IBM Plex Sans Light"/>
                <a:sym typeface="Helvetica Neue"/>
              </a:rPr>
              <a:t>Finance</a:t>
            </a:r>
          </a:p>
        </p:txBody>
      </p:sp>
      <p:sp>
        <p:nvSpPr>
          <p:cNvPr id="19" name="Rounded Rectangle 18">
            <a:extLst>
              <a:ext uri="{FF2B5EF4-FFF2-40B4-BE49-F238E27FC236}">
                <a16:creationId xmlns:a16="http://schemas.microsoft.com/office/drawing/2014/main" id="{C082A8C3-F9EE-40D4-630E-933142D3B05C}"/>
              </a:ext>
            </a:extLst>
          </p:cNvPr>
          <p:cNvSpPr>
            <a:spLocks/>
          </p:cNvSpPr>
          <p:nvPr/>
        </p:nvSpPr>
        <p:spPr bwMode="auto">
          <a:xfrm>
            <a:off x="426218" y="2128960"/>
            <a:ext cx="3885188" cy="6399133"/>
          </a:xfrm>
          <a:prstGeom prst="roundRect">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algn="ctr" defTabSz="914127" fontAlgn="base">
              <a:spcBef>
                <a:spcPct val="0"/>
              </a:spcBef>
              <a:spcAft>
                <a:spcPct val="0"/>
              </a:spcAft>
            </a:pPr>
            <a:r>
              <a:rPr lang="en-US" sz="2800" dirty="0">
                <a:solidFill>
                  <a:srgbClr val="000000"/>
                </a:solidFill>
                <a:latin typeface="IBM Plex Sans Light"/>
                <a:sym typeface="Helvetica Neue"/>
              </a:rPr>
              <a:t>Customer Care</a:t>
            </a:r>
          </a:p>
        </p:txBody>
      </p:sp>
      <p:sp>
        <p:nvSpPr>
          <p:cNvPr id="21" name="Rounded Rectangle 20">
            <a:extLst>
              <a:ext uri="{FF2B5EF4-FFF2-40B4-BE49-F238E27FC236}">
                <a16:creationId xmlns:a16="http://schemas.microsoft.com/office/drawing/2014/main" id="{BF433B3C-665C-F291-AC69-0B11397F3BA1}"/>
              </a:ext>
            </a:extLst>
          </p:cNvPr>
          <p:cNvSpPr>
            <a:spLocks/>
          </p:cNvSpPr>
          <p:nvPr/>
        </p:nvSpPr>
        <p:spPr bwMode="auto">
          <a:xfrm>
            <a:off x="4394416" y="2128960"/>
            <a:ext cx="3885188" cy="6399133"/>
          </a:xfrm>
          <a:prstGeom prst="roundRect">
            <a:avLst/>
          </a:prstGeom>
          <a:solidFill>
            <a:srgbClr val="D9FBFB"/>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algn="ctr" defTabSz="914127" fontAlgn="base">
              <a:spcBef>
                <a:spcPct val="0"/>
              </a:spcBef>
              <a:spcAft>
                <a:spcPct val="0"/>
              </a:spcAft>
            </a:pPr>
            <a:r>
              <a:rPr lang="en-US" sz="2800" dirty="0">
                <a:solidFill>
                  <a:srgbClr val="000000"/>
                </a:solidFill>
                <a:latin typeface="IBM Plex Sans Light"/>
                <a:sym typeface="Helvetica Neue"/>
              </a:rPr>
              <a:t>Sales</a:t>
            </a:r>
          </a:p>
        </p:txBody>
      </p:sp>
      <p:sp>
        <p:nvSpPr>
          <p:cNvPr id="5" name="Freeform 4">
            <a:extLst>
              <a:ext uri="{FF2B5EF4-FFF2-40B4-BE49-F238E27FC236}">
                <a16:creationId xmlns:a16="http://schemas.microsoft.com/office/drawing/2014/main" id="{2E48D20C-B098-600C-FC93-2B1A223ADC4D}"/>
              </a:ext>
            </a:extLst>
          </p:cNvPr>
          <p:cNvSpPr/>
          <p:nvPr/>
        </p:nvSpPr>
        <p:spPr>
          <a:xfrm>
            <a:off x="9822877" y="10553887"/>
            <a:ext cx="372519" cy="361235"/>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defTabSz="1828831">
              <a:defRPr/>
            </a:pPr>
            <a:endParaRPr lang="en-US" sz="7199" dirty="0">
              <a:solidFill>
                <a:srgbClr val="000000"/>
              </a:solidFill>
              <a:latin typeface="IBM Plex Sans Light"/>
              <a:sym typeface="Helvetica Neue"/>
            </a:endParaRPr>
          </a:p>
        </p:txBody>
      </p:sp>
      <p:sp>
        <p:nvSpPr>
          <p:cNvPr id="6" name="Rectangle 5">
            <a:extLst>
              <a:ext uri="{FF2B5EF4-FFF2-40B4-BE49-F238E27FC236}">
                <a16:creationId xmlns:a16="http://schemas.microsoft.com/office/drawing/2014/main" id="{39E253C3-C236-04E0-44E1-8B2B98E72EDD}"/>
              </a:ext>
            </a:extLst>
          </p:cNvPr>
          <p:cNvSpPr/>
          <p:nvPr/>
        </p:nvSpPr>
        <p:spPr bwMode="auto">
          <a:xfrm>
            <a:off x="426217" y="10306779"/>
            <a:ext cx="9187328" cy="1216682"/>
          </a:xfrm>
          <a:prstGeom prst="rect">
            <a:avLst/>
          </a:prstGeom>
          <a:solidFill>
            <a:srgbClr val="001D6C"/>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540" tIns="228540" rIns="228540" bIns="228540" numCol="1" rtlCol="0" anchor="b" anchorCtr="0" compatLnSpc="1">
            <a:prstTxWarp prst="textNoShape">
              <a:avLst/>
            </a:prstTxWarp>
          </a:bodyPr>
          <a:lstStyle/>
          <a:p>
            <a:pPr algn="ctr" defTabSz="1828647">
              <a:defRPr/>
            </a:pPr>
            <a:r>
              <a:rPr lang="en-US" sz="1800" kern="0" spc="180" dirty="0">
                <a:solidFill>
                  <a:srgbClr val="FFFFFF"/>
                </a:solidFill>
                <a:latin typeface="IBM Plex Sans" panose="020B0503050203000203" pitchFamily="34" charset="0"/>
                <a:sym typeface="IBM Plex Sans"/>
              </a:rPr>
              <a:t>                              CLASSIFY  </a:t>
            </a:r>
            <a:r>
              <a:rPr lang="en-US" sz="1800" kern="0" spc="180" dirty="0">
                <a:solidFill>
                  <a:srgbClr val="4489FF"/>
                </a:solidFill>
                <a:latin typeface="IBM Plex Sans" panose="020B0503050203000203" pitchFamily="34" charset="0"/>
                <a:sym typeface="IBM Plex Sans"/>
              </a:rPr>
              <a:t>|</a:t>
            </a:r>
            <a:r>
              <a:rPr lang="en-US" sz="1800" kern="0" spc="180" dirty="0">
                <a:solidFill>
                  <a:srgbClr val="FFFFFF"/>
                </a:solidFill>
                <a:latin typeface="IBM Plex Sans" panose="020B0503050203000203" pitchFamily="34" charset="0"/>
                <a:sym typeface="IBM Plex Sans"/>
              </a:rPr>
              <a:t>  GENERATE  </a:t>
            </a:r>
            <a:r>
              <a:rPr lang="en-US" sz="1800" kern="0" spc="180" dirty="0">
                <a:solidFill>
                  <a:srgbClr val="4489FF"/>
                </a:solidFill>
                <a:latin typeface="IBM Plex Sans" panose="020B0503050203000203" pitchFamily="34" charset="0"/>
                <a:sym typeface="IBM Plex Sans"/>
              </a:rPr>
              <a:t>|</a:t>
            </a:r>
            <a:r>
              <a:rPr lang="en-US" sz="1800" kern="0" spc="180" dirty="0">
                <a:solidFill>
                  <a:srgbClr val="FFFFFF"/>
                </a:solidFill>
                <a:latin typeface="IBM Plex Sans" panose="020B0503050203000203" pitchFamily="34" charset="0"/>
                <a:sym typeface="IBM Plex Sans"/>
              </a:rPr>
              <a:t>  SUMMARIZE  </a:t>
            </a:r>
            <a:r>
              <a:rPr lang="en-US" sz="1800" kern="0" spc="180" dirty="0">
                <a:solidFill>
                  <a:srgbClr val="4489FF"/>
                </a:solidFill>
                <a:latin typeface="IBM Plex Sans" panose="020B0503050203000203" pitchFamily="34" charset="0"/>
                <a:sym typeface="IBM Plex Sans"/>
              </a:rPr>
              <a:t>|</a:t>
            </a:r>
            <a:r>
              <a:rPr lang="en-US" sz="1800" kern="0" spc="180" dirty="0">
                <a:solidFill>
                  <a:srgbClr val="FFFFFF"/>
                </a:solidFill>
                <a:latin typeface="IBM Plex Sans" panose="020B0503050203000203" pitchFamily="34" charset="0"/>
                <a:sym typeface="IBM Plex Sans"/>
              </a:rPr>
              <a:t>  EXTRACT</a:t>
            </a:r>
            <a:endParaRPr lang="en-US" sz="1800" spc="180" dirty="0">
              <a:solidFill>
                <a:srgbClr val="FFFFFF"/>
              </a:solidFill>
              <a:latin typeface="IBM Plex Sans" panose="020B0503050203000203" pitchFamily="34" charset="0"/>
              <a:sym typeface="Helvetica Neue"/>
            </a:endParaRPr>
          </a:p>
        </p:txBody>
      </p:sp>
      <p:pic>
        <p:nvPicPr>
          <p:cNvPr id="7" name="Picture 6" descr="A black background with white text&#10;&#10;Description automatically generated">
            <a:extLst>
              <a:ext uri="{FF2B5EF4-FFF2-40B4-BE49-F238E27FC236}">
                <a16:creationId xmlns:a16="http://schemas.microsoft.com/office/drawing/2014/main" id="{D2B0F195-2F53-AA3C-3184-1D0CBCAA2426}"/>
              </a:ext>
            </a:extLst>
          </p:cNvPr>
          <p:cNvPicPr>
            <a:picLocks noChangeAspect="1"/>
          </p:cNvPicPr>
          <p:nvPr/>
        </p:nvPicPr>
        <p:blipFill rotWithShape="1">
          <a:blip r:embed="rId3"/>
          <a:srcRect l="19813" t="39217" r="16039" b="37525"/>
          <a:stretch/>
        </p:blipFill>
        <p:spPr>
          <a:xfrm>
            <a:off x="496546" y="10964246"/>
            <a:ext cx="2077919" cy="365004"/>
          </a:xfrm>
          <a:prstGeom prst="rect">
            <a:avLst/>
          </a:prstGeom>
        </p:spPr>
      </p:pic>
      <p:sp>
        <p:nvSpPr>
          <p:cNvPr id="9" name="TextBox 8">
            <a:extLst>
              <a:ext uri="{FF2B5EF4-FFF2-40B4-BE49-F238E27FC236}">
                <a16:creationId xmlns:a16="http://schemas.microsoft.com/office/drawing/2014/main" id="{1DB8EDA7-43CC-C876-F42C-5621E2E49AA0}"/>
              </a:ext>
            </a:extLst>
          </p:cNvPr>
          <p:cNvSpPr txBox="1"/>
          <p:nvPr/>
        </p:nvSpPr>
        <p:spPr>
          <a:xfrm>
            <a:off x="484127" y="10370031"/>
            <a:ext cx="3206828" cy="40005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828831"/>
            <a:r>
              <a:rPr lang="en-US" sz="2000" kern="0" spc="180" dirty="0">
                <a:solidFill>
                  <a:srgbClr val="FFFFFF"/>
                </a:solidFill>
                <a:latin typeface="IBM Plex Sans" panose="020B0503050203000203" pitchFamily="34" charset="0"/>
                <a:sym typeface="IBM Plex Sans"/>
              </a:rPr>
              <a:t>Generative AI Skills</a:t>
            </a:r>
            <a:endParaRPr lang="en-US" sz="2000" dirty="0">
              <a:solidFill>
                <a:srgbClr val="000000"/>
              </a:solidFill>
              <a:latin typeface="IBM Plex Sans Light"/>
              <a:sym typeface="Helvetica Neue"/>
            </a:endParaRPr>
          </a:p>
        </p:txBody>
      </p:sp>
      <p:sp>
        <p:nvSpPr>
          <p:cNvPr id="12" name="TextBox 11">
            <a:extLst>
              <a:ext uri="{FF2B5EF4-FFF2-40B4-BE49-F238E27FC236}">
                <a16:creationId xmlns:a16="http://schemas.microsoft.com/office/drawing/2014/main" id="{2D4EBA3E-809A-E376-FDE8-B80065907FB2}"/>
              </a:ext>
            </a:extLst>
          </p:cNvPr>
          <p:cNvSpPr txBox="1"/>
          <p:nvPr/>
        </p:nvSpPr>
        <p:spPr>
          <a:xfrm>
            <a:off x="14825495" y="10380652"/>
            <a:ext cx="2781008" cy="40005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828831"/>
            <a:r>
              <a:rPr lang="en-US" sz="2000" kern="0" spc="180" dirty="0">
                <a:solidFill>
                  <a:srgbClr val="FFFFFF"/>
                </a:solidFill>
                <a:latin typeface="IBM Plex Sans" panose="020B0503050203000203" pitchFamily="34" charset="0"/>
                <a:sym typeface="IBM Plex Sans"/>
              </a:rPr>
              <a:t>Automation Skills</a:t>
            </a:r>
            <a:endParaRPr lang="en-US" sz="2000" dirty="0">
              <a:solidFill>
                <a:srgbClr val="000000"/>
              </a:solidFill>
              <a:latin typeface="IBM Plex Sans Light"/>
              <a:sym typeface="Helvetica Neue"/>
            </a:endParaRPr>
          </a:p>
        </p:txBody>
      </p:sp>
      <p:pic>
        <p:nvPicPr>
          <p:cNvPr id="15" name="Graphic 14">
            <a:extLst>
              <a:ext uri="{FF2B5EF4-FFF2-40B4-BE49-F238E27FC236}">
                <a16:creationId xmlns:a16="http://schemas.microsoft.com/office/drawing/2014/main" id="{1EC608B0-4735-22E7-C319-76645749B5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90955" y="12006154"/>
            <a:ext cx="1679953" cy="453623"/>
          </a:xfrm>
          <a:prstGeom prst="rect">
            <a:avLst/>
          </a:prstGeom>
        </p:spPr>
      </p:pic>
      <p:pic>
        <p:nvPicPr>
          <p:cNvPr id="23" name="Graphic 22">
            <a:extLst>
              <a:ext uri="{FF2B5EF4-FFF2-40B4-BE49-F238E27FC236}">
                <a16:creationId xmlns:a16="http://schemas.microsoft.com/office/drawing/2014/main" id="{24C23D8E-2CD3-4364-C97C-E425BB3F3B7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55260" y="12564190"/>
            <a:ext cx="2331368" cy="341182"/>
          </a:xfrm>
          <a:prstGeom prst="rect">
            <a:avLst/>
          </a:prstGeom>
        </p:spPr>
      </p:pic>
      <p:pic>
        <p:nvPicPr>
          <p:cNvPr id="24" name="Picture 23" descr="A blue and purple logo&#10;&#10;Description automatically generated">
            <a:extLst>
              <a:ext uri="{FF2B5EF4-FFF2-40B4-BE49-F238E27FC236}">
                <a16:creationId xmlns:a16="http://schemas.microsoft.com/office/drawing/2014/main" id="{A18E6502-1789-0034-C2B7-18243A06D233}"/>
              </a:ext>
            </a:extLst>
          </p:cNvPr>
          <p:cNvPicPr>
            <a:picLocks noChangeAspect="1"/>
          </p:cNvPicPr>
          <p:nvPr/>
        </p:nvPicPr>
        <p:blipFill rotWithShape="1">
          <a:blip r:embed="rId8"/>
          <a:srcRect l="29179" r="28617"/>
          <a:stretch/>
        </p:blipFill>
        <p:spPr>
          <a:xfrm>
            <a:off x="18755441" y="12372928"/>
            <a:ext cx="505146" cy="649321"/>
          </a:xfrm>
          <a:prstGeom prst="rect">
            <a:avLst/>
          </a:prstGeom>
        </p:spPr>
      </p:pic>
      <p:pic>
        <p:nvPicPr>
          <p:cNvPr id="25" name="Graphic 24">
            <a:extLst>
              <a:ext uri="{FF2B5EF4-FFF2-40B4-BE49-F238E27FC236}">
                <a16:creationId xmlns:a16="http://schemas.microsoft.com/office/drawing/2014/main" id="{44CAFF18-EB38-6C05-6EFB-B4ABDE7575D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80948" y="12348643"/>
            <a:ext cx="1049969" cy="710887"/>
          </a:xfrm>
          <a:prstGeom prst="rect">
            <a:avLst/>
          </a:prstGeom>
        </p:spPr>
      </p:pic>
      <p:pic>
        <p:nvPicPr>
          <p:cNvPr id="27" name="Graphic 26">
            <a:extLst>
              <a:ext uri="{FF2B5EF4-FFF2-40B4-BE49-F238E27FC236}">
                <a16:creationId xmlns:a16="http://schemas.microsoft.com/office/drawing/2014/main" id="{1D0946E5-F592-19F8-DE01-399A5A1ACF6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1419465" y="11910783"/>
            <a:ext cx="571184" cy="623539"/>
          </a:xfrm>
          <a:prstGeom prst="rect">
            <a:avLst/>
          </a:prstGeom>
        </p:spPr>
      </p:pic>
      <p:pic>
        <p:nvPicPr>
          <p:cNvPr id="28" name="Graphic 27">
            <a:extLst>
              <a:ext uri="{FF2B5EF4-FFF2-40B4-BE49-F238E27FC236}">
                <a16:creationId xmlns:a16="http://schemas.microsoft.com/office/drawing/2014/main" id="{B6EA8214-5054-8853-8256-14C43AC2375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673019" y="11954769"/>
            <a:ext cx="949172" cy="488948"/>
          </a:xfrm>
          <a:prstGeom prst="rect">
            <a:avLst/>
          </a:prstGeom>
        </p:spPr>
      </p:pic>
      <p:sp>
        <p:nvSpPr>
          <p:cNvPr id="32" name="Rounded Rectangle 31">
            <a:extLst>
              <a:ext uri="{FF2B5EF4-FFF2-40B4-BE49-F238E27FC236}">
                <a16:creationId xmlns:a16="http://schemas.microsoft.com/office/drawing/2014/main" id="{F9E5EF1C-22C1-0F8B-5842-CF8D56D7D578}"/>
              </a:ext>
            </a:extLst>
          </p:cNvPr>
          <p:cNvSpPr>
            <a:spLocks/>
          </p:cNvSpPr>
          <p:nvPr/>
        </p:nvSpPr>
        <p:spPr bwMode="auto">
          <a:xfrm>
            <a:off x="8362613" y="2128960"/>
            <a:ext cx="3885188" cy="6399133"/>
          </a:xfrm>
          <a:prstGeom prst="roundRect">
            <a:avLst/>
          </a:prstGeom>
          <a:solidFill>
            <a:srgbClr val="BAE8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algn="ctr" defTabSz="914127" fontAlgn="base">
              <a:spcBef>
                <a:spcPct val="0"/>
              </a:spcBef>
              <a:spcAft>
                <a:spcPct val="0"/>
              </a:spcAft>
            </a:pPr>
            <a:r>
              <a:rPr lang="en-US" sz="2800" dirty="0">
                <a:solidFill>
                  <a:srgbClr val="000000"/>
                </a:solidFill>
                <a:latin typeface="IBM Plex Sans Light"/>
                <a:sym typeface="Helvetica Neue"/>
              </a:rPr>
              <a:t>Supply Chain</a:t>
            </a:r>
          </a:p>
        </p:txBody>
      </p:sp>
      <p:sp>
        <p:nvSpPr>
          <p:cNvPr id="33" name="Rounded Rectangle 32">
            <a:extLst>
              <a:ext uri="{FF2B5EF4-FFF2-40B4-BE49-F238E27FC236}">
                <a16:creationId xmlns:a16="http://schemas.microsoft.com/office/drawing/2014/main" id="{31DF9210-B8D9-06BB-21D6-4E0451DCD56D}"/>
              </a:ext>
            </a:extLst>
          </p:cNvPr>
          <p:cNvSpPr>
            <a:spLocks/>
          </p:cNvSpPr>
          <p:nvPr/>
        </p:nvSpPr>
        <p:spPr bwMode="auto">
          <a:xfrm>
            <a:off x="12330810" y="2128960"/>
            <a:ext cx="3885188" cy="6399133"/>
          </a:xfrm>
          <a:prstGeom prst="roundRect">
            <a:avLst/>
          </a:prstGeom>
          <a:solidFill>
            <a:srgbClr val="F6F2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algn="ctr" defTabSz="914127" fontAlgn="base">
              <a:spcBef>
                <a:spcPct val="0"/>
              </a:spcBef>
              <a:spcAft>
                <a:spcPct val="0"/>
              </a:spcAft>
            </a:pPr>
            <a:r>
              <a:rPr lang="en-US" sz="2800" dirty="0">
                <a:solidFill>
                  <a:srgbClr val="000000"/>
                </a:solidFill>
                <a:latin typeface="IBM Plex Sans Light"/>
                <a:sym typeface="Helvetica Neue"/>
              </a:rPr>
              <a:t>Procurement</a:t>
            </a:r>
          </a:p>
        </p:txBody>
      </p:sp>
      <p:sp>
        <p:nvSpPr>
          <p:cNvPr id="34" name="Rounded Rectangle 33">
            <a:extLst>
              <a:ext uri="{FF2B5EF4-FFF2-40B4-BE49-F238E27FC236}">
                <a16:creationId xmlns:a16="http://schemas.microsoft.com/office/drawing/2014/main" id="{298E1C90-D2DE-77A2-44F7-FB7E4B324353}"/>
              </a:ext>
            </a:extLst>
          </p:cNvPr>
          <p:cNvSpPr>
            <a:spLocks/>
          </p:cNvSpPr>
          <p:nvPr/>
        </p:nvSpPr>
        <p:spPr bwMode="auto">
          <a:xfrm>
            <a:off x="20267203" y="2128960"/>
            <a:ext cx="3885188" cy="6399133"/>
          </a:xfrm>
          <a:prstGeom prst="roundRect">
            <a:avLst/>
          </a:prstGeom>
          <a:solidFill>
            <a:srgbClr val="9EF1F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algn="ctr" defTabSz="914127" fontAlgn="base">
              <a:spcBef>
                <a:spcPct val="0"/>
              </a:spcBef>
              <a:spcAft>
                <a:spcPct val="0"/>
              </a:spcAft>
            </a:pPr>
            <a:r>
              <a:rPr lang="en-US" sz="2800" dirty="0">
                <a:solidFill>
                  <a:srgbClr val="000000"/>
                </a:solidFill>
                <a:latin typeface="IBM Plex Sans Light"/>
                <a:sym typeface="Helvetica Neue"/>
              </a:rPr>
              <a:t>HR</a:t>
            </a:r>
          </a:p>
        </p:txBody>
      </p:sp>
      <p:sp>
        <p:nvSpPr>
          <p:cNvPr id="35" name="Rounded Rectangle 34">
            <a:extLst>
              <a:ext uri="{FF2B5EF4-FFF2-40B4-BE49-F238E27FC236}">
                <a16:creationId xmlns:a16="http://schemas.microsoft.com/office/drawing/2014/main" id="{2006B926-CBD6-34FC-C485-B5CD2B1D5F3B}"/>
              </a:ext>
            </a:extLst>
          </p:cNvPr>
          <p:cNvSpPr>
            <a:spLocks noChangeAspect="1"/>
          </p:cNvSpPr>
          <p:nvPr/>
        </p:nvSpPr>
        <p:spPr bwMode="auto">
          <a:xfrm>
            <a:off x="631903" y="5816665"/>
            <a:ext cx="3451123" cy="237682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defTabSz="914127" fontAlgn="base">
              <a:spcBef>
                <a:spcPct val="0"/>
              </a:spcBef>
              <a:spcAft>
                <a:spcPct val="0"/>
              </a:spcAft>
            </a:pPr>
            <a:r>
              <a:rPr lang="en-US" sz="2400" dirty="0">
                <a:solidFill>
                  <a:srgbClr val="000000"/>
                </a:solidFill>
                <a:latin typeface="IBM Plex Sans Light"/>
                <a:sym typeface="Helvetica Neue"/>
              </a:rPr>
              <a:t>Business impact</a:t>
            </a:r>
          </a:p>
          <a:p>
            <a:pPr marL="182826" indent="-182826" defTabSz="914127" fontAlgn="base">
              <a:spcBef>
                <a:spcPts val="1200"/>
              </a:spcBef>
              <a:spcAft>
                <a:spcPct val="0"/>
              </a:spcAft>
              <a:buFont typeface="Arial" panose="020B0604020202020204" pitchFamily="34" charset="0"/>
              <a:buChar char="•"/>
            </a:pPr>
            <a:r>
              <a:rPr lang="en-US" sz="2100" dirty="0">
                <a:solidFill>
                  <a:srgbClr val="000000"/>
                </a:solidFill>
                <a:latin typeface="IBM Plex Sans Light"/>
                <a:sym typeface="Helvetica Neue"/>
              </a:rPr>
              <a:t>Better resolution times</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Reduced costs</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Improved NPS/CSAT</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Higher agent retention</a:t>
            </a:r>
          </a:p>
        </p:txBody>
      </p:sp>
      <p:sp>
        <p:nvSpPr>
          <p:cNvPr id="36" name="Rectangle 35">
            <a:extLst>
              <a:ext uri="{FF2B5EF4-FFF2-40B4-BE49-F238E27FC236}">
                <a16:creationId xmlns:a16="http://schemas.microsoft.com/office/drawing/2014/main" id="{7E1E64A1-404F-0FBA-A920-248B94F8CBF7}"/>
              </a:ext>
            </a:extLst>
          </p:cNvPr>
          <p:cNvSpPr/>
          <p:nvPr/>
        </p:nvSpPr>
        <p:spPr bwMode="auto">
          <a:xfrm>
            <a:off x="9754226" y="10306779"/>
            <a:ext cx="4883678" cy="1216682"/>
          </a:xfrm>
          <a:prstGeom prst="rect">
            <a:avLst/>
          </a:prstGeom>
          <a:solidFill>
            <a:srgbClr val="009D9A"/>
          </a:solidFill>
          <a:ln w="19050">
            <a:solidFill>
              <a:schemeClr val="tx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540" tIns="228540" rIns="228540" bIns="228540" numCol="1" rtlCol="0" anchor="b" anchorCtr="0" compatLnSpc="1">
            <a:prstTxWarp prst="textNoShape">
              <a:avLst/>
            </a:prstTxWarp>
          </a:bodyPr>
          <a:lstStyle/>
          <a:p>
            <a:pPr algn="ctr" defTabSz="1828647">
              <a:defRPr/>
            </a:pPr>
            <a:r>
              <a:rPr lang="en-US" sz="1800" kern="0" spc="180" dirty="0">
                <a:solidFill>
                  <a:srgbClr val="FFFFFF"/>
                </a:solidFill>
                <a:latin typeface="IBM Plex Sans" panose="020B0503050203000203" pitchFamily="34" charset="0"/>
                <a:sym typeface="IBM Plex Sans"/>
              </a:rPr>
              <a:t>SEMANTIC SEARCH</a:t>
            </a:r>
            <a:r>
              <a:rPr lang="en-US" sz="1800" kern="0" spc="180" dirty="0">
                <a:solidFill>
                  <a:srgbClr val="000000"/>
                </a:solidFill>
                <a:latin typeface="IBM Plex Sans" panose="020B0503050203000203" pitchFamily="34" charset="0"/>
                <a:sym typeface="IBM Plex Sans"/>
              </a:rPr>
              <a:t> |  </a:t>
            </a:r>
            <a:r>
              <a:rPr lang="en-US" sz="1800" kern="0" spc="180" dirty="0">
                <a:solidFill>
                  <a:srgbClr val="FFFFFF"/>
                </a:solidFill>
                <a:latin typeface="IBM Plex Sans" panose="020B0503050203000203" pitchFamily="34" charset="0"/>
                <a:sym typeface="IBM Plex Sans"/>
              </a:rPr>
              <a:t>VECTOR DB</a:t>
            </a:r>
            <a:endParaRPr lang="en-US" sz="1800" spc="180" dirty="0">
              <a:solidFill>
                <a:srgbClr val="FFFFFF"/>
              </a:solidFill>
              <a:latin typeface="IBM Plex Sans" panose="020B0503050203000203" pitchFamily="34" charset="0"/>
              <a:sym typeface="Helvetica Neue"/>
            </a:endParaRPr>
          </a:p>
        </p:txBody>
      </p:sp>
      <p:pic>
        <p:nvPicPr>
          <p:cNvPr id="1026" name="Picture 2" descr="Download Genesys Logo in SVG Vector or PNG File Format ...">
            <a:extLst>
              <a:ext uri="{FF2B5EF4-FFF2-40B4-BE49-F238E27FC236}">
                <a16:creationId xmlns:a16="http://schemas.microsoft.com/office/drawing/2014/main" id="{C7223558-AC7F-FB00-AB76-2B1D45FED1B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2914" y="11992416"/>
            <a:ext cx="1903516" cy="126901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NICE CXone Reviews 2024: Details, Pricing, &amp; Features | G2">
            <a:extLst>
              <a:ext uri="{FF2B5EF4-FFF2-40B4-BE49-F238E27FC236}">
                <a16:creationId xmlns:a16="http://schemas.microsoft.com/office/drawing/2014/main" id="{651FE816-3AE3-FDA7-C67E-A9066BC78A0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482396" y="11952287"/>
            <a:ext cx="1021551" cy="53631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A6E6389C-72B5-D4E0-E20A-14386220B24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832139" y="12478183"/>
            <a:ext cx="1608467" cy="508444"/>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184BDA8B-D84B-1019-D9E4-E7D64B6037B5}"/>
              </a:ext>
            </a:extLst>
          </p:cNvPr>
          <p:cNvSpPr txBox="1"/>
          <p:nvPr/>
        </p:nvSpPr>
        <p:spPr>
          <a:xfrm>
            <a:off x="9886961" y="10370031"/>
            <a:ext cx="3722347" cy="40005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828831"/>
            <a:r>
              <a:rPr lang="en-US" sz="2000" kern="0" spc="180" dirty="0">
                <a:solidFill>
                  <a:srgbClr val="FFFFFF"/>
                </a:solidFill>
                <a:latin typeface="IBM Plex Sans" panose="020B0503050203000203" pitchFamily="34" charset="0"/>
                <a:sym typeface="IBM Plex Sans"/>
              </a:rPr>
              <a:t>Knowledge Skills</a:t>
            </a:r>
            <a:endParaRPr lang="en-US" sz="2000" dirty="0">
              <a:solidFill>
                <a:srgbClr val="000000"/>
              </a:solidFill>
              <a:latin typeface="IBM Plex Sans Light"/>
              <a:sym typeface="Helvetica Neue"/>
            </a:endParaRPr>
          </a:p>
        </p:txBody>
      </p:sp>
      <p:sp>
        <p:nvSpPr>
          <p:cNvPr id="38" name="Rectangle 37">
            <a:extLst>
              <a:ext uri="{FF2B5EF4-FFF2-40B4-BE49-F238E27FC236}">
                <a16:creationId xmlns:a16="http://schemas.microsoft.com/office/drawing/2014/main" id="{B30F5973-FEA9-1659-51F0-AF758A2797F0}"/>
              </a:ext>
            </a:extLst>
          </p:cNvPr>
          <p:cNvSpPr/>
          <p:nvPr/>
        </p:nvSpPr>
        <p:spPr bwMode="auto">
          <a:xfrm>
            <a:off x="6145753" y="8761368"/>
            <a:ext cx="12013102" cy="1216682"/>
          </a:xfrm>
          <a:prstGeom prst="rect">
            <a:avLst/>
          </a:pr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540" tIns="228540" rIns="228540" bIns="228540" numCol="1" rtlCol="0" anchor="ctr" anchorCtr="0" compatLnSpc="1">
            <a:prstTxWarp prst="textNoShape">
              <a:avLst/>
            </a:prstTxWarp>
          </a:bodyPr>
          <a:lstStyle/>
          <a:p>
            <a:pPr algn="ctr" defTabSz="1828647">
              <a:defRPr/>
            </a:pPr>
            <a:r>
              <a:rPr lang="en-US" sz="1800" kern="0" spc="180" dirty="0">
                <a:solidFill>
                  <a:srgbClr val="000000"/>
                </a:solidFill>
                <a:latin typeface="IBM Plex Sans" panose="020B0503050203000203" pitchFamily="34" charset="0"/>
                <a:sym typeface="IBM Plex Sans"/>
              </a:rPr>
              <a:t>                 CONVERSATIONAL  |  ORCHESTRATES SKILLS  | CONTEXTUALIZED</a:t>
            </a:r>
            <a:br>
              <a:rPr lang="en-US" sz="1800" kern="0" spc="180" dirty="0">
                <a:solidFill>
                  <a:srgbClr val="000000"/>
                </a:solidFill>
                <a:latin typeface="IBM Plex Sans" panose="020B0503050203000203" pitchFamily="34" charset="0"/>
                <a:sym typeface="IBM Plex Sans"/>
              </a:rPr>
            </a:br>
            <a:r>
              <a:rPr lang="en-US" sz="1800" kern="0" spc="180" dirty="0">
                <a:solidFill>
                  <a:srgbClr val="000000"/>
                </a:solidFill>
                <a:latin typeface="IBM Plex Sans" panose="020B0503050203000203" pitchFamily="34" charset="0"/>
                <a:sym typeface="IBM Plex Sans"/>
              </a:rPr>
              <a:t>                  OMNI-CHANNEL | MULTI-CLOUD</a:t>
            </a:r>
            <a:endParaRPr lang="en-US" sz="1800" spc="180" dirty="0">
              <a:solidFill>
                <a:srgbClr val="000000"/>
              </a:solidFill>
              <a:latin typeface="IBM Plex Sans" panose="020B0503050203000203" pitchFamily="34" charset="0"/>
              <a:sym typeface="Helvetica Neue"/>
            </a:endParaRPr>
          </a:p>
        </p:txBody>
      </p:sp>
      <p:sp>
        <p:nvSpPr>
          <p:cNvPr id="40" name="TextBox 39">
            <a:extLst>
              <a:ext uri="{FF2B5EF4-FFF2-40B4-BE49-F238E27FC236}">
                <a16:creationId xmlns:a16="http://schemas.microsoft.com/office/drawing/2014/main" id="{6752C15F-1000-DBF0-9433-1B86508464AF}"/>
              </a:ext>
            </a:extLst>
          </p:cNvPr>
          <p:cNvSpPr txBox="1"/>
          <p:nvPr/>
        </p:nvSpPr>
        <p:spPr>
          <a:xfrm>
            <a:off x="6235133" y="8862010"/>
            <a:ext cx="2333164" cy="10155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828831"/>
            <a:r>
              <a:rPr lang="en-US" sz="2000" b="1" kern="0" spc="180" dirty="0">
                <a:solidFill>
                  <a:srgbClr val="000000"/>
                </a:solidFill>
                <a:latin typeface="IBM Plex Sans" panose="020B0503050203000203" pitchFamily="34" charset="0"/>
                <a:sym typeface="IBM Plex Sans"/>
              </a:rPr>
              <a:t>AI Assistants </a:t>
            </a:r>
            <a:br>
              <a:rPr lang="en-US" sz="2000" b="1" kern="0" spc="180" dirty="0">
                <a:solidFill>
                  <a:srgbClr val="000000"/>
                </a:solidFill>
                <a:latin typeface="IBM Plex Sans" panose="020B0503050203000203" pitchFamily="34" charset="0"/>
                <a:sym typeface="IBM Plex Sans"/>
              </a:rPr>
            </a:br>
            <a:r>
              <a:rPr lang="en-US" sz="2000" b="1" kern="0" spc="180" dirty="0">
                <a:solidFill>
                  <a:srgbClr val="000000"/>
                </a:solidFill>
                <a:latin typeface="IBM Plex Sans" panose="020B0503050203000203" pitchFamily="34" charset="0"/>
                <a:sym typeface="IBM Plex Sans"/>
              </a:rPr>
              <a:t>for Digital Labor</a:t>
            </a:r>
            <a:endParaRPr lang="en-US" sz="2000" b="1" dirty="0">
              <a:solidFill>
                <a:srgbClr val="000000"/>
              </a:solidFill>
              <a:latin typeface="IBM Plex Sans Light"/>
              <a:sym typeface="Helvetica Neue"/>
            </a:endParaRPr>
          </a:p>
        </p:txBody>
      </p:sp>
      <p:pic>
        <p:nvPicPr>
          <p:cNvPr id="1032" name="Picture 8" descr="Salesloft - Workato Tech Partner Directory">
            <a:extLst>
              <a:ext uri="{FF2B5EF4-FFF2-40B4-BE49-F238E27FC236}">
                <a16:creationId xmlns:a16="http://schemas.microsoft.com/office/drawing/2014/main" id="{9B1067A6-7559-4557-8968-72CA0417AE0F}"/>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227152" y="12323440"/>
            <a:ext cx="1608467" cy="80423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Elastic Logo PNG Transparent &amp; SVG Vector - Freebie Supply">
            <a:extLst>
              <a:ext uri="{FF2B5EF4-FFF2-40B4-BE49-F238E27FC236}">
                <a16:creationId xmlns:a16="http://schemas.microsoft.com/office/drawing/2014/main" id="{AFA0BB5E-0BA7-B455-C8BB-3F5AFF8FE573}"/>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310377" y="12473999"/>
            <a:ext cx="1535890" cy="526693"/>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Brandfetch | Coupa Logos &amp; Brand Assets">
            <a:extLst>
              <a:ext uri="{FF2B5EF4-FFF2-40B4-BE49-F238E27FC236}">
                <a16:creationId xmlns:a16="http://schemas.microsoft.com/office/drawing/2014/main" id="{8125DF25-DF5F-218E-ADFE-EBA63BA57E5F}"/>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020650" y="11910784"/>
            <a:ext cx="2066837" cy="563213"/>
          </a:xfrm>
          <a:prstGeom prst="rect">
            <a:avLst/>
          </a:prstGeom>
          <a:noFill/>
          <a:extLst>
            <a:ext uri="{909E8E84-426E-40DD-AFC4-6F175D3DCCD1}">
              <a14:hiddenFill xmlns:a14="http://schemas.microsoft.com/office/drawing/2010/main">
                <a:solidFill>
                  <a:srgbClr val="FFFFFF"/>
                </a:solidFill>
              </a14:hiddenFill>
            </a:ext>
          </a:extLst>
        </p:spPr>
      </p:pic>
      <p:sp>
        <p:nvSpPr>
          <p:cNvPr id="42" name="Rounded Rectangle 41">
            <a:extLst>
              <a:ext uri="{FF2B5EF4-FFF2-40B4-BE49-F238E27FC236}">
                <a16:creationId xmlns:a16="http://schemas.microsoft.com/office/drawing/2014/main" id="{77B77BA9-E28F-96B4-68A5-4BC0CD67D25F}"/>
              </a:ext>
            </a:extLst>
          </p:cNvPr>
          <p:cNvSpPr>
            <a:spLocks/>
          </p:cNvSpPr>
          <p:nvPr/>
        </p:nvSpPr>
        <p:spPr bwMode="auto">
          <a:xfrm>
            <a:off x="631902" y="3027633"/>
            <a:ext cx="3473816" cy="237682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defTabSz="914127" fontAlgn="base">
              <a:spcBef>
                <a:spcPct val="0"/>
              </a:spcBef>
              <a:spcAft>
                <a:spcPct val="0"/>
              </a:spcAft>
            </a:pPr>
            <a:r>
              <a:rPr lang="en-US" sz="2400" dirty="0">
                <a:solidFill>
                  <a:srgbClr val="000000"/>
                </a:solidFill>
                <a:latin typeface="IBM Plex Sans Light"/>
                <a:sym typeface="Helvetica Neue"/>
              </a:rPr>
              <a:t>Use cases</a:t>
            </a:r>
          </a:p>
          <a:p>
            <a:pPr marL="182826" indent="-182826" defTabSz="914127" fontAlgn="base">
              <a:spcBef>
                <a:spcPts val="1200"/>
              </a:spcBef>
              <a:spcAft>
                <a:spcPct val="0"/>
              </a:spcAft>
              <a:buFont typeface="Arial" panose="020B0604020202020204" pitchFamily="34" charset="0"/>
              <a:buChar char="•"/>
            </a:pPr>
            <a:r>
              <a:rPr lang="en-US" sz="2100" dirty="0">
                <a:solidFill>
                  <a:srgbClr val="000000"/>
                </a:solidFill>
                <a:latin typeface="IBM Plex Sans Light"/>
                <a:sym typeface="Helvetica Neue"/>
              </a:rPr>
              <a:t>Digital self-serve</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Modernize contact center</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Case management</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Agent Assist</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Contact Center Insights</a:t>
            </a:r>
          </a:p>
        </p:txBody>
      </p:sp>
      <p:sp>
        <p:nvSpPr>
          <p:cNvPr id="43" name="Rounded Rectangle 42">
            <a:extLst>
              <a:ext uri="{FF2B5EF4-FFF2-40B4-BE49-F238E27FC236}">
                <a16:creationId xmlns:a16="http://schemas.microsoft.com/office/drawing/2014/main" id="{FB3BD7C7-8CB7-09D5-4F5A-119CAB40BAAB}"/>
              </a:ext>
            </a:extLst>
          </p:cNvPr>
          <p:cNvSpPr>
            <a:spLocks noChangeAspect="1"/>
          </p:cNvSpPr>
          <p:nvPr/>
        </p:nvSpPr>
        <p:spPr bwMode="auto">
          <a:xfrm>
            <a:off x="4611447" y="5871840"/>
            <a:ext cx="3451123" cy="237682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defTabSz="914127" fontAlgn="base">
              <a:spcBef>
                <a:spcPct val="0"/>
              </a:spcBef>
              <a:spcAft>
                <a:spcPct val="0"/>
              </a:spcAft>
            </a:pPr>
            <a:r>
              <a:rPr lang="en-US" sz="2400" dirty="0">
                <a:solidFill>
                  <a:srgbClr val="000000"/>
                </a:solidFill>
                <a:latin typeface="IBM Plex Sans Light"/>
                <a:sym typeface="Helvetica Neue"/>
              </a:rPr>
              <a:t>Business impact</a:t>
            </a:r>
          </a:p>
          <a:p>
            <a:pPr marL="182826" indent="-182826" defTabSz="914127" fontAlgn="base">
              <a:spcBef>
                <a:spcPts val="1200"/>
              </a:spcBef>
              <a:spcAft>
                <a:spcPct val="0"/>
              </a:spcAft>
              <a:buFont typeface="Arial" panose="020B0604020202020204" pitchFamily="34" charset="0"/>
              <a:buChar char="•"/>
            </a:pPr>
            <a:r>
              <a:rPr lang="en-US" sz="2100" dirty="0">
                <a:solidFill>
                  <a:srgbClr val="000000"/>
                </a:solidFill>
                <a:latin typeface="IBM Plex Sans Light"/>
                <a:sym typeface="Helvetica Neue"/>
              </a:rPr>
              <a:t>Higher conversion rate</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Increased order size</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Improved upselling</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Customer retention</a:t>
            </a:r>
            <a:r>
              <a:rPr lang="en-US" sz="2200" dirty="0">
                <a:solidFill>
                  <a:srgbClr val="000000"/>
                </a:solidFill>
                <a:latin typeface="IBM Plex Sans Light"/>
                <a:sym typeface="Helvetica Neue"/>
              </a:rPr>
              <a:t> </a:t>
            </a:r>
          </a:p>
        </p:txBody>
      </p:sp>
      <p:sp>
        <p:nvSpPr>
          <p:cNvPr id="44" name="Rounded Rectangle 43">
            <a:extLst>
              <a:ext uri="{FF2B5EF4-FFF2-40B4-BE49-F238E27FC236}">
                <a16:creationId xmlns:a16="http://schemas.microsoft.com/office/drawing/2014/main" id="{F63FE4A2-0D77-247D-8C99-E4A525E5E9E1}"/>
              </a:ext>
            </a:extLst>
          </p:cNvPr>
          <p:cNvSpPr>
            <a:spLocks/>
          </p:cNvSpPr>
          <p:nvPr/>
        </p:nvSpPr>
        <p:spPr bwMode="auto">
          <a:xfrm>
            <a:off x="4600100" y="3082805"/>
            <a:ext cx="3473816" cy="237682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defTabSz="914127" fontAlgn="base">
              <a:spcBef>
                <a:spcPct val="0"/>
              </a:spcBef>
              <a:spcAft>
                <a:spcPct val="0"/>
              </a:spcAft>
            </a:pPr>
            <a:r>
              <a:rPr lang="en-US" sz="2400" dirty="0">
                <a:solidFill>
                  <a:srgbClr val="000000"/>
                </a:solidFill>
                <a:latin typeface="IBM Plex Sans Light"/>
                <a:sym typeface="Helvetica Neue"/>
              </a:rPr>
              <a:t>Use cases</a:t>
            </a:r>
          </a:p>
          <a:p>
            <a:pPr marL="182826" indent="-182826" defTabSz="914127" fontAlgn="base">
              <a:spcBef>
                <a:spcPts val="1200"/>
              </a:spcBef>
              <a:spcAft>
                <a:spcPct val="0"/>
              </a:spcAft>
              <a:buFont typeface="Arial" panose="020B0604020202020204" pitchFamily="34" charset="0"/>
              <a:buChar char="•"/>
            </a:pPr>
            <a:r>
              <a:rPr lang="en-US" sz="2100" dirty="0">
                <a:solidFill>
                  <a:srgbClr val="000000"/>
                </a:solidFill>
                <a:latin typeface="IBM Plex Sans Light"/>
                <a:sym typeface="Helvetica Neue"/>
              </a:rPr>
              <a:t>Buyer experience</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Lead management</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Opportunity management</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Seller support</a:t>
            </a:r>
          </a:p>
        </p:txBody>
      </p:sp>
      <p:pic>
        <p:nvPicPr>
          <p:cNvPr id="45" name="Picture 14" descr="Sap success factor and Edflex">
            <a:extLst>
              <a:ext uri="{FF2B5EF4-FFF2-40B4-BE49-F238E27FC236}">
                <a16:creationId xmlns:a16="http://schemas.microsoft.com/office/drawing/2014/main" id="{8B046CFA-BF00-7B49-031D-681689F095A5}"/>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19845" r="19381"/>
          <a:stretch/>
        </p:blipFill>
        <p:spPr bwMode="auto">
          <a:xfrm>
            <a:off x="22597505" y="12069457"/>
            <a:ext cx="1340199" cy="81074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8DFFD65B-848F-5F7B-3304-67F88D9A63D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8191036" y="11995466"/>
            <a:ext cx="2398420" cy="311006"/>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a:extLst>
              <a:ext uri="{FF2B5EF4-FFF2-40B4-BE49-F238E27FC236}">
                <a16:creationId xmlns:a16="http://schemas.microsoft.com/office/drawing/2014/main" id="{2AF5EE0A-C398-DCDE-7453-7F7765121961}"/>
              </a:ext>
            </a:extLst>
          </p:cNvPr>
          <p:cNvSpPr txBox="1"/>
          <p:nvPr/>
        </p:nvSpPr>
        <p:spPr>
          <a:xfrm>
            <a:off x="390253" y="11873896"/>
            <a:ext cx="2596912" cy="36928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828831"/>
            <a:r>
              <a:rPr lang="en-US" sz="1800" b="1" kern="0" spc="180" dirty="0">
                <a:solidFill>
                  <a:srgbClr val="000000"/>
                </a:solidFill>
                <a:latin typeface="IBM Plex Sans" panose="020B0503050203000203" pitchFamily="34" charset="0"/>
                <a:sym typeface="IBM Plex Sans"/>
              </a:rPr>
              <a:t>INTEGRATIONS</a:t>
            </a:r>
            <a:endParaRPr lang="en-US" sz="1800" b="1" dirty="0">
              <a:solidFill>
                <a:srgbClr val="000000"/>
              </a:solidFill>
              <a:latin typeface="IBM Plex Sans Light"/>
              <a:sym typeface="Helvetica Neue"/>
            </a:endParaRPr>
          </a:p>
        </p:txBody>
      </p:sp>
      <p:pic>
        <p:nvPicPr>
          <p:cNvPr id="1042" name="Picture 18" descr="Dun &amp; Bradstreet - Accelerate Growth and Improve Business ...">
            <a:extLst>
              <a:ext uri="{FF2B5EF4-FFF2-40B4-BE49-F238E27FC236}">
                <a16:creationId xmlns:a16="http://schemas.microsoft.com/office/drawing/2014/main" id="{C8376BA9-F371-A360-1B39-407E0156BC51}"/>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3102575" y="11943858"/>
            <a:ext cx="3191840" cy="468241"/>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Home">
            <a:extLst>
              <a:ext uri="{FF2B5EF4-FFF2-40B4-BE49-F238E27FC236}">
                <a16:creationId xmlns:a16="http://schemas.microsoft.com/office/drawing/2014/main" id="{37D3121B-F346-4BCE-31F6-746910E0FB4D}"/>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9865224" y="12529454"/>
            <a:ext cx="2028488" cy="492794"/>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Our Commercial Intelligence Data and Ariba">
            <a:extLst>
              <a:ext uri="{FF2B5EF4-FFF2-40B4-BE49-F238E27FC236}">
                <a16:creationId xmlns:a16="http://schemas.microsoft.com/office/drawing/2014/main" id="{50AA7ACA-932A-0E74-97A4-FD64F716184D}"/>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r="62454"/>
          <a:stretch/>
        </p:blipFill>
        <p:spPr bwMode="auto">
          <a:xfrm>
            <a:off x="13718927" y="11910783"/>
            <a:ext cx="2671938" cy="1528069"/>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Data Applications - Analytics Dashboard Template | Incorta">
            <a:extLst>
              <a:ext uri="{FF2B5EF4-FFF2-40B4-BE49-F238E27FC236}">
                <a16:creationId xmlns:a16="http://schemas.microsoft.com/office/drawing/2014/main" id="{31C7D4B4-CE2A-9484-B096-EB2BE4CDB0F0}"/>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6540590" y="12069457"/>
            <a:ext cx="1500721" cy="838293"/>
          </a:xfrm>
          <a:prstGeom prst="rect">
            <a:avLst/>
          </a:prstGeom>
          <a:noFill/>
          <a:extLst>
            <a:ext uri="{909E8E84-426E-40DD-AFC4-6F175D3DCCD1}">
              <a14:hiddenFill xmlns:a14="http://schemas.microsoft.com/office/drawing/2010/main">
                <a:solidFill>
                  <a:srgbClr val="FFFFFF"/>
                </a:solidFill>
              </a14:hiddenFill>
            </a:ext>
          </a:extLst>
        </p:spPr>
      </p:pic>
      <p:sp>
        <p:nvSpPr>
          <p:cNvPr id="49" name="Rounded Rectangle 48">
            <a:extLst>
              <a:ext uri="{FF2B5EF4-FFF2-40B4-BE49-F238E27FC236}">
                <a16:creationId xmlns:a16="http://schemas.microsoft.com/office/drawing/2014/main" id="{2FF9CC48-91A2-3F6B-DE15-ED9CBD252EB4}"/>
              </a:ext>
            </a:extLst>
          </p:cNvPr>
          <p:cNvSpPr>
            <a:spLocks noChangeAspect="1"/>
          </p:cNvSpPr>
          <p:nvPr/>
        </p:nvSpPr>
        <p:spPr bwMode="auto">
          <a:xfrm>
            <a:off x="8579644" y="5906732"/>
            <a:ext cx="3451123" cy="237682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defTabSz="914127" fontAlgn="base">
              <a:spcBef>
                <a:spcPct val="0"/>
              </a:spcBef>
              <a:spcAft>
                <a:spcPct val="0"/>
              </a:spcAft>
            </a:pPr>
            <a:r>
              <a:rPr lang="en-US" sz="2400" dirty="0">
                <a:solidFill>
                  <a:srgbClr val="000000"/>
                </a:solidFill>
                <a:latin typeface="IBM Plex Sans Light"/>
                <a:sym typeface="Helvetica Neue"/>
              </a:rPr>
              <a:t>Business impact</a:t>
            </a:r>
          </a:p>
          <a:p>
            <a:pPr marL="182826" indent="-182826" defTabSz="914127" fontAlgn="base">
              <a:spcBef>
                <a:spcPts val="1200"/>
              </a:spcBef>
              <a:spcAft>
                <a:spcPct val="0"/>
              </a:spcAft>
              <a:buFont typeface="Arial" panose="020B0604020202020204" pitchFamily="34" charset="0"/>
              <a:buChar char="•"/>
            </a:pPr>
            <a:r>
              <a:rPr lang="en-US" sz="2100" dirty="0">
                <a:solidFill>
                  <a:srgbClr val="000000"/>
                </a:solidFill>
                <a:latin typeface="IBM Plex Sans Light"/>
                <a:sym typeface="Helvetica Neue"/>
              </a:rPr>
              <a:t>Cost per order</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Lead times</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Order cycle time</a:t>
            </a:r>
          </a:p>
        </p:txBody>
      </p:sp>
      <p:sp>
        <p:nvSpPr>
          <p:cNvPr id="50" name="Rounded Rectangle 49">
            <a:extLst>
              <a:ext uri="{FF2B5EF4-FFF2-40B4-BE49-F238E27FC236}">
                <a16:creationId xmlns:a16="http://schemas.microsoft.com/office/drawing/2014/main" id="{6192DF58-3416-D453-9FBA-05EB06BEA83B}"/>
              </a:ext>
            </a:extLst>
          </p:cNvPr>
          <p:cNvSpPr>
            <a:spLocks/>
          </p:cNvSpPr>
          <p:nvPr/>
        </p:nvSpPr>
        <p:spPr bwMode="auto">
          <a:xfrm>
            <a:off x="8568297" y="3117697"/>
            <a:ext cx="3473816" cy="237682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defTabSz="914127" fontAlgn="base">
              <a:spcBef>
                <a:spcPct val="0"/>
              </a:spcBef>
              <a:spcAft>
                <a:spcPct val="0"/>
              </a:spcAft>
            </a:pPr>
            <a:r>
              <a:rPr lang="en-US" sz="2400" dirty="0">
                <a:solidFill>
                  <a:srgbClr val="000000"/>
                </a:solidFill>
                <a:latin typeface="IBM Plex Sans Light"/>
                <a:sym typeface="Helvetica Neue"/>
              </a:rPr>
              <a:t>Use cases</a:t>
            </a:r>
          </a:p>
          <a:p>
            <a:pPr marL="182826" indent="-182826" defTabSz="914127" fontAlgn="base">
              <a:spcBef>
                <a:spcPts val="1200"/>
              </a:spcBef>
              <a:spcAft>
                <a:spcPct val="0"/>
              </a:spcAft>
              <a:buFont typeface="Arial" panose="020B0604020202020204" pitchFamily="34" charset="0"/>
              <a:buChar char="•"/>
            </a:pPr>
            <a:r>
              <a:rPr lang="en-US" sz="2100" dirty="0">
                <a:solidFill>
                  <a:srgbClr val="000000"/>
                </a:solidFill>
                <a:latin typeface="IBM Plex Sans Light"/>
                <a:sym typeface="Helvetica Neue"/>
              </a:rPr>
              <a:t>Sourcing Support</a:t>
            </a:r>
          </a:p>
          <a:p>
            <a:pPr marL="182826" indent="-182826" defTabSz="914127" fontAlgn="base">
              <a:spcAft>
                <a:spcPct val="0"/>
              </a:spcAft>
              <a:buFont typeface="Arial" panose="020B0604020202020204" pitchFamily="34" charset="0"/>
              <a:buChar char="•"/>
            </a:pPr>
            <a:r>
              <a:rPr lang="en-US" sz="2100" dirty="0">
                <a:solidFill>
                  <a:srgbClr val="000000"/>
                </a:solidFill>
                <a:latin typeface="IBM Plex Sans Light"/>
                <a:sym typeface="Helvetica Neue"/>
              </a:rPr>
              <a:t>Supplier Management</a:t>
            </a:r>
          </a:p>
          <a:p>
            <a:pPr marL="182826" indent="-182826" defTabSz="914127" fontAlgn="base">
              <a:spcAft>
                <a:spcPct val="0"/>
              </a:spcAft>
              <a:buFont typeface="Arial" panose="020B0604020202020204" pitchFamily="34" charset="0"/>
              <a:buChar char="•"/>
            </a:pPr>
            <a:r>
              <a:rPr lang="en-US" sz="2100" dirty="0">
                <a:solidFill>
                  <a:srgbClr val="000000"/>
                </a:solidFill>
                <a:latin typeface="IBM Plex Sans Light"/>
                <a:sym typeface="Helvetica Neue"/>
              </a:rPr>
              <a:t>Sustainability</a:t>
            </a:r>
          </a:p>
          <a:p>
            <a:pPr marL="182826" indent="-182826" defTabSz="914127" fontAlgn="base">
              <a:spcAft>
                <a:spcPct val="0"/>
              </a:spcAft>
              <a:buFont typeface="Arial" panose="020B0604020202020204" pitchFamily="34" charset="0"/>
              <a:buChar char="•"/>
            </a:pPr>
            <a:r>
              <a:rPr lang="en-US" sz="2100" dirty="0">
                <a:solidFill>
                  <a:srgbClr val="000000"/>
                </a:solidFill>
                <a:latin typeface="IBM Plex Sans Light"/>
                <a:sym typeface="Helvetica Neue"/>
              </a:rPr>
              <a:t>Inventory Management</a:t>
            </a:r>
          </a:p>
        </p:txBody>
      </p:sp>
      <p:sp>
        <p:nvSpPr>
          <p:cNvPr id="51" name="Rounded Rectangle 50">
            <a:extLst>
              <a:ext uri="{FF2B5EF4-FFF2-40B4-BE49-F238E27FC236}">
                <a16:creationId xmlns:a16="http://schemas.microsoft.com/office/drawing/2014/main" id="{A69F98BB-1449-CED1-CCC8-92A18F2756A0}"/>
              </a:ext>
            </a:extLst>
          </p:cNvPr>
          <p:cNvSpPr>
            <a:spLocks noChangeAspect="1"/>
          </p:cNvSpPr>
          <p:nvPr/>
        </p:nvSpPr>
        <p:spPr bwMode="auto">
          <a:xfrm>
            <a:off x="20484236" y="5837455"/>
            <a:ext cx="3451123" cy="237682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defTabSz="914127" fontAlgn="base">
              <a:spcBef>
                <a:spcPct val="0"/>
              </a:spcBef>
              <a:spcAft>
                <a:spcPct val="0"/>
              </a:spcAft>
            </a:pPr>
            <a:r>
              <a:rPr lang="en-US" sz="2400" dirty="0">
                <a:solidFill>
                  <a:srgbClr val="000000"/>
                </a:solidFill>
                <a:latin typeface="IBM Plex Sans Light"/>
                <a:sym typeface="Helvetica Neue"/>
              </a:rPr>
              <a:t>Business impact</a:t>
            </a:r>
          </a:p>
          <a:p>
            <a:pPr marL="182826" indent="-182826" defTabSz="914127" fontAlgn="base">
              <a:spcBef>
                <a:spcPts val="1200"/>
              </a:spcBef>
              <a:spcAft>
                <a:spcPct val="0"/>
              </a:spcAft>
              <a:buFont typeface="Arial" panose="020B0604020202020204" pitchFamily="34" charset="0"/>
              <a:buChar char="•"/>
            </a:pPr>
            <a:r>
              <a:rPr lang="en-US" sz="2100" dirty="0">
                <a:solidFill>
                  <a:srgbClr val="000000"/>
                </a:solidFill>
                <a:latin typeface="IBM Plex Sans Light"/>
                <a:sym typeface="Helvetica Neue"/>
              </a:rPr>
              <a:t>Time to offer</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Cost per hire</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Reduced support cost</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1-click resolution rates </a:t>
            </a:r>
          </a:p>
        </p:txBody>
      </p:sp>
      <p:sp>
        <p:nvSpPr>
          <p:cNvPr id="52" name="Rounded Rectangle 51">
            <a:extLst>
              <a:ext uri="{FF2B5EF4-FFF2-40B4-BE49-F238E27FC236}">
                <a16:creationId xmlns:a16="http://schemas.microsoft.com/office/drawing/2014/main" id="{EEB01ABA-C1A4-4412-8F03-33B121EA3195}"/>
              </a:ext>
            </a:extLst>
          </p:cNvPr>
          <p:cNvSpPr>
            <a:spLocks/>
          </p:cNvSpPr>
          <p:nvPr/>
        </p:nvSpPr>
        <p:spPr bwMode="auto">
          <a:xfrm>
            <a:off x="20472889" y="3048420"/>
            <a:ext cx="3473816" cy="237682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defTabSz="914127" fontAlgn="base">
              <a:spcBef>
                <a:spcPct val="0"/>
              </a:spcBef>
              <a:spcAft>
                <a:spcPct val="0"/>
              </a:spcAft>
            </a:pPr>
            <a:r>
              <a:rPr lang="en-US" sz="2400" dirty="0">
                <a:solidFill>
                  <a:srgbClr val="000000"/>
                </a:solidFill>
                <a:latin typeface="IBM Plex Sans Light"/>
                <a:sym typeface="Helvetica Neue"/>
              </a:rPr>
              <a:t>Use cases</a:t>
            </a:r>
          </a:p>
          <a:p>
            <a:pPr marL="182826" indent="-182826" defTabSz="914127" fontAlgn="base">
              <a:spcBef>
                <a:spcPts val="1200"/>
              </a:spcBef>
              <a:spcAft>
                <a:spcPct val="0"/>
              </a:spcAft>
              <a:buFont typeface="Arial" panose="020B0604020202020204" pitchFamily="34" charset="0"/>
              <a:buChar char="•"/>
            </a:pPr>
            <a:r>
              <a:rPr lang="en-US" sz="2100" dirty="0">
                <a:solidFill>
                  <a:srgbClr val="000000"/>
                </a:solidFill>
                <a:latin typeface="IBM Plex Sans Light"/>
                <a:sym typeface="Helvetica Neue"/>
              </a:rPr>
              <a:t>Talent Recruitment</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Onboarding</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Payroll</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Compensation</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Employee support</a:t>
            </a:r>
          </a:p>
        </p:txBody>
      </p:sp>
      <p:sp>
        <p:nvSpPr>
          <p:cNvPr id="57" name="Rounded Rectangle 56">
            <a:extLst>
              <a:ext uri="{FF2B5EF4-FFF2-40B4-BE49-F238E27FC236}">
                <a16:creationId xmlns:a16="http://schemas.microsoft.com/office/drawing/2014/main" id="{5C107C5F-BD57-1984-20C2-9221BB49C5CD}"/>
              </a:ext>
            </a:extLst>
          </p:cNvPr>
          <p:cNvSpPr>
            <a:spLocks noChangeAspect="1"/>
          </p:cNvSpPr>
          <p:nvPr/>
        </p:nvSpPr>
        <p:spPr bwMode="auto">
          <a:xfrm>
            <a:off x="12547842" y="5900706"/>
            <a:ext cx="3451123" cy="237682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defTabSz="914127" fontAlgn="base">
              <a:spcBef>
                <a:spcPct val="0"/>
              </a:spcBef>
              <a:spcAft>
                <a:spcPct val="0"/>
              </a:spcAft>
            </a:pPr>
            <a:r>
              <a:rPr lang="en-US" sz="2400" dirty="0">
                <a:solidFill>
                  <a:srgbClr val="000000"/>
                </a:solidFill>
                <a:latin typeface="IBM Plex Sans Light"/>
                <a:sym typeface="Helvetica Neue"/>
              </a:rPr>
              <a:t>Business impact</a:t>
            </a:r>
          </a:p>
          <a:p>
            <a:pPr marL="182826" indent="-182826" defTabSz="914127" fontAlgn="base">
              <a:spcBef>
                <a:spcPts val="1200"/>
              </a:spcBef>
              <a:spcAft>
                <a:spcPct val="0"/>
              </a:spcAft>
              <a:buFont typeface="Arial" panose="020B0604020202020204" pitchFamily="34" charset="0"/>
              <a:buChar char="•"/>
            </a:pPr>
            <a:r>
              <a:rPr lang="en-US" sz="2100" dirty="0">
                <a:solidFill>
                  <a:srgbClr val="000000"/>
                </a:solidFill>
                <a:latin typeface="IBM Plex Sans Light"/>
                <a:sym typeface="Helvetica Neue"/>
              </a:rPr>
              <a:t>Improved onboarding</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Reduced external spend</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Improved sourcing </a:t>
            </a:r>
          </a:p>
        </p:txBody>
      </p:sp>
      <p:sp>
        <p:nvSpPr>
          <p:cNvPr id="58" name="Rounded Rectangle 57">
            <a:extLst>
              <a:ext uri="{FF2B5EF4-FFF2-40B4-BE49-F238E27FC236}">
                <a16:creationId xmlns:a16="http://schemas.microsoft.com/office/drawing/2014/main" id="{0A2984E8-691E-3955-EF6B-67E8C0CC0CD8}"/>
              </a:ext>
            </a:extLst>
          </p:cNvPr>
          <p:cNvSpPr>
            <a:spLocks/>
          </p:cNvSpPr>
          <p:nvPr/>
        </p:nvSpPr>
        <p:spPr bwMode="auto">
          <a:xfrm>
            <a:off x="12536494" y="3111672"/>
            <a:ext cx="3473816" cy="237682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defTabSz="914127" fontAlgn="base">
              <a:spcBef>
                <a:spcPct val="0"/>
              </a:spcBef>
              <a:spcAft>
                <a:spcPct val="0"/>
              </a:spcAft>
            </a:pPr>
            <a:r>
              <a:rPr lang="en-US" sz="2400" dirty="0">
                <a:solidFill>
                  <a:srgbClr val="000000"/>
                </a:solidFill>
                <a:latin typeface="IBM Plex Sans Light"/>
                <a:sym typeface="Helvetica Neue"/>
              </a:rPr>
              <a:t>Use cases</a:t>
            </a:r>
          </a:p>
          <a:p>
            <a:pPr marL="182826" indent="-182826" defTabSz="914127" fontAlgn="base">
              <a:spcBef>
                <a:spcPts val="1200"/>
              </a:spcBef>
              <a:spcAft>
                <a:spcPct val="0"/>
              </a:spcAft>
              <a:buFont typeface="Arial" panose="020B0604020202020204" pitchFamily="34" charset="0"/>
              <a:buChar char="•"/>
            </a:pPr>
            <a:r>
              <a:rPr lang="en-US" sz="2100" dirty="0">
                <a:solidFill>
                  <a:srgbClr val="000000"/>
                </a:solidFill>
                <a:latin typeface="IBM Plex Sans Light"/>
                <a:sym typeface="Helvetica Neue"/>
              </a:rPr>
              <a:t>Procure to pay</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Contractor requisitions</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PO management</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Supplier assessment</a:t>
            </a:r>
          </a:p>
        </p:txBody>
      </p:sp>
      <p:sp>
        <p:nvSpPr>
          <p:cNvPr id="59" name="Rounded Rectangle 58">
            <a:extLst>
              <a:ext uri="{FF2B5EF4-FFF2-40B4-BE49-F238E27FC236}">
                <a16:creationId xmlns:a16="http://schemas.microsoft.com/office/drawing/2014/main" id="{872F358A-27E5-49B1-4A9E-B63180684D1C}"/>
              </a:ext>
            </a:extLst>
          </p:cNvPr>
          <p:cNvSpPr>
            <a:spLocks noChangeAspect="1"/>
          </p:cNvSpPr>
          <p:nvPr/>
        </p:nvSpPr>
        <p:spPr bwMode="auto">
          <a:xfrm>
            <a:off x="16516039" y="5935598"/>
            <a:ext cx="3451123" cy="237682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defTabSz="914127" fontAlgn="base">
              <a:spcBef>
                <a:spcPct val="0"/>
              </a:spcBef>
              <a:spcAft>
                <a:spcPct val="0"/>
              </a:spcAft>
            </a:pPr>
            <a:r>
              <a:rPr lang="en-US" sz="2400" dirty="0">
                <a:solidFill>
                  <a:srgbClr val="000000"/>
                </a:solidFill>
                <a:latin typeface="IBM Plex Sans Light"/>
                <a:sym typeface="Helvetica Neue"/>
              </a:rPr>
              <a:t>Business impact</a:t>
            </a:r>
          </a:p>
          <a:p>
            <a:pPr marL="182826" indent="-182826" defTabSz="914127" fontAlgn="base">
              <a:spcBef>
                <a:spcPts val="1200"/>
              </a:spcBef>
              <a:spcAft>
                <a:spcPct val="0"/>
              </a:spcAft>
              <a:buFont typeface="Arial" panose="020B0604020202020204" pitchFamily="34" charset="0"/>
              <a:buChar char="•"/>
            </a:pPr>
            <a:r>
              <a:rPr lang="en-US" sz="2100" dirty="0">
                <a:solidFill>
                  <a:srgbClr val="000000"/>
                </a:solidFill>
                <a:latin typeface="IBM Plex Sans Light"/>
                <a:sym typeface="Helvetica Neue"/>
              </a:rPr>
              <a:t>Cost per transaction</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Days sales outstanding</a:t>
            </a:r>
          </a:p>
          <a:p>
            <a:pPr marL="182826" indent="-182826" defTabSz="914127" fontAlgn="base">
              <a:spcBef>
                <a:spcPct val="0"/>
              </a:spcBef>
              <a:spcAft>
                <a:spcPct val="0"/>
              </a:spcAft>
              <a:buFont typeface="Arial" panose="020B0604020202020204" pitchFamily="34" charset="0"/>
              <a:buChar char="•"/>
            </a:pPr>
            <a:r>
              <a:rPr lang="en-US" sz="2100" dirty="0">
                <a:solidFill>
                  <a:srgbClr val="000000"/>
                </a:solidFill>
                <a:latin typeface="IBM Plex Sans Light"/>
                <a:sym typeface="Helvetica Neue"/>
              </a:rPr>
              <a:t>Time to close period</a:t>
            </a:r>
          </a:p>
        </p:txBody>
      </p:sp>
      <p:sp>
        <p:nvSpPr>
          <p:cNvPr id="60" name="Rounded Rectangle 59">
            <a:extLst>
              <a:ext uri="{FF2B5EF4-FFF2-40B4-BE49-F238E27FC236}">
                <a16:creationId xmlns:a16="http://schemas.microsoft.com/office/drawing/2014/main" id="{E3267EA8-BAEC-3049-19F8-A6A385E0027B}"/>
              </a:ext>
            </a:extLst>
          </p:cNvPr>
          <p:cNvSpPr>
            <a:spLocks/>
          </p:cNvSpPr>
          <p:nvPr/>
        </p:nvSpPr>
        <p:spPr bwMode="auto">
          <a:xfrm>
            <a:off x="16504691" y="3146563"/>
            <a:ext cx="3473816" cy="237682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defTabSz="914127" fontAlgn="base">
              <a:spcBef>
                <a:spcPct val="0"/>
              </a:spcBef>
              <a:spcAft>
                <a:spcPct val="0"/>
              </a:spcAft>
            </a:pPr>
            <a:r>
              <a:rPr lang="en-US" sz="2400" dirty="0">
                <a:solidFill>
                  <a:srgbClr val="000000"/>
                </a:solidFill>
                <a:latin typeface="IBM Plex Sans Light"/>
                <a:sym typeface="Helvetica Neue"/>
              </a:rPr>
              <a:t>Use cases</a:t>
            </a:r>
          </a:p>
          <a:p>
            <a:pPr marL="182826" indent="-182826" defTabSz="914127" fontAlgn="base">
              <a:spcBef>
                <a:spcPts val="1200"/>
              </a:spcBef>
              <a:spcAft>
                <a:spcPct val="0"/>
              </a:spcAft>
              <a:buFont typeface="Arial" panose="020B0604020202020204" pitchFamily="34" charset="0"/>
              <a:buChar char="•"/>
            </a:pPr>
            <a:r>
              <a:rPr lang="en-US" sz="2100" dirty="0">
                <a:solidFill>
                  <a:srgbClr val="000000"/>
                </a:solidFill>
                <a:latin typeface="IBM Plex Sans Light"/>
                <a:sym typeface="Helvetica Neue"/>
              </a:rPr>
              <a:t>Source to Pay</a:t>
            </a:r>
          </a:p>
          <a:p>
            <a:pPr marL="182826" indent="-182826" defTabSz="914127" fontAlgn="base">
              <a:spcAft>
                <a:spcPct val="0"/>
              </a:spcAft>
              <a:buFont typeface="Arial" panose="020B0604020202020204" pitchFamily="34" charset="0"/>
              <a:buChar char="•"/>
            </a:pPr>
            <a:r>
              <a:rPr lang="en-US" sz="2100" dirty="0">
                <a:solidFill>
                  <a:srgbClr val="000000"/>
                </a:solidFill>
                <a:latin typeface="IBM Plex Sans Light"/>
                <a:sym typeface="Helvetica Neue"/>
              </a:rPr>
              <a:t>Order to Cash</a:t>
            </a:r>
          </a:p>
          <a:p>
            <a:pPr marL="182826" indent="-182826" defTabSz="914127" fontAlgn="base">
              <a:spcAft>
                <a:spcPct val="0"/>
              </a:spcAft>
              <a:buFont typeface="Arial" panose="020B0604020202020204" pitchFamily="34" charset="0"/>
              <a:buChar char="•"/>
            </a:pPr>
            <a:r>
              <a:rPr lang="en-US" sz="2100" dirty="0">
                <a:solidFill>
                  <a:srgbClr val="000000"/>
                </a:solidFill>
                <a:latin typeface="IBM Plex Sans Light"/>
                <a:sym typeface="Helvetica Neue"/>
              </a:rPr>
              <a:t>Expense Management</a:t>
            </a:r>
          </a:p>
          <a:p>
            <a:pPr marL="182826" indent="-182826" defTabSz="914127" fontAlgn="base">
              <a:spcAft>
                <a:spcPct val="0"/>
              </a:spcAft>
              <a:buFont typeface="Arial" panose="020B0604020202020204" pitchFamily="34" charset="0"/>
              <a:buChar char="•"/>
            </a:pPr>
            <a:r>
              <a:rPr lang="en-US" sz="2100" dirty="0">
                <a:solidFill>
                  <a:srgbClr val="000000"/>
                </a:solidFill>
                <a:latin typeface="IBM Plex Sans Light"/>
                <a:sym typeface="Helvetica Neue"/>
              </a:rPr>
              <a:t>Auditing</a:t>
            </a:r>
          </a:p>
          <a:p>
            <a:pPr marL="182826" indent="-182826" defTabSz="914127" fontAlgn="base">
              <a:spcAft>
                <a:spcPct val="0"/>
              </a:spcAft>
              <a:buFont typeface="Arial" panose="020B0604020202020204" pitchFamily="34" charset="0"/>
              <a:buChar char="•"/>
            </a:pPr>
            <a:r>
              <a:rPr lang="en-US" sz="2100" dirty="0">
                <a:solidFill>
                  <a:srgbClr val="000000"/>
                </a:solidFill>
                <a:latin typeface="IBM Plex Sans Light"/>
                <a:sym typeface="Helvetica Neue"/>
              </a:rPr>
              <a:t>Financial Reporting</a:t>
            </a:r>
          </a:p>
        </p:txBody>
      </p:sp>
      <p:pic>
        <p:nvPicPr>
          <p:cNvPr id="3" name="Picture 2">
            <a:extLst>
              <a:ext uri="{FF2B5EF4-FFF2-40B4-BE49-F238E27FC236}">
                <a16:creationId xmlns:a16="http://schemas.microsoft.com/office/drawing/2014/main" id="{904FFCB5-8869-415B-F42D-39221935B2B4}"/>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6187233" y="11987393"/>
            <a:ext cx="2143465" cy="456324"/>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2">
            <a:extLst>
              <a:ext uri="{FF2B5EF4-FFF2-40B4-BE49-F238E27FC236}">
                <a16:creationId xmlns:a16="http://schemas.microsoft.com/office/drawing/2014/main" id="{7C4AAC66-EFA6-1291-6284-05ACF2F64B89}"/>
              </a:ext>
            </a:extLst>
          </p:cNvPr>
          <p:cNvSpPr txBox="1">
            <a:spLocks/>
          </p:cNvSpPr>
          <p:nvPr/>
        </p:nvSpPr>
        <p:spPr>
          <a:xfrm>
            <a:off x="576071" y="385200"/>
            <a:ext cx="16658075" cy="1527048"/>
          </a:xfrm>
          <a:prstGeom prst="rect">
            <a:avLst/>
          </a:prstGeom>
        </p:spPr>
        <p:txBody>
          <a:bodyPr/>
          <a:lstStyle>
            <a:lvl1pPr algn="l" rtl="0" eaLnBrk="1" fontAlgn="base" hangingPunct="1">
              <a:lnSpc>
                <a:spcPct val="90000"/>
              </a:lnSpc>
              <a:spcBef>
                <a:spcPct val="0"/>
              </a:spcBef>
              <a:spcAft>
                <a:spcPct val="0"/>
              </a:spcAft>
              <a:defRPr sz="639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17">
                <a:solidFill>
                  <a:srgbClr val="191919"/>
                </a:solidFill>
                <a:latin typeface="IBM Plex Sans Light" pitchFamily="34" charset="0"/>
              </a:defRPr>
            </a:lvl2pPr>
            <a:lvl3pPr algn="l" rtl="0" eaLnBrk="1" fontAlgn="base" hangingPunct="1">
              <a:lnSpc>
                <a:spcPct val="90000"/>
              </a:lnSpc>
              <a:spcBef>
                <a:spcPct val="0"/>
              </a:spcBef>
              <a:spcAft>
                <a:spcPct val="0"/>
              </a:spcAft>
              <a:defRPr sz="5917">
                <a:solidFill>
                  <a:srgbClr val="191919"/>
                </a:solidFill>
                <a:latin typeface="IBM Plex Sans Light" pitchFamily="34" charset="0"/>
              </a:defRPr>
            </a:lvl3pPr>
            <a:lvl4pPr algn="l" rtl="0" eaLnBrk="1" fontAlgn="base" hangingPunct="1">
              <a:lnSpc>
                <a:spcPct val="90000"/>
              </a:lnSpc>
              <a:spcBef>
                <a:spcPct val="0"/>
              </a:spcBef>
              <a:spcAft>
                <a:spcPct val="0"/>
              </a:spcAft>
              <a:defRPr sz="5917">
                <a:solidFill>
                  <a:srgbClr val="191919"/>
                </a:solidFill>
                <a:latin typeface="IBM Plex Sans Light" pitchFamily="34" charset="0"/>
              </a:defRPr>
            </a:lvl4pPr>
            <a:lvl5pPr algn="l" rtl="0" eaLnBrk="1" fontAlgn="base" hangingPunct="1">
              <a:lnSpc>
                <a:spcPct val="90000"/>
              </a:lnSpc>
              <a:spcBef>
                <a:spcPct val="0"/>
              </a:spcBef>
              <a:spcAft>
                <a:spcPct val="0"/>
              </a:spcAft>
              <a:defRPr sz="5917">
                <a:solidFill>
                  <a:srgbClr val="191919"/>
                </a:solidFill>
                <a:latin typeface="IBM Plex Sans Light" pitchFamily="34" charset="0"/>
              </a:defRPr>
            </a:lvl5pPr>
            <a:lvl6pPr marL="966533" algn="l" rtl="0" eaLnBrk="1" fontAlgn="base" hangingPunct="1">
              <a:lnSpc>
                <a:spcPct val="90000"/>
              </a:lnSpc>
              <a:spcBef>
                <a:spcPct val="0"/>
              </a:spcBef>
              <a:spcAft>
                <a:spcPct val="0"/>
              </a:spcAft>
              <a:defRPr sz="5917">
                <a:solidFill>
                  <a:srgbClr val="191919"/>
                </a:solidFill>
                <a:latin typeface="IBM Plex Sans Light" pitchFamily="34" charset="0"/>
              </a:defRPr>
            </a:lvl6pPr>
            <a:lvl7pPr marL="1933077" algn="l" rtl="0" eaLnBrk="1" fontAlgn="base" hangingPunct="1">
              <a:lnSpc>
                <a:spcPct val="90000"/>
              </a:lnSpc>
              <a:spcBef>
                <a:spcPct val="0"/>
              </a:spcBef>
              <a:spcAft>
                <a:spcPct val="0"/>
              </a:spcAft>
              <a:defRPr sz="5917">
                <a:solidFill>
                  <a:srgbClr val="191919"/>
                </a:solidFill>
                <a:latin typeface="IBM Plex Sans Light" pitchFamily="34" charset="0"/>
              </a:defRPr>
            </a:lvl7pPr>
            <a:lvl8pPr marL="2899610" algn="l" rtl="0" eaLnBrk="1" fontAlgn="base" hangingPunct="1">
              <a:lnSpc>
                <a:spcPct val="90000"/>
              </a:lnSpc>
              <a:spcBef>
                <a:spcPct val="0"/>
              </a:spcBef>
              <a:spcAft>
                <a:spcPct val="0"/>
              </a:spcAft>
              <a:defRPr sz="5917">
                <a:solidFill>
                  <a:srgbClr val="191919"/>
                </a:solidFill>
                <a:latin typeface="IBM Plex Sans Light" pitchFamily="34" charset="0"/>
              </a:defRPr>
            </a:lvl8pPr>
            <a:lvl9pPr marL="3866145" algn="l" rtl="0" eaLnBrk="1" fontAlgn="base" hangingPunct="1">
              <a:lnSpc>
                <a:spcPct val="90000"/>
              </a:lnSpc>
              <a:spcBef>
                <a:spcPct val="0"/>
              </a:spcBef>
              <a:spcAft>
                <a:spcPct val="0"/>
              </a:spcAft>
              <a:defRPr sz="5917">
                <a:solidFill>
                  <a:srgbClr val="191919"/>
                </a:solidFill>
                <a:latin typeface="IBM Plex Sans Light" pitchFamily="34" charset="0"/>
              </a:defRPr>
            </a:lvl9pPr>
          </a:lstStyle>
          <a:p>
            <a:pPr defTabSz="914400"/>
            <a:r>
              <a:rPr lang="en-US" sz="6600" kern="0" dirty="0">
                <a:solidFill>
                  <a:srgbClr val="000000"/>
                </a:solidFill>
                <a:latin typeface="IBM Plex Sans Light"/>
                <a:cs typeface="Arial"/>
                <a:sym typeface="Arial"/>
              </a:rPr>
              <a:t>IBM’s strategy: AI Assistants </a:t>
            </a:r>
            <a:r>
              <a:rPr lang="en-US" sz="6600" kern="0" dirty="0">
                <a:solidFill>
                  <a:srgbClr val="002D9C"/>
                </a:solidFill>
                <a:latin typeface="IBM Plex Sans Light"/>
                <a:cs typeface="Arial"/>
                <a:sym typeface="Arial"/>
              </a:rPr>
              <a:t>for business</a:t>
            </a:r>
            <a:endParaRPr lang="en-US" sz="6600" i="1" kern="0" dirty="0">
              <a:solidFill>
                <a:srgbClr val="002D9C"/>
              </a:solidFill>
              <a:latin typeface="IBM Plex Sans Light"/>
              <a:cs typeface="Arial"/>
              <a:sym typeface="Arial"/>
            </a:endParaRPr>
          </a:p>
          <a:p>
            <a:pPr defTabSz="914400"/>
            <a:br>
              <a:rPr lang="en-US" kern="0" dirty="0">
                <a:latin typeface="+mn-lt"/>
                <a:cs typeface="Arial"/>
                <a:sym typeface="Arial"/>
              </a:rPr>
            </a:br>
            <a:endParaRPr lang="en-US" kern="0" dirty="0">
              <a:latin typeface="+mn-lt"/>
            </a:endParaRPr>
          </a:p>
        </p:txBody>
      </p:sp>
    </p:spTree>
    <p:extLst>
      <p:ext uri="{BB962C8B-B14F-4D97-AF65-F5344CB8AC3E}">
        <p14:creationId xmlns:p14="http://schemas.microsoft.com/office/powerpoint/2010/main" val="19572056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12">
            <a:extLst>
              <a:ext uri="{FF2B5EF4-FFF2-40B4-BE49-F238E27FC236}">
                <a16:creationId xmlns:a16="http://schemas.microsoft.com/office/drawing/2014/main" id="{73C34492-058D-7A18-5F07-A59F34B57A51}"/>
              </a:ext>
            </a:extLst>
          </p:cNvPr>
          <p:cNvPicPr>
            <a:picLocks noChangeAspect="1" noChangeArrowheads="1"/>
          </p:cNvPicPr>
          <p:nvPr/>
        </p:nvPicPr>
        <p:blipFill rotWithShape="1">
          <a:blip r:embed="rId3" cstate="screen">
            <a:duotone>
              <a:schemeClr val="bg2">
                <a:shade val="45000"/>
                <a:satMod val="135000"/>
              </a:schemeClr>
              <a:prstClr val="white"/>
            </a:duotone>
            <a:extLst>
              <a:ext uri="{28A0092B-C50C-407E-A947-70E740481C1C}">
                <a14:useLocalDpi xmlns:a14="http://schemas.microsoft.com/office/drawing/2010/main"/>
              </a:ext>
            </a:extLst>
          </a:blip>
          <a:srcRect t="25244" b="26856"/>
          <a:stretch/>
        </p:blipFill>
        <p:spPr bwMode="auto">
          <a:xfrm>
            <a:off x="19658469" y="6383237"/>
            <a:ext cx="1949356" cy="51806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8" descr="Company Logos - Salesforce News">
            <a:extLst>
              <a:ext uri="{FF2B5EF4-FFF2-40B4-BE49-F238E27FC236}">
                <a16:creationId xmlns:a16="http://schemas.microsoft.com/office/drawing/2014/main" id="{88BE2FD6-CCC3-BB95-565B-56A9BAD6A92D}"/>
              </a:ext>
            </a:extLst>
          </p:cNvPr>
          <p:cNvPicPr>
            <a:picLocks noChangeAspect="1" noChangeArrowheads="1"/>
          </p:cNvPicPr>
          <p:nvPr/>
        </p:nvPicPr>
        <p:blipFill rotWithShape="1">
          <a:blip r:embed="rId4" cstate="screen">
            <a:duotone>
              <a:schemeClr val="bg2">
                <a:shade val="45000"/>
                <a:satMod val="135000"/>
              </a:schemeClr>
              <a:prstClr val="white"/>
            </a:duotone>
            <a:extLst>
              <a:ext uri="{28A0092B-C50C-407E-A947-70E740481C1C}">
                <a14:useLocalDpi xmlns:a14="http://schemas.microsoft.com/office/drawing/2010/main"/>
              </a:ext>
            </a:extLst>
          </a:blip>
          <a:srcRect l="22450" t="16833" r="24500" b="15178"/>
          <a:stretch/>
        </p:blipFill>
        <p:spPr bwMode="auto">
          <a:xfrm>
            <a:off x="20142013" y="4491349"/>
            <a:ext cx="2088367" cy="1498796"/>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descr="Servicenow Logo Vector (SVG, PDF, Ai, EPS, CDR) Free Download - Logowik.com">
            <a:extLst>
              <a:ext uri="{FF2B5EF4-FFF2-40B4-BE49-F238E27FC236}">
                <a16:creationId xmlns:a16="http://schemas.microsoft.com/office/drawing/2014/main" id="{19A36F6B-8CC4-455B-FD47-6CEA59939823}"/>
              </a:ext>
            </a:extLst>
          </p:cNvPr>
          <p:cNvPicPr>
            <a:picLocks noChangeAspect="1" noChangeArrowheads="1"/>
          </p:cNvPicPr>
          <p:nvPr/>
        </p:nvPicPr>
        <p:blipFill rotWithShape="1">
          <a:blip r:embed="rId5" cstate="screen">
            <a:duotone>
              <a:schemeClr val="bg2">
                <a:shade val="45000"/>
                <a:satMod val="135000"/>
              </a:schemeClr>
              <a:prstClr val="white"/>
            </a:duotone>
            <a:extLst>
              <a:ext uri="{28A0092B-C50C-407E-A947-70E740481C1C}">
                <a14:useLocalDpi xmlns:a14="http://schemas.microsoft.com/office/drawing/2010/main"/>
              </a:ext>
            </a:extLst>
          </a:blip>
          <a:srcRect t="39056" b="37438"/>
          <a:stretch/>
        </p:blipFill>
        <p:spPr bwMode="auto">
          <a:xfrm>
            <a:off x="20770651" y="3734489"/>
            <a:ext cx="3432645" cy="604366"/>
          </a:xfrm>
          <a:prstGeom prst="rect">
            <a:avLst/>
          </a:prstGeom>
          <a:noFill/>
          <a:extLst>
            <a:ext uri="{909E8E84-426E-40DD-AFC4-6F175D3DCCD1}">
              <a14:hiddenFill xmlns:a14="http://schemas.microsoft.com/office/drawing/2010/main">
                <a:solidFill>
                  <a:srgbClr val="FFFFFF"/>
                </a:solidFill>
              </a14:hiddenFill>
            </a:ext>
          </a:extLst>
        </p:spPr>
      </p:pic>
      <p:sp>
        <p:nvSpPr>
          <p:cNvPr id="133" name="Arc 132">
            <a:extLst>
              <a:ext uri="{FF2B5EF4-FFF2-40B4-BE49-F238E27FC236}">
                <a16:creationId xmlns:a16="http://schemas.microsoft.com/office/drawing/2014/main" id="{3C688CC9-9D89-B87A-FE0C-86E80CAFE80C}"/>
              </a:ext>
            </a:extLst>
          </p:cNvPr>
          <p:cNvSpPr/>
          <p:nvPr/>
        </p:nvSpPr>
        <p:spPr bwMode="auto">
          <a:xfrm rot="18900000">
            <a:off x="14621503" y="5257117"/>
            <a:ext cx="6811791" cy="6811792"/>
          </a:xfrm>
          <a:prstGeom prst="arc">
            <a:avLst>
              <a:gd name="adj1" fmla="val 17504584"/>
              <a:gd name="adj2" fmla="val 19232537"/>
            </a:avLst>
          </a:prstGeom>
          <a:ln w="50800" cap="rnd">
            <a:gradFill>
              <a:gsLst>
                <a:gs pos="0">
                  <a:srgbClr val="3DDBD9"/>
                </a:gs>
                <a:gs pos="25000">
                  <a:schemeClr val="accent1"/>
                </a:gs>
              </a:gsLst>
              <a:lin ang="5400000" scaled="1"/>
            </a:gradFill>
            <a:prstDash val="sysDot"/>
            <a:headEnd type="none" w="med" len="med"/>
            <a:tailEnd type="arrow"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defTabSz="1829196">
              <a:defRPr/>
            </a:pPr>
            <a:endParaRPr lang="en-US">
              <a:solidFill>
                <a:srgbClr val="000000"/>
              </a:solidFill>
              <a:latin typeface="IBM Plex Sans Light"/>
              <a:sym typeface="Helvetica Neue"/>
            </a:endParaRPr>
          </a:p>
        </p:txBody>
      </p:sp>
      <p:sp>
        <p:nvSpPr>
          <p:cNvPr id="134" name="Arc 133">
            <a:extLst>
              <a:ext uri="{FF2B5EF4-FFF2-40B4-BE49-F238E27FC236}">
                <a16:creationId xmlns:a16="http://schemas.microsoft.com/office/drawing/2014/main" id="{2D2C8A34-EC0C-CC75-822A-ED925157FDED}"/>
              </a:ext>
            </a:extLst>
          </p:cNvPr>
          <p:cNvSpPr/>
          <p:nvPr/>
        </p:nvSpPr>
        <p:spPr bwMode="auto">
          <a:xfrm rot="8100000">
            <a:off x="8589056" y="2572713"/>
            <a:ext cx="6811791" cy="6811792"/>
          </a:xfrm>
          <a:prstGeom prst="arc">
            <a:avLst>
              <a:gd name="adj1" fmla="val 18766466"/>
              <a:gd name="adj2" fmla="val 0"/>
            </a:avLst>
          </a:prstGeom>
          <a:ln w="50800" cap="rnd">
            <a:gradFill>
              <a:gsLst>
                <a:gs pos="50000">
                  <a:srgbClr val="3DDBD9"/>
                </a:gs>
                <a:gs pos="100000">
                  <a:srgbClr val="C6C6C6"/>
                </a:gs>
              </a:gsLst>
              <a:lin ang="0" scaled="0"/>
            </a:gradFill>
            <a:prstDash val="sysDot"/>
            <a:headEnd type="arrow" w="med" len="med"/>
            <a:tailEnd type="none"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defTabSz="1829196">
              <a:defRPr/>
            </a:pPr>
            <a:endParaRPr lang="en-US">
              <a:solidFill>
                <a:srgbClr val="000000"/>
              </a:solidFill>
              <a:latin typeface="IBM Plex Sans Light"/>
              <a:sym typeface="Helvetica Neue"/>
            </a:endParaRPr>
          </a:p>
        </p:txBody>
      </p:sp>
      <p:grpSp>
        <p:nvGrpSpPr>
          <p:cNvPr id="151" name="Group 150">
            <a:extLst>
              <a:ext uri="{FF2B5EF4-FFF2-40B4-BE49-F238E27FC236}">
                <a16:creationId xmlns:a16="http://schemas.microsoft.com/office/drawing/2014/main" id="{0CB2079F-7475-69E7-F7AF-CFAE2B78D6AD}"/>
              </a:ext>
            </a:extLst>
          </p:cNvPr>
          <p:cNvGrpSpPr/>
          <p:nvPr/>
        </p:nvGrpSpPr>
        <p:grpSpPr>
          <a:xfrm>
            <a:off x="7841455" y="3674131"/>
            <a:ext cx="2367988" cy="4996097"/>
            <a:chOff x="7835507" y="3673715"/>
            <a:chExt cx="2368296" cy="4996748"/>
          </a:xfrm>
        </p:grpSpPr>
        <p:grpSp>
          <p:nvGrpSpPr>
            <p:cNvPr id="64" name="Group 63">
              <a:extLst>
                <a:ext uri="{FF2B5EF4-FFF2-40B4-BE49-F238E27FC236}">
                  <a16:creationId xmlns:a16="http://schemas.microsoft.com/office/drawing/2014/main" id="{BA9CE9F9-8DD7-9381-30D4-CC27E8F2599A}"/>
                </a:ext>
              </a:extLst>
            </p:cNvPr>
            <p:cNvGrpSpPr/>
            <p:nvPr/>
          </p:nvGrpSpPr>
          <p:grpSpPr>
            <a:xfrm>
              <a:off x="7838841" y="5927263"/>
              <a:ext cx="2364962" cy="2743200"/>
              <a:chOff x="4826380" y="5927263"/>
              <a:chExt cx="2364962" cy="2743200"/>
            </a:xfrm>
          </p:grpSpPr>
          <p:sp>
            <p:nvSpPr>
              <p:cNvPr id="60" name="Hexagon 59">
                <a:extLst>
                  <a:ext uri="{FF2B5EF4-FFF2-40B4-BE49-F238E27FC236}">
                    <a16:creationId xmlns:a16="http://schemas.microsoft.com/office/drawing/2014/main" id="{4F80E96B-0212-5706-F2E1-FDB010AC486F}"/>
                  </a:ext>
                </a:extLst>
              </p:cNvPr>
              <p:cNvSpPr>
                <a:spLocks noChangeAspect="1"/>
              </p:cNvSpPr>
              <p:nvPr/>
            </p:nvSpPr>
            <p:spPr bwMode="auto">
              <a:xfrm rot="16200000">
                <a:off x="4637261" y="6116382"/>
                <a:ext cx="2743200" cy="2364962"/>
              </a:xfrm>
              <a:prstGeom prst="hexagon">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algn="ctr" defTabSz="914309" fontAlgn="base">
                  <a:spcBef>
                    <a:spcPct val="0"/>
                  </a:spcBef>
                  <a:spcAft>
                    <a:spcPct val="0"/>
                  </a:spcAft>
                  <a:defRPr/>
                </a:pPr>
                <a:endParaRPr lang="en-US" sz="2800" dirty="0">
                  <a:solidFill>
                    <a:srgbClr val="000000"/>
                  </a:solidFill>
                  <a:latin typeface="IBM Plex Sans Text" panose="020B0503050203000203" pitchFamily="34" charset="0"/>
                  <a:sym typeface="Helvetica Neue"/>
                </a:endParaRPr>
              </a:p>
            </p:txBody>
          </p:sp>
          <p:pic>
            <p:nvPicPr>
              <p:cNvPr id="5" name="Picture 2" descr="IBM Watson Health | AI Healthcare Solutions | IBM">
                <a:extLst>
                  <a:ext uri="{FF2B5EF4-FFF2-40B4-BE49-F238E27FC236}">
                    <a16:creationId xmlns:a16="http://schemas.microsoft.com/office/drawing/2014/main" id="{D2A92A48-E0C2-2297-1996-829EC281701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63599" b="38785"/>
              <a:stretch/>
            </p:blipFill>
            <p:spPr bwMode="auto">
              <a:xfrm>
                <a:off x="5319927" y="6535082"/>
                <a:ext cx="1453462" cy="1374897"/>
              </a:xfrm>
              <a:prstGeom prst="rect">
                <a:avLst/>
              </a:prstGeom>
              <a:noFill/>
              <a:extLst>
                <a:ext uri="{909E8E84-426E-40DD-AFC4-6F175D3DCCD1}">
                  <a14:hiddenFill xmlns:a14="http://schemas.microsoft.com/office/drawing/2010/main">
                    <a:solidFill>
                      <a:srgbClr val="FFFFFF"/>
                    </a:solidFill>
                  </a14:hiddenFill>
                </a:ext>
              </a:extLst>
            </p:spPr>
          </p:pic>
        </p:grpSp>
        <p:sp>
          <p:nvSpPr>
            <p:cNvPr id="69" name="Text Placeholder 1">
              <a:extLst>
                <a:ext uri="{FF2B5EF4-FFF2-40B4-BE49-F238E27FC236}">
                  <a16:creationId xmlns:a16="http://schemas.microsoft.com/office/drawing/2014/main" id="{92AE91C3-6219-0CC0-2B96-20547A466C3E}"/>
                </a:ext>
              </a:extLst>
            </p:cNvPr>
            <p:cNvSpPr txBox="1">
              <a:spLocks/>
            </p:cNvSpPr>
            <p:nvPr/>
          </p:nvSpPr>
          <p:spPr>
            <a:xfrm>
              <a:off x="7835507" y="3673715"/>
              <a:ext cx="2368296" cy="83430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2438156">
                <a:spcBef>
                  <a:spcPts val="1200"/>
                </a:spcBef>
                <a:defRPr/>
              </a:pPr>
              <a:r>
                <a:rPr lang="en-US" sz="2400" i="1" kern="0" dirty="0">
                  <a:solidFill>
                    <a:srgbClr val="000000"/>
                  </a:solidFill>
                  <a:latin typeface="IBM Plex Sans" panose="020B0503050203000203" pitchFamily="34" charset="0"/>
                </a:rPr>
                <a:t>AI Assistant</a:t>
              </a:r>
              <a:endParaRPr lang="en-US" sz="2400" dirty="0">
                <a:solidFill>
                  <a:srgbClr val="000000"/>
                </a:solidFill>
                <a:latin typeface="IBM Plex Sans Light"/>
              </a:endParaRPr>
            </a:p>
          </p:txBody>
        </p:sp>
      </p:grpSp>
      <p:sp>
        <p:nvSpPr>
          <p:cNvPr id="132" name="Arc 131">
            <a:extLst>
              <a:ext uri="{FF2B5EF4-FFF2-40B4-BE49-F238E27FC236}">
                <a16:creationId xmlns:a16="http://schemas.microsoft.com/office/drawing/2014/main" id="{5DE202F0-A4FF-8F77-AB6E-DC65F54A434E}"/>
              </a:ext>
            </a:extLst>
          </p:cNvPr>
          <p:cNvSpPr/>
          <p:nvPr/>
        </p:nvSpPr>
        <p:spPr bwMode="auto">
          <a:xfrm rot="18900000">
            <a:off x="2576876" y="5257117"/>
            <a:ext cx="6811791" cy="6811792"/>
          </a:xfrm>
          <a:prstGeom prst="arc">
            <a:avLst/>
          </a:prstGeom>
          <a:ln w="50800" cap="rnd">
            <a:gradFill>
              <a:gsLst>
                <a:gs pos="0">
                  <a:srgbClr val="82CFFF"/>
                </a:gs>
                <a:gs pos="100000">
                  <a:srgbClr val="C6C6C6"/>
                </a:gs>
              </a:gsLst>
              <a:lin ang="5400000" scaled="0"/>
            </a:gradFill>
            <a:prstDash val="sysDot"/>
            <a:headEnd type="none" w="med" len="med"/>
            <a:tailEnd type="arrow"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defTabSz="1829196">
              <a:defRPr/>
            </a:pPr>
            <a:endParaRPr lang="en-US">
              <a:solidFill>
                <a:srgbClr val="000000"/>
              </a:solidFill>
              <a:latin typeface="IBM Plex Sans Light"/>
              <a:sym typeface="Helvetica Neue"/>
            </a:endParaRPr>
          </a:p>
        </p:txBody>
      </p:sp>
      <p:sp>
        <p:nvSpPr>
          <p:cNvPr id="65" name="Text Placeholder 1">
            <a:extLst>
              <a:ext uri="{FF2B5EF4-FFF2-40B4-BE49-F238E27FC236}">
                <a16:creationId xmlns:a16="http://schemas.microsoft.com/office/drawing/2014/main" id="{DD1BDEAA-EBAD-C869-8398-A53B556D8A1C}"/>
              </a:ext>
            </a:extLst>
          </p:cNvPr>
          <p:cNvSpPr txBox="1">
            <a:spLocks/>
          </p:cNvSpPr>
          <p:nvPr/>
        </p:nvSpPr>
        <p:spPr>
          <a:xfrm>
            <a:off x="1772229" y="3674131"/>
            <a:ext cx="3586710" cy="8341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2438156">
              <a:spcBef>
                <a:spcPts val="1200"/>
              </a:spcBef>
              <a:defRPr/>
            </a:pPr>
            <a:r>
              <a:rPr lang="en-US" sz="2400" i="1" kern="0" dirty="0">
                <a:solidFill>
                  <a:srgbClr val="000000"/>
                </a:solidFill>
                <a:latin typeface="IBM Plex Sans" panose="020B0503050203000203" pitchFamily="34" charset="0"/>
              </a:rPr>
              <a:t>Customers, employees, and knowledge workers</a:t>
            </a:r>
            <a:endParaRPr lang="en-US" sz="2400" dirty="0">
              <a:solidFill>
                <a:srgbClr val="000000"/>
              </a:solidFill>
              <a:latin typeface="IBM Plex Sans Light"/>
            </a:endParaRPr>
          </a:p>
        </p:txBody>
      </p:sp>
      <p:grpSp>
        <p:nvGrpSpPr>
          <p:cNvPr id="137" name="Group 136">
            <a:extLst>
              <a:ext uri="{FF2B5EF4-FFF2-40B4-BE49-F238E27FC236}">
                <a16:creationId xmlns:a16="http://schemas.microsoft.com/office/drawing/2014/main" id="{7B8582CE-62F1-142E-459F-DF891C87F734}"/>
              </a:ext>
            </a:extLst>
          </p:cNvPr>
          <p:cNvGrpSpPr/>
          <p:nvPr/>
        </p:nvGrpSpPr>
        <p:grpSpPr>
          <a:xfrm>
            <a:off x="1198128" y="5927385"/>
            <a:ext cx="2367988" cy="2742843"/>
            <a:chOff x="1196696" y="5927263"/>
            <a:chExt cx="2364962" cy="2743200"/>
          </a:xfrm>
        </p:grpSpPr>
        <p:sp>
          <p:nvSpPr>
            <p:cNvPr id="46" name="Hexagon 45">
              <a:extLst>
                <a:ext uri="{FF2B5EF4-FFF2-40B4-BE49-F238E27FC236}">
                  <a16:creationId xmlns:a16="http://schemas.microsoft.com/office/drawing/2014/main" id="{C8B7C3E7-1A57-57FA-B0F5-3A0E31BBFE02}"/>
                </a:ext>
              </a:extLst>
            </p:cNvPr>
            <p:cNvSpPr>
              <a:spLocks noChangeAspect="1"/>
            </p:cNvSpPr>
            <p:nvPr/>
          </p:nvSpPr>
          <p:spPr bwMode="auto">
            <a:xfrm rot="16200000">
              <a:off x="1007577" y="6116382"/>
              <a:ext cx="2743200" cy="2364962"/>
            </a:xfrm>
            <a:prstGeom prst="hexagon">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algn="ctr" defTabSz="914309" fontAlgn="base">
                <a:spcBef>
                  <a:spcPct val="0"/>
                </a:spcBef>
                <a:spcAft>
                  <a:spcPct val="0"/>
                </a:spcAft>
                <a:defRPr/>
              </a:pPr>
              <a:endParaRPr lang="en-US" sz="2800" dirty="0">
                <a:solidFill>
                  <a:srgbClr val="000000"/>
                </a:solidFill>
                <a:latin typeface="IBM Plex Sans Text" panose="020B0503050203000203" pitchFamily="34" charset="0"/>
                <a:sym typeface="Helvetica Neue"/>
              </a:endParaRPr>
            </a:p>
          </p:txBody>
        </p:sp>
        <p:sp>
          <p:nvSpPr>
            <p:cNvPr id="47" name="Freeform 46">
              <a:extLst>
                <a:ext uri="{FF2B5EF4-FFF2-40B4-BE49-F238E27FC236}">
                  <a16:creationId xmlns:a16="http://schemas.microsoft.com/office/drawing/2014/main" id="{ABBD719F-D91F-D8AB-AFC2-8E5E24D688B1}"/>
                </a:ext>
              </a:extLst>
            </p:cNvPr>
            <p:cNvSpPr/>
            <p:nvPr/>
          </p:nvSpPr>
          <p:spPr>
            <a:xfrm>
              <a:off x="1810616" y="6697876"/>
              <a:ext cx="1137121" cy="1201974"/>
            </a:xfrm>
            <a:custGeom>
              <a:avLst/>
              <a:gdLst>
                <a:gd name="connsiteX0" fmla="*/ 1460754 w 1846580"/>
                <a:gd name="connsiteY0" fmla="*/ 1951894 h 1951893"/>
                <a:gd name="connsiteX1" fmla="*/ 1414463 w 1846580"/>
                <a:gd name="connsiteY1" fmla="*/ 1951894 h 1951893"/>
                <a:gd name="connsiteX2" fmla="*/ 1414463 w 1846580"/>
                <a:gd name="connsiteY2" fmla="*/ 1469691 h 1951893"/>
                <a:gd name="connsiteX3" fmla="*/ 1036930 w 1846580"/>
                <a:gd name="connsiteY3" fmla="*/ 992374 h 1951893"/>
                <a:gd name="connsiteX4" fmla="*/ 1019249 w 1846580"/>
                <a:gd name="connsiteY4" fmla="*/ 972057 h 1951893"/>
                <a:gd name="connsiteX5" fmla="*/ 1032879 w 1846580"/>
                <a:gd name="connsiteY5" fmla="*/ 948719 h 1951893"/>
                <a:gd name="connsiteX6" fmla="*/ 1193356 w 1846580"/>
                <a:gd name="connsiteY6" fmla="*/ 702088 h 1951893"/>
                <a:gd name="connsiteX7" fmla="*/ 923323 w 1846580"/>
                <a:gd name="connsiteY7" fmla="*/ 431990 h 1951893"/>
                <a:gd name="connsiteX8" fmla="*/ 653225 w 1846580"/>
                <a:gd name="connsiteY8" fmla="*/ 702088 h 1951893"/>
                <a:gd name="connsiteX9" fmla="*/ 813702 w 1846580"/>
                <a:gd name="connsiteY9" fmla="*/ 948719 h 1951893"/>
                <a:gd name="connsiteX10" fmla="*/ 827332 w 1846580"/>
                <a:gd name="connsiteY10" fmla="*/ 972057 h 1951893"/>
                <a:gd name="connsiteX11" fmla="*/ 809651 w 1846580"/>
                <a:gd name="connsiteY11" fmla="*/ 992374 h 1951893"/>
                <a:gd name="connsiteX12" fmla="*/ 432118 w 1846580"/>
                <a:gd name="connsiteY12" fmla="*/ 1469691 h 1951893"/>
                <a:gd name="connsiteX13" fmla="*/ 432118 w 1846580"/>
                <a:gd name="connsiteY13" fmla="*/ 1951894 h 1951893"/>
                <a:gd name="connsiteX14" fmla="*/ 385763 w 1846580"/>
                <a:gd name="connsiteY14" fmla="*/ 1951894 h 1951893"/>
                <a:gd name="connsiteX15" fmla="*/ 385763 w 1846580"/>
                <a:gd name="connsiteY15" fmla="*/ 1469691 h 1951893"/>
                <a:gd name="connsiteX16" fmla="*/ 744843 w 1846580"/>
                <a:gd name="connsiteY16" fmla="*/ 963120 h 1951893"/>
                <a:gd name="connsiteX17" fmla="*/ 606869 w 1846580"/>
                <a:gd name="connsiteY17" fmla="*/ 702024 h 1951893"/>
                <a:gd name="connsiteX18" fmla="*/ 788563 w 1846580"/>
                <a:gd name="connsiteY18" fmla="*/ 415788 h 1951893"/>
                <a:gd name="connsiteX19" fmla="*/ 807530 w 1846580"/>
                <a:gd name="connsiteY19" fmla="*/ 316325 h 1951893"/>
                <a:gd name="connsiteX20" fmla="*/ 537496 w 1846580"/>
                <a:gd name="connsiteY20" fmla="*/ 46227 h 1951893"/>
                <a:gd name="connsiteX21" fmla="*/ 267398 w 1846580"/>
                <a:gd name="connsiteY21" fmla="*/ 316325 h 1951893"/>
                <a:gd name="connsiteX22" fmla="*/ 427875 w 1846580"/>
                <a:gd name="connsiteY22" fmla="*/ 562956 h 1951893"/>
                <a:gd name="connsiteX23" fmla="*/ 441505 w 1846580"/>
                <a:gd name="connsiteY23" fmla="*/ 586295 h 1951893"/>
                <a:gd name="connsiteX24" fmla="*/ 423824 w 1846580"/>
                <a:gd name="connsiteY24" fmla="*/ 606612 h 1951893"/>
                <a:gd name="connsiteX25" fmla="*/ 46291 w 1846580"/>
                <a:gd name="connsiteY25" fmla="*/ 1083928 h 1951893"/>
                <a:gd name="connsiteX26" fmla="*/ 46291 w 1846580"/>
                <a:gd name="connsiteY26" fmla="*/ 1566132 h 1951893"/>
                <a:gd name="connsiteX27" fmla="*/ 0 w 1846580"/>
                <a:gd name="connsiteY27" fmla="*/ 1566132 h 1951893"/>
                <a:gd name="connsiteX28" fmla="*/ 0 w 1846580"/>
                <a:gd name="connsiteY28" fmla="*/ 1083928 h 1951893"/>
                <a:gd name="connsiteX29" fmla="*/ 359081 w 1846580"/>
                <a:gd name="connsiteY29" fmla="*/ 577358 h 1951893"/>
                <a:gd name="connsiteX30" fmla="*/ 221171 w 1846580"/>
                <a:gd name="connsiteY30" fmla="*/ 316325 h 1951893"/>
                <a:gd name="connsiteX31" fmla="*/ 537496 w 1846580"/>
                <a:gd name="connsiteY31" fmla="*/ 0 h 1951893"/>
                <a:gd name="connsiteX32" fmla="*/ 853821 w 1846580"/>
                <a:gd name="connsiteY32" fmla="*/ 316325 h 1951893"/>
                <a:gd name="connsiteX33" fmla="*/ 843727 w 1846580"/>
                <a:gd name="connsiteY33" fmla="*/ 395857 h 1951893"/>
                <a:gd name="connsiteX34" fmla="*/ 1002725 w 1846580"/>
                <a:gd name="connsiteY34" fmla="*/ 395857 h 1951893"/>
                <a:gd name="connsiteX35" fmla="*/ 992631 w 1846580"/>
                <a:gd name="connsiteY35" fmla="*/ 316325 h 1951893"/>
                <a:gd name="connsiteX36" fmla="*/ 1309021 w 1846580"/>
                <a:gd name="connsiteY36" fmla="*/ 0 h 1951893"/>
                <a:gd name="connsiteX37" fmla="*/ 1625410 w 1846580"/>
                <a:gd name="connsiteY37" fmla="*/ 316325 h 1951893"/>
                <a:gd name="connsiteX38" fmla="*/ 1487436 w 1846580"/>
                <a:gd name="connsiteY38" fmla="*/ 577422 h 1951893"/>
                <a:gd name="connsiteX39" fmla="*/ 1846581 w 1846580"/>
                <a:gd name="connsiteY39" fmla="*/ 1083993 h 1951893"/>
                <a:gd name="connsiteX40" fmla="*/ 1846581 w 1846580"/>
                <a:gd name="connsiteY40" fmla="*/ 1566132 h 1951893"/>
                <a:gd name="connsiteX41" fmla="*/ 1800225 w 1846580"/>
                <a:gd name="connsiteY41" fmla="*/ 1566132 h 1951893"/>
                <a:gd name="connsiteX42" fmla="*/ 1800225 w 1846580"/>
                <a:gd name="connsiteY42" fmla="*/ 1083928 h 1951893"/>
                <a:gd name="connsiteX43" fmla="*/ 1422692 w 1846580"/>
                <a:gd name="connsiteY43" fmla="*/ 606612 h 1951893"/>
                <a:gd name="connsiteX44" fmla="*/ 1405011 w 1846580"/>
                <a:gd name="connsiteY44" fmla="*/ 586295 h 1951893"/>
                <a:gd name="connsiteX45" fmla="*/ 1418642 w 1846580"/>
                <a:gd name="connsiteY45" fmla="*/ 562956 h 1951893"/>
                <a:gd name="connsiteX46" fmla="*/ 1579055 w 1846580"/>
                <a:gd name="connsiteY46" fmla="*/ 316325 h 1951893"/>
                <a:gd name="connsiteX47" fmla="*/ 1309021 w 1846580"/>
                <a:gd name="connsiteY47" fmla="*/ 46227 h 1951893"/>
                <a:gd name="connsiteX48" fmla="*/ 1038987 w 1846580"/>
                <a:gd name="connsiteY48" fmla="*/ 316325 h 1951893"/>
                <a:gd name="connsiteX49" fmla="*/ 1057954 w 1846580"/>
                <a:gd name="connsiteY49" fmla="*/ 415852 h 1951893"/>
                <a:gd name="connsiteX50" fmla="*/ 1239648 w 1846580"/>
                <a:gd name="connsiteY50" fmla="*/ 702088 h 1951893"/>
                <a:gd name="connsiteX51" fmla="*/ 1101673 w 1846580"/>
                <a:gd name="connsiteY51" fmla="*/ 963185 h 1951893"/>
                <a:gd name="connsiteX52" fmla="*/ 1460818 w 1846580"/>
                <a:gd name="connsiteY52" fmla="*/ 1469755 h 1951893"/>
                <a:gd name="connsiteX53" fmla="*/ 1460754 w 1846580"/>
                <a:gd name="connsiteY53" fmla="*/ 1951894 h 1951893"/>
                <a:gd name="connsiteX54" fmla="*/ 1460754 w 1846580"/>
                <a:gd name="connsiteY54" fmla="*/ 1951894 h 195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580" h="1951893">
                  <a:moveTo>
                    <a:pt x="1460754" y="1951894"/>
                  </a:moveTo>
                  <a:lnTo>
                    <a:pt x="1414463" y="1951894"/>
                  </a:lnTo>
                  <a:lnTo>
                    <a:pt x="1414463" y="1469691"/>
                  </a:lnTo>
                  <a:cubicBezTo>
                    <a:pt x="1414463" y="1241319"/>
                    <a:pt x="1259257" y="1045095"/>
                    <a:pt x="1036930" y="992374"/>
                  </a:cubicBezTo>
                  <a:cubicBezTo>
                    <a:pt x="1027286" y="990060"/>
                    <a:pt x="1020149" y="981894"/>
                    <a:pt x="1019249" y="972057"/>
                  </a:cubicBezTo>
                  <a:cubicBezTo>
                    <a:pt x="1018284" y="962156"/>
                    <a:pt x="1023814" y="952769"/>
                    <a:pt x="1032879" y="948719"/>
                  </a:cubicBezTo>
                  <a:cubicBezTo>
                    <a:pt x="1130413" y="905320"/>
                    <a:pt x="1193356" y="808494"/>
                    <a:pt x="1193356" y="702088"/>
                  </a:cubicBezTo>
                  <a:cubicBezTo>
                    <a:pt x="1193356" y="553183"/>
                    <a:pt x="1072227" y="431990"/>
                    <a:pt x="923323" y="431990"/>
                  </a:cubicBezTo>
                  <a:cubicBezTo>
                    <a:pt x="774418" y="431990"/>
                    <a:pt x="653225" y="553119"/>
                    <a:pt x="653225" y="702088"/>
                  </a:cubicBezTo>
                  <a:cubicBezTo>
                    <a:pt x="653225" y="808494"/>
                    <a:pt x="716232" y="905385"/>
                    <a:pt x="813702" y="948719"/>
                  </a:cubicBezTo>
                  <a:cubicBezTo>
                    <a:pt x="822767" y="952769"/>
                    <a:pt x="828296" y="962156"/>
                    <a:pt x="827332" y="972057"/>
                  </a:cubicBezTo>
                  <a:cubicBezTo>
                    <a:pt x="826432" y="981894"/>
                    <a:pt x="819295" y="990124"/>
                    <a:pt x="809651" y="992374"/>
                  </a:cubicBezTo>
                  <a:cubicBezTo>
                    <a:pt x="587323" y="1045095"/>
                    <a:pt x="432118" y="1241319"/>
                    <a:pt x="432118" y="1469691"/>
                  </a:cubicBezTo>
                  <a:lnTo>
                    <a:pt x="432118" y="1951894"/>
                  </a:lnTo>
                  <a:lnTo>
                    <a:pt x="385763" y="1951894"/>
                  </a:lnTo>
                  <a:lnTo>
                    <a:pt x="385763" y="1469691"/>
                  </a:lnTo>
                  <a:cubicBezTo>
                    <a:pt x="385763" y="1238748"/>
                    <a:pt x="530874" y="1037765"/>
                    <a:pt x="744843" y="963120"/>
                  </a:cubicBezTo>
                  <a:cubicBezTo>
                    <a:pt x="659590" y="904806"/>
                    <a:pt x="606869" y="807465"/>
                    <a:pt x="606869" y="702024"/>
                  </a:cubicBezTo>
                  <a:cubicBezTo>
                    <a:pt x="606869" y="575751"/>
                    <a:pt x="681257" y="466451"/>
                    <a:pt x="788563" y="415788"/>
                  </a:cubicBezTo>
                  <a:cubicBezTo>
                    <a:pt x="801164" y="384219"/>
                    <a:pt x="807530" y="350787"/>
                    <a:pt x="807530" y="316325"/>
                  </a:cubicBezTo>
                  <a:cubicBezTo>
                    <a:pt x="807530" y="167421"/>
                    <a:pt x="686400" y="46227"/>
                    <a:pt x="537496" y="46227"/>
                  </a:cubicBezTo>
                  <a:cubicBezTo>
                    <a:pt x="388591" y="46227"/>
                    <a:pt x="267398" y="167357"/>
                    <a:pt x="267398" y="316325"/>
                  </a:cubicBezTo>
                  <a:cubicBezTo>
                    <a:pt x="267398" y="422796"/>
                    <a:pt x="330406" y="519622"/>
                    <a:pt x="427875" y="562956"/>
                  </a:cubicBezTo>
                  <a:cubicBezTo>
                    <a:pt x="437005" y="567007"/>
                    <a:pt x="442405" y="576393"/>
                    <a:pt x="441505" y="586295"/>
                  </a:cubicBezTo>
                  <a:cubicBezTo>
                    <a:pt x="440605" y="596132"/>
                    <a:pt x="433468" y="604361"/>
                    <a:pt x="423824" y="606612"/>
                  </a:cubicBezTo>
                  <a:cubicBezTo>
                    <a:pt x="201497" y="659332"/>
                    <a:pt x="46291" y="855557"/>
                    <a:pt x="46291" y="1083928"/>
                  </a:cubicBezTo>
                  <a:lnTo>
                    <a:pt x="46291" y="1566132"/>
                  </a:lnTo>
                  <a:lnTo>
                    <a:pt x="0" y="1566132"/>
                  </a:lnTo>
                  <a:lnTo>
                    <a:pt x="0" y="1083928"/>
                  </a:lnTo>
                  <a:cubicBezTo>
                    <a:pt x="0" y="852985"/>
                    <a:pt x="145111" y="652003"/>
                    <a:pt x="359081" y="577358"/>
                  </a:cubicBezTo>
                  <a:cubicBezTo>
                    <a:pt x="273827" y="519043"/>
                    <a:pt x="221171" y="421703"/>
                    <a:pt x="221171" y="316325"/>
                  </a:cubicBezTo>
                  <a:cubicBezTo>
                    <a:pt x="221171" y="141896"/>
                    <a:pt x="363067" y="0"/>
                    <a:pt x="537496" y="0"/>
                  </a:cubicBezTo>
                  <a:cubicBezTo>
                    <a:pt x="711925" y="0"/>
                    <a:pt x="853821" y="141896"/>
                    <a:pt x="853821" y="316325"/>
                  </a:cubicBezTo>
                  <a:cubicBezTo>
                    <a:pt x="853821" y="343457"/>
                    <a:pt x="850478" y="370075"/>
                    <a:pt x="843727" y="395857"/>
                  </a:cubicBezTo>
                  <a:cubicBezTo>
                    <a:pt x="894583" y="382676"/>
                    <a:pt x="951933" y="382676"/>
                    <a:pt x="1002725" y="395857"/>
                  </a:cubicBezTo>
                  <a:cubicBezTo>
                    <a:pt x="996039" y="370075"/>
                    <a:pt x="992631" y="343457"/>
                    <a:pt x="992631" y="316325"/>
                  </a:cubicBezTo>
                  <a:cubicBezTo>
                    <a:pt x="992631" y="141896"/>
                    <a:pt x="1134592" y="0"/>
                    <a:pt x="1309021" y="0"/>
                  </a:cubicBezTo>
                  <a:cubicBezTo>
                    <a:pt x="1483450" y="0"/>
                    <a:pt x="1625410" y="141896"/>
                    <a:pt x="1625410" y="316325"/>
                  </a:cubicBezTo>
                  <a:cubicBezTo>
                    <a:pt x="1625410" y="421767"/>
                    <a:pt x="1572689" y="519108"/>
                    <a:pt x="1487436" y="577422"/>
                  </a:cubicBezTo>
                  <a:cubicBezTo>
                    <a:pt x="1701470" y="652067"/>
                    <a:pt x="1846581" y="853050"/>
                    <a:pt x="1846581" y="1083993"/>
                  </a:cubicBezTo>
                  <a:lnTo>
                    <a:pt x="1846581" y="1566132"/>
                  </a:lnTo>
                  <a:lnTo>
                    <a:pt x="1800225" y="1566132"/>
                  </a:lnTo>
                  <a:lnTo>
                    <a:pt x="1800225" y="1083928"/>
                  </a:lnTo>
                  <a:cubicBezTo>
                    <a:pt x="1800225" y="855557"/>
                    <a:pt x="1645020" y="659332"/>
                    <a:pt x="1422692" y="606612"/>
                  </a:cubicBezTo>
                  <a:cubicBezTo>
                    <a:pt x="1413048" y="604297"/>
                    <a:pt x="1405911" y="596132"/>
                    <a:pt x="1405011" y="586295"/>
                  </a:cubicBezTo>
                  <a:cubicBezTo>
                    <a:pt x="1404047" y="576393"/>
                    <a:pt x="1409576" y="567007"/>
                    <a:pt x="1418642" y="562956"/>
                  </a:cubicBezTo>
                  <a:cubicBezTo>
                    <a:pt x="1516111" y="519558"/>
                    <a:pt x="1579055" y="422731"/>
                    <a:pt x="1579055" y="316325"/>
                  </a:cubicBezTo>
                  <a:cubicBezTo>
                    <a:pt x="1579055" y="167421"/>
                    <a:pt x="1457925" y="46227"/>
                    <a:pt x="1309021" y="46227"/>
                  </a:cubicBezTo>
                  <a:cubicBezTo>
                    <a:pt x="1160116" y="46227"/>
                    <a:pt x="1038987" y="167357"/>
                    <a:pt x="1038987" y="316325"/>
                  </a:cubicBezTo>
                  <a:cubicBezTo>
                    <a:pt x="1038987" y="350787"/>
                    <a:pt x="1045352" y="384219"/>
                    <a:pt x="1057954" y="415852"/>
                  </a:cubicBezTo>
                  <a:cubicBezTo>
                    <a:pt x="1165260" y="466580"/>
                    <a:pt x="1239648" y="575815"/>
                    <a:pt x="1239648" y="702088"/>
                  </a:cubicBezTo>
                  <a:cubicBezTo>
                    <a:pt x="1239648" y="807530"/>
                    <a:pt x="1186927" y="904870"/>
                    <a:pt x="1101673" y="963185"/>
                  </a:cubicBezTo>
                  <a:cubicBezTo>
                    <a:pt x="1315707" y="1037830"/>
                    <a:pt x="1460818" y="1238812"/>
                    <a:pt x="1460818" y="1469755"/>
                  </a:cubicBezTo>
                  <a:lnTo>
                    <a:pt x="1460754" y="1951894"/>
                  </a:lnTo>
                  <a:lnTo>
                    <a:pt x="1460754" y="1951894"/>
                  </a:lnTo>
                  <a:close/>
                </a:path>
              </a:pathLst>
            </a:custGeom>
            <a:solidFill>
              <a:srgbClr val="0F62FE"/>
            </a:solidFill>
            <a:ln w="64294" cap="flat">
              <a:noFill/>
              <a:prstDash val="solid"/>
              <a:miter/>
            </a:ln>
          </p:spPr>
          <p:txBody>
            <a:bodyPr rtlCol="0" anchor="ctr"/>
            <a:lstStyle/>
            <a:p>
              <a:pPr defTabSz="1829196">
                <a:defRPr/>
              </a:pPr>
              <a:endParaRPr lang="en-US">
                <a:solidFill>
                  <a:srgbClr val="000000"/>
                </a:solidFill>
                <a:latin typeface="IBM Plex Sans Light"/>
                <a:sym typeface="Helvetica Neue"/>
              </a:endParaRPr>
            </a:p>
          </p:txBody>
        </p:sp>
      </p:grpSp>
      <p:sp>
        <p:nvSpPr>
          <p:cNvPr id="76" name="Text Placeholder 1">
            <a:extLst>
              <a:ext uri="{FF2B5EF4-FFF2-40B4-BE49-F238E27FC236}">
                <a16:creationId xmlns:a16="http://schemas.microsoft.com/office/drawing/2014/main" id="{6A1A8336-16E8-2617-2644-76D6D6847E2D}"/>
              </a:ext>
            </a:extLst>
          </p:cNvPr>
          <p:cNvSpPr txBox="1">
            <a:spLocks/>
          </p:cNvSpPr>
          <p:nvPr/>
        </p:nvSpPr>
        <p:spPr>
          <a:xfrm>
            <a:off x="13221284" y="3674131"/>
            <a:ext cx="2367988" cy="8341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2438156">
              <a:spcBef>
                <a:spcPts val="1200"/>
              </a:spcBef>
              <a:defRPr/>
            </a:pPr>
            <a:r>
              <a:rPr lang="en-US" sz="2400" i="1" kern="0" dirty="0">
                <a:solidFill>
                  <a:srgbClr val="000000"/>
                </a:solidFill>
                <a:latin typeface="IBM Plex Sans" panose="020B0503050203000203" pitchFamily="34" charset="0"/>
              </a:rPr>
              <a:t>Skills</a:t>
            </a:r>
            <a:endParaRPr lang="en-US" sz="2400" dirty="0">
              <a:solidFill>
                <a:srgbClr val="000000"/>
              </a:solidFill>
              <a:latin typeface="IBM Plex Sans Light"/>
            </a:endParaRPr>
          </a:p>
        </p:txBody>
      </p:sp>
      <p:sp>
        <p:nvSpPr>
          <p:cNvPr id="142" name="Text Placeholder 1">
            <a:extLst>
              <a:ext uri="{FF2B5EF4-FFF2-40B4-BE49-F238E27FC236}">
                <a16:creationId xmlns:a16="http://schemas.microsoft.com/office/drawing/2014/main" id="{EF3D3D06-42C7-47E9-6818-6630A85FD774}"/>
              </a:ext>
            </a:extLst>
          </p:cNvPr>
          <p:cNvSpPr txBox="1">
            <a:spLocks/>
          </p:cNvSpPr>
          <p:nvPr/>
        </p:nvSpPr>
        <p:spPr>
          <a:xfrm>
            <a:off x="12583913" y="4379903"/>
            <a:ext cx="3642735" cy="11876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2438156">
              <a:lnSpc>
                <a:spcPts val="2400"/>
              </a:lnSpc>
              <a:spcBef>
                <a:spcPts val="1200"/>
              </a:spcBef>
              <a:defRPr/>
            </a:pPr>
            <a:r>
              <a:rPr lang="en-US" sz="1800" i="1" kern="0" dirty="0">
                <a:solidFill>
                  <a:srgbClr val="A8A8A8"/>
                </a:solidFill>
                <a:latin typeface="IBM Plex Sans Light" panose="020B0403050203000203" pitchFamily="34" charset="0"/>
              </a:rPr>
              <a:t>digital automations that wrapper integrations to applications, systems, workflows, or AI models</a:t>
            </a:r>
            <a:endParaRPr lang="en-US" sz="1800" i="1" dirty="0">
              <a:solidFill>
                <a:srgbClr val="A8A8A8"/>
              </a:solidFill>
              <a:latin typeface="IBM Plex Sans Light" panose="020B0403050203000203" pitchFamily="34" charset="0"/>
            </a:endParaRPr>
          </a:p>
        </p:txBody>
      </p:sp>
      <p:sp>
        <p:nvSpPr>
          <p:cNvPr id="9" name="Rectangle 8">
            <a:extLst>
              <a:ext uri="{FF2B5EF4-FFF2-40B4-BE49-F238E27FC236}">
                <a16:creationId xmlns:a16="http://schemas.microsoft.com/office/drawing/2014/main" id="{1E949EE5-1A79-63CD-3DCE-AB29C0793A2F}"/>
              </a:ext>
            </a:extLst>
          </p:cNvPr>
          <p:cNvSpPr/>
          <p:nvPr/>
        </p:nvSpPr>
        <p:spPr bwMode="auto">
          <a:xfrm>
            <a:off x="12119577" y="5533003"/>
            <a:ext cx="4571405" cy="5954198"/>
          </a:xfrm>
          <a:prstGeom prst="rect">
            <a:avLst/>
          </a:prstGeom>
          <a:solidFill>
            <a:srgbClr val="D9FBFB"/>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309" fontAlgn="base">
              <a:spcBef>
                <a:spcPct val="0"/>
              </a:spcBef>
              <a:spcAft>
                <a:spcPct val="0"/>
              </a:spcAft>
              <a:defRPr/>
            </a:pPr>
            <a:endParaRPr lang="en-US" sz="1400" dirty="0">
              <a:solidFill>
                <a:srgbClr val="FFFFFF"/>
              </a:solidFill>
              <a:latin typeface="IBM Plex Sans Light"/>
              <a:sym typeface="Helvetica Neue"/>
            </a:endParaRPr>
          </a:p>
        </p:txBody>
      </p:sp>
      <p:sp>
        <p:nvSpPr>
          <p:cNvPr id="10" name="Rectangle 9">
            <a:extLst>
              <a:ext uri="{FF2B5EF4-FFF2-40B4-BE49-F238E27FC236}">
                <a16:creationId xmlns:a16="http://schemas.microsoft.com/office/drawing/2014/main" id="{EA18B7F1-3289-8A94-4735-3F13956770F6}"/>
              </a:ext>
            </a:extLst>
          </p:cNvPr>
          <p:cNvSpPr/>
          <p:nvPr/>
        </p:nvSpPr>
        <p:spPr bwMode="auto">
          <a:xfrm>
            <a:off x="12576716" y="5990145"/>
            <a:ext cx="3657124" cy="914281"/>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algn="ctr" defTabSz="914309" fontAlgn="base">
              <a:spcBef>
                <a:spcPct val="0"/>
              </a:spcBef>
              <a:spcAft>
                <a:spcPct val="0"/>
              </a:spcAft>
              <a:defRPr/>
            </a:pPr>
            <a:r>
              <a:rPr lang="en-US" sz="2000" kern="0" dirty="0">
                <a:solidFill>
                  <a:srgbClr val="8D8D8D"/>
                </a:solidFill>
                <a:latin typeface="IBM Plex Sans" panose="020B0503050203000203" pitchFamily="34" charset="0"/>
                <a:sym typeface="Helvetica Neue"/>
              </a:rPr>
              <a:t>Guided skills</a:t>
            </a:r>
            <a:endParaRPr lang="en-US" sz="2000" dirty="0">
              <a:solidFill>
                <a:srgbClr val="8D8D8D"/>
              </a:solidFill>
              <a:latin typeface="IBM Plex Sans Light"/>
              <a:sym typeface="Helvetica Neue"/>
            </a:endParaRPr>
          </a:p>
        </p:txBody>
      </p:sp>
      <p:sp>
        <p:nvSpPr>
          <p:cNvPr id="15" name="Rectangle 14">
            <a:extLst>
              <a:ext uri="{FF2B5EF4-FFF2-40B4-BE49-F238E27FC236}">
                <a16:creationId xmlns:a16="http://schemas.microsoft.com/office/drawing/2014/main" id="{5EC31A60-A8F2-09C2-A90A-12BEFA0D8222}"/>
              </a:ext>
            </a:extLst>
          </p:cNvPr>
          <p:cNvSpPr/>
          <p:nvPr/>
        </p:nvSpPr>
        <p:spPr bwMode="auto">
          <a:xfrm>
            <a:off x="12576717" y="10745927"/>
            <a:ext cx="3657124" cy="914281"/>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algn="ctr" defTabSz="914309" fontAlgn="base">
              <a:spcBef>
                <a:spcPct val="0"/>
              </a:spcBef>
              <a:spcAft>
                <a:spcPct val="0"/>
              </a:spcAft>
              <a:defRPr/>
            </a:pPr>
            <a:r>
              <a:rPr lang="en-US" sz="2000" i="1" kern="0" dirty="0">
                <a:solidFill>
                  <a:srgbClr val="A8A8A8"/>
                </a:solidFill>
                <a:latin typeface="IBM Plex Sans" panose="020B0503050203000203" pitchFamily="34" charset="0"/>
                <a:sym typeface="Helvetica Neue"/>
              </a:rPr>
              <a:t>more skill types</a:t>
            </a:r>
            <a:endParaRPr lang="en-US" sz="2000" i="1" dirty="0">
              <a:solidFill>
                <a:srgbClr val="A8A8A8"/>
              </a:solidFill>
              <a:latin typeface="IBM Plex Sans" panose="020B0503050203000203" pitchFamily="34" charset="0"/>
              <a:sym typeface="Helvetica Neue"/>
            </a:endParaRPr>
          </a:p>
        </p:txBody>
      </p:sp>
      <p:sp>
        <p:nvSpPr>
          <p:cNvPr id="16" name="Rectangle 15">
            <a:extLst>
              <a:ext uri="{FF2B5EF4-FFF2-40B4-BE49-F238E27FC236}">
                <a16:creationId xmlns:a16="http://schemas.microsoft.com/office/drawing/2014/main" id="{75F8C6F8-5783-B90B-D747-BA6F24A0BB77}"/>
              </a:ext>
            </a:extLst>
          </p:cNvPr>
          <p:cNvSpPr/>
          <p:nvPr/>
        </p:nvSpPr>
        <p:spPr bwMode="auto">
          <a:xfrm>
            <a:off x="12576716" y="7178482"/>
            <a:ext cx="3657124" cy="914281"/>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algn="ctr" defTabSz="914309" fontAlgn="base">
              <a:spcBef>
                <a:spcPct val="0"/>
              </a:spcBef>
              <a:spcAft>
                <a:spcPct val="0"/>
              </a:spcAft>
              <a:defRPr/>
            </a:pPr>
            <a:r>
              <a:rPr lang="en-US" sz="2000" kern="0" dirty="0">
                <a:solidFill>
                  <a:srgbClr val="8D8D8D"/>
                </a:solidFill>
                <a:latin typeface="IBM Plex Sans" panose="020B0503050203000203" pitchFamily="34" charset="0"/>
                <a:sym typeface="Helvetica Neue"/>
              </a:rPr>
              <a:t>Informational skills</a:t>
            </a:r>
            <a:endParaRPr lang="en-US" sz="2000" dirty="0">
              <a:solidFill>
                <a:srgbClr val="8D8D8D"/>
              </a:solidFill>
              <a:latin typeface="IBM Plex Sans Light"/>
              <a:sym typeface="Helvetica Neue"/>
            </a:endParaRPr>
          </a:p>
        </p:txBody>
      </p:sp>
      <p:sp>
        <p:nvSpPr>
          <p:cNvPr id="17" name="Rectangle 16">
            <a:extLst>
              <a:ext uri="{FF2B5EF4-FFF2-40B4-BE49-F238E27FC236}">
                <a16:creationId xmlns:a16="http://schemas.microsoft.com/office/drawing/2014/main" id="{CB7E4E07-99AD-8F75-C6CB-92BA58CAD69A}"/>
              </a:ext>
            </a:extLst>
          </p:cNvPr>
          <p:cNvSpPr/>
          <p:nvPr/>
        </p:nvSpPr>
        <p:spPr bwMode="auto">
          <a:xfrm>
            <a:off x="12576716" y="8366820"/>
            <a:ext cx="3657124" cy="914281"/>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algn="ctr" defTabSz="914309" fontAlgn="base">
              <a:spcBef>
                <a:spcPct val="0"/>
              </a:spcBef>
              <a:spcAft>
                <a:spcPct val="0"/>
              </a:spcAft>
              <a:defRPr/>
            </a:pPr>
            <a:r>
              <a:rPr lang="en-US" sz="2000" kern="0" dirty="0">
                <a:solidFill>
                  <a:srgbClr val="8D8D8D"/>
                </a:solidFill>
                <a:latin typeface="IBM Plex Sans" panose="020B0503050203000203" pitchFamily="34" charset="0"/>
                <a:sym typeface="Helvetica Neue"/>
              </a:rPr>
              <a:t>Conversational skills</a:t>
            </a:r>
            <a:endParaRPr lang="en-US" sz="2000" dirty="0">
              <a:solidFill>
                <a:srgbClr val="8D8D8D"/>
              </a:solidFill>
              <a:latin typeface="IBM Plex Sans Light"/>
              <a:sym typeface="Helvetica Neue"/>
            </a:endParaRPr>
          </a:p>
        </p:txBody>
      </p:sp>
      <p:sp>
        <p:nvSpPr>
          <p:cNvPr id="42" name="Rectangle 41">
            <a:extLst>
              <a:ext uri="{FF2B5EF4-FFF2-40B4-BE49-F238E27FC236}">
                <a16:creationId xmlns:a16="http://schemas.microsoft.com/office/drawing/2014/main" id="{20BFA583-323F-A6C7-A8A9-C009D355060E}"/>
              </a:ext>
            </a:extLst>
          </p:cNvPr>
          <p:cNvSpPr/>
          <p:nvPr/>
        </p:nvSpPr>
        <p:spPr bwMode="auto">
          <a:xfrm>
            <a:off x="12076718" y="10872166"/>
            <a:ext cx="4734898" cy="1126745"/>
          </a:xfrm>
          <a:prstGeom prst="rect">
            <a:avLst/>
          </a:prstGeom>
          <a:gradFill>
            <a:gsLst>
              <a:gs pos="0">
                <a:schemeClr val="bg1">
                  <a:alpha val="0"/>
                </a:schemeClr>
              </a:gs>
              <a:gs pos="80000">
                <a:schemeClr val="bg1"/>
              </a:gs>
            </a:gsLst>
            <a:lin ang="5400000" scaled="1"/>
          </a:gra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algn="ctr" defTabSz="914309" fontAlgn="base">
              <a:spcBef>
                <a:spcPct val="0"/>
              </a:spcBef>
              <a:spcAft>
                <a:spcPct val="0"/>
              </a:spcAft>
              <a:defRPr/>
            </a:pPr>
            <a:endParaRPr lang="en-US" sz="2000" i="1" dirty="0">
              <a:solidFill>
                <a:srgbClr val="8D8D8D"/>
              </a:solidFill>
              <a:latin typeface="IBM Plex Sans" panose="020B0503050203000203" pitchFamily="34" charset="0"/>
              <a:sym typeface="Helvetica Neue"/>
            </a:endParaRPr>
          </a:p>
        </p:txBody>
      </p:sp>
      <p:grpSp>
        <p:nvGrpSpPr>
          <p:cNvPr id="119" name="Group 118">
            <a:extLst>
              <a:ext uri="{FF2B5EF4-FFF2-40B4-BE49-F238E27FC236}">
                <a16:creationId xmlns:a16="http://schemas.microsoft.com/office/drawing/2014/main" id="{CC7E596E-A4F4-CB17-09AF-315A6A34E950}"/>
              </a:ext>
            </a:extLst>
          </p:cNvPr>
          <p:cNvGrpSpPr/>
          <p:nvPr/>
        </p:nvGrpSpPr>
        <p:grpSpPr>
          <a:xfrm>
            <a:off x="3566667" y="5927384"/>
            <a:ext cx="2364654" cy="2742843"/>
            <a:chOff x="23491845" y="5963181"/>
            <a:chExt cx="2364962" cy="2743200"/>
          </a:xfrm>
        </p:grpSpPr>
        <p:grpSp>
          <p:nvGrpSpPr>
            <p:cNvPr id="120" name="Group 119">
              <a:extLst>
                <a:ext uri="{FF2B5EF4-FFF2-40B4-BE49-F238E27FC236}">
                  <a16:creationId xmlns:a16="http://schemas.microsoft.com/office/drawing/2014/main" id="{A9612757-691D-94C8-C7FC-58B23AB524AB}"/>
                </a:ext>
              </a:extLst>
            </p:cNvPr>
            <p:cNvGrpSpPr/>
            <p:nvPr/>
          </p:nvGrpSpPr>
          <p:grpSpPr>
            <a:xfrm>
              <a:off x="23491845" y="5963181"/>
              <a:ext cx="2364962" cy="2743200"/>
              <a:chOff x="23491845" y="5963181"/>
              <a:chExt cx="2364962" cy="2743200"/>
            </a:xfrm>
          </p:grpSpPr>
          <p:sp>
            <p:nvSpPr>
              <p:cNvPr id="122" name="Hexagon 121">
                <a:extLst>
                  <a:ext uri="{FF2B5EF4-FFF2-40B4-BE49-F238E27FC236}">
                    <a16:creationId xmlns:a16="http://schemas.microsoft.com/office/drawing/2014/main" id="{193FB4B4-C60B-E89A-815A-66C895FC1F9E}"/>
                  </a:ext>
                </a:extLst>
              </p:cNvPr>
              <p:cNvSpPr>
                <a:spLocks noChangeAspect="1"/>
              </p:cNvSpPr>
              <p:nvPr/>
            </p:nvSpPr>
            <p:spPr bwMode="auto">
              <a:xfrm rot="16200000">
                <a:off x="23302726" y="6152300"/>
                <a:ext cx="2743200" cy="2364962"/>
              </a:xfrm>
              <a:prstGeom prst="hexagon">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algn="ctr" defTabSz="914309" fontAlgn="base">
                  <a:spcBef>
                    <a:spcPct val="0"/>
                  </a:spcBef>
                  <a:spcAft>
                    <a:spcPct val="0"/>
                  </a:spcAft>
                  <a:defRPr/>
                </a:pPr>
                <a:endParaRPr lang="en-US" sz="2800" dirty="0">
                  <a:solidFill>
                    <a:srgbClr val="000000"/>
                  </a:solidFill>
                  <a:latin typeface="IBM Plex Sans Text" panose="020B0503050203000203" pitchFamily="34" charset="0"/>
                  <a:sym typeface="Helvetica Neue"/>
                </a:endParaRPr>
              </a:p>
            </p:txBody>
          </p:sp>
          <p:sp>
            <p:nvSpPr>
              <p:cNvPr id="123" name="Hexagon 122">
                <a:extLst>
                  <a:ext uri="{FF2B5EF4-FFF2-40B4-BE49-F238E27FC236}">
                    <a16:creationId xmlns:a16="http://schemas.microsoft.com/office/drawing/2014/main" id="{650DC131-7270-08C0-0E18-0E59A6B59352}"/>
                  </a:ext>
                </a:extLst>
              </p:cNvPr>
              <p:cNvSpPr>
                <a:spLocks noChangeAspect="1"/>
              </p:cNvSpPr>
              <p:nvPr/>
            </p:nvSpPr>
            <p:spPr bwMode="auto">
              <a:xfrm rot="16200000">
                <a:off x="23302726" y="6152300"/>
                <a:ext cx="2743200" cy="2364962"/>
              </a:xfrm>
              <a:prstGeom prst="hexagon">
                <a:avLst/>
              </a:prstGeom>
              <a:solidFill>
                <a:srgbClr val="A56EFF">
                  <a:alpha val="25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algn="ctr" defTabSz="914309" fontAlgn="base">
                  <a:spcBef>
                    <a:spcPct val="0"/>
                  </a:spcBef>
                  <a:spcAft>
                    <a:spcPct val="0"/>
                  </a:spcAft>
                  <a:defRPr/>
                </a:pPr>
                <a:endParaRPr lang="en-US" sz="2800" dirty="0">
                  <a:solidFill>
                    <a:srgbClr val="000000"/>
                  </a:solidFill>
                  <a:latin typeface="IBM Plex Sans Text" panose="020B0503050203000203" pitchFamily="34" charset="0"/>
                  <a:sym typeface="Helvetica Neue"/>
                </a:endParaRPr>
              </a:p>
            </p:txBody>
          </p:sp>
        </p:grpSp>
        <p:pic>
          <p:nvPicPr>
            <p:cNvPr id="121" name="Graphic 120">
              <a:extLst>
                <a:ext uri="{FF2B5EF4-FFF2-40B4-BE49-F238E27FC236}">
                  <a16:creationId xmlns:a16="http://schemas.microsoft.com/office/drawing/2014/main" id="{1F89B16D-E0C3-2A4D-04B0-350F64EFB10C}"/>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4075394" y="6735849"/>
              <a:ext cx="1197864" cy="1197864"/>
            </a:xfrm>
            <a:prstGeom prst="rect">
              <a:avLst/>
            </a:prstGeom>
          </p:spPr>
        </p:pic>
      </p:grpSp>
      <p:pic>
        <p:nvPicPr>
          <p:cNvPr id="92" name="Picture 8" descr="Software to crush business complexity | Pega">
            <a:extLst>
              <a:ext uri="{FF2B5EF4-FFF2-40B4-BE49-F238E27FC236}">
                <a16:creationId xmlns:a16="http://schemas.microsoft.com/office/drawing/2014/main" id="{CDC2F557-8AF8-F93C-5D4D-174F17AC5A71}"/>
              </a:ext>
            </a:extLst>
          </p:cNvPr>
          <p:cNvPicPr>
            <a:picLocks noChangeAspect="1" noChangeArrowheads="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633148" y="8904405"/>
            <a:ext cx="2368905" cy="537470"/>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92" descr="UiPath - Wikipedia">
            <a:extLst>
              <a:ext uri="{FF2B5EF4-FFF2-40B4-BE49-F238E27FC236}">
                <a16:creationId xmlns:a16="http://schemas.microsoft.com/office/drawing/2014/main" id="{CD0157ED-7958-B3EB-CE7F-A36770199D72}"/>
              </a:ext>
            </a:extLst>
          </p:cNvPr>
          <p:cNvPicPr>
            <a:picLocks noChangeAspect="1" noChangeArrowheads="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1700717" y="11583696"/>
            <a:ext cx="1784288" cy="657818"/>
          </a:xfrm>
          <a:prstGeom prst="rect">
            <a:avLst/>
          </a:prstGeom>
          <a:noFill/>
          <a:extLst>
            <a:ext uri="{909E8E84-426E-40DD-AFC4-6F175D3DCCD1}">
              <a14:hiddenFill xmlns:a14="http://schemas.microsoft.com/office/drawing/2010/main">
                <a:solidFill>
                  <a:srgbClr val="FFFFFF"/>
                </a:solidFill>
              </a14:hiddenFill>
            </a:ext>
          </a:extLst>
        </p:spPr>
      </p:pic>
      <p:pic>
        <p:nvPicPr>
          <p:cNvPr id="94" name="Graphic 93">
            <a:extLst>
              <a:ext uri="{FF2B5EF4-FFF2-40B4-BE49-F238E27FC236}">
                <a16:creationId xmlns:a16="http://schemas.microsoft.com/office/drawing/2014/main" id="{CDDD041E-3412-359B-6D5B-A8CAC8F996DE}"/>
              </a:ext>
            </a:extLst>
          </p:cNvPr>
          <p:cNvPicPr>
            <a:picLocks noChangeAspect="1"/>
          </p:cNvPicPr>
          <p:nvPr/>
        </p:nvPicPr>
        <p:blipFill>
          <a:blip r:embed="rId11">
            <a:duotone>
              <a:schemeClr val="bg2">
                <a:shade val="45000"/>
                <a:satMod val="135000"/>
              </a:schemeClr>
              <a:prstClr val="white"/>
            </a:duotone>
            <a:extLst>
              <a:ext uri="{96DAC541-7B7A-43D3-8B79-37D633B846F1}">
                <asvg:svgBlip xmlns:asvg="http://schemas.microsoft.com/office/drawing/2016/SVG/main" r:embed="rId12"/>
              </a:ext>
            </a:extLst>
          </a:blip>
          <a:stretch>
            <a:fillRect/>
          </a:stretch>
        </p:blipFill>
        <p:spPr>
          <a:xfrm>
            <a:off x="19249797" y="10956612"/>
            <a:ext cx="2315046" cy="1344369"/>
          </a:xfrm>
          <a:prstGeom prst="rect">
            <a:avLst/>
          </a:prstGeom>
        </p:spPr>
      </p:pic>
      <p:pic>
        <p:nvPicPr>
          <p:cNvPr id="95" name="Picture 2" descr="IBM Logo PNG Transparent &amp; SVG Vector - Freebie Supply">
            <a:extLst>
              <a:ext uri="{FF2B5EF4-FFF2-40B4-BE49-F238E27FC236}">
                <a16:creationId xmlns:a16="http://schemas.microsoft.com/office/drawing/2014/main" id="{EF24B09C-1A08-B15C-9BDF-DDD6325E217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8790587" y="10180027"/>
            <a:ext cx="1512591" cy="604366"/>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8" descr="Tonkean | Adobe Exchange">
            <a:extLst>
              <a:ext uri="{FF2B5EF4-FFF2-40B4-BE49-F238E27FC236}">
                <a16:creationId xmlns:a16="http://schemas.microsoft.com/office/drawing/2014/main" id="{30175E7D-F6E4-E4CB-A418-0B0D9BC93897}"/>
              </a:ext>
            </a:extLst>
          </p:cNvPr>
          <p:cNvPicPr>
            <a:picLocks noChangeAspect="1" noChangeArrowheads="1"/>
          </p:cNvPicPr>
          <p:nvPr/>
        </p:nvPicPr>
        <p:blipFill>
          <a:blip r:embed="rId14">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565617" y="9862925"/>
            <a:ext cx="2414228" cy="1358005"/>
          </a:xfrm>
          <a:prstGeom prst="rect">
            <a:avLst/>
          </a:prstGeom>
          <a:noFill/>
          <a:extLst>
            <a:ext uri="{909E8E84-426E-40DD-AFC4-6F175D3DCCD1}">
              <a14:hiddenFill xmlns:a14="http://schemas.microsoft.com/office/drawing/2010/main">
                <a:solidFill>
                  <a:srgbClr val="FFFFFF"/>
                </a:solidFill>
              </a14:hiddenFill>
            </a:ext>
          </a:extLst>
        </p:spPr>
      </p:pic>
      <p:sp>
        <p:nvSpPr>
          <p:cNvPr id="97" name="Arc 96">
            <a:extLst>
              <a:ext uri="{FF2B5EF4-FFF2-40B4-BE49-F238E27FC236}">
                <a16:creationId xmlns:a16="http://schemas.microsoft.com/office/drawing/2014/main" id="{87DE1899-789E-EF22-F1A4-1A73EE777397}"/>
              </a:ext>
            </a:extLst>
          </p:cNvPr>
          <p:cNvSpPr/>
          <p:nvPr/>
        </p:nvSpPr>
        <p:spPr bwMode="auto">
          <a:xfrm rot="2700000" flipV="1">
            <a:off x="14725860" y="3914916"/>
            <a:ext cx="6811791" cy="6811792"/>
          </a:xfrm>
          <a:prstGeom prst="arc">
            <a:avLst>
              <a:gd name="adj1" fmla="val 17504584"/>
              <a:gd name="adj2" fmla="val 19232537"/>
            </a:avLst>
          </a:prstGeom>
          <a:ln w="50800" cap="rnd">
            <a:gradFill>
              <a:gsLst>
                <a:gs pos="0">
                  <a:srgbClr val="3DDBD9"/>
                </a:gs>
                <a:gs pos="25000">
                  <a:schemeClr val="accent1"/>
                </a:gs>
              </a:gsLst>
              <a:lin ang="5400000" scaled="1"/>
            </a:gradFill>
            <a:prstDash val="sysDot"/>
            <a:headEnd type="none" w="med" len="med"/>
            <a:tailEnd type="arrow"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defTabSz="1829196">
              <a:defRPr/>
            </a:pPr>
            <a:endParaRPr lang="en-US">
              <a:solidFill>
                <a:srgbClr val="000000"/>
              </a:solidFill>
              <a:latin typeface="IBM Plex Sans Light"/>
              <a:sym typeface="Helvetica Neue"/>
            </a:endParaRPr>
          </a:p>
        </p:txBody>
      </p:sp>
      <p:pic>
        <p:nvPicPr>
          <p:cNvPr id="3" name="Graphic 2">
            <a:extLst>
              <a:ext uri="{FF2B5EF4-FFF2-40B4-BE49-F238E27FC236}">
                <a16:creationId xmlns:a16="http://schemas.microsoft.com/office/drawing/2014/main" id="{446BF2F9-1EDC-2BDC-D6CD-7E300E014BCD}"/>
              </a:ext>
            </a:extLst>
          </p:cNvPr>
          <p:cNvPicPr>
            <a:picLocks noChangeAspect="1"/>
          </p:cNvPicPr>
          <p:nvPr/>
        </p:nvPicPr>
        <p:blipFill>
          <a:blip r:embed="rId15">
            <a:duotone>
              <a:schemeClr val="bg2">
                <a:shade val="45000"/>
                <a:satMod val="135000"/>
              </a:schemeClr>
              <a:prstClr val="white"/>
            </a:duotone>
            <a:extLst>
              <a:ext uri="{96DAC541-7B7A-43D3-8B79-37D633B846F1}">
                <asvg:svgBlip xmlns:asvg="http://schemas.microsoft.com/office/drawing/2016/SVG/main" r:embed="rId16"/>
              </a:ext>
            </a:extLst>
          </a:blip>
          <a:stretch>
            <a:fillRect/>
          </a:stretch>
        </p:blipFill>
        <p:spPr>
          <a:xfrm>
            <a:off x="18885447" y="3871415"/>
            <a:ext cx="1680171" cy="453683"/>
          </a:xfrm>
          <a:prstGeom prst="rect">
            <a:avLst/>
          </a:prstGeom>
        </p:spPr>
      </p:pic>
      <p:pic>
        <p:nvPicPr>
          <p:cNvPr id="11" name="Picture 6" descr="Salesloft - Demandbase Tech Partner Directory">
            <a:extLst>
              <a:ext uri="{FF2B5EF4-FFF2-40B4-BE49-F238E27FC236}">
                <a16:creationId xmlns:a16="http://schemas.microsoft.com/office/drawing/2014/main" id="{C213EC3F-6136-AC4D-6D08-37426A07BBB4}"/>
              </a:ext>
            </a:extLst>
          </p:cNvPr>
          <p:cNvPicPr>
            <a:picLocks noChangeAspect="1" noChangeArrowheads="1"/>
          </p:cNvPicPr>
          <p:nvPr/>
        </p:nvPicPr>
        <p:blipFill>
          <a:blip r:embed="rId1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1904098" y="5824843"/>
            <a:ext cx="1629580" cy="81479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66D12C2B-3A0B-9C1C-4540-DD4DCA3727B1}"/>
              </a:ext>
            </a:extLst>
          </p:cNvPr>
          <p:cNvSpPr/>
          <p:nvPr/>
        </p:nvSpPr>
        <p:spPr bwMode="auto">
          <a:xfrm>
            <a:off x="12592614" y="9555158"/>
            <a:ext cx="3657124" cy="914281"/>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algn="ctr" defTabSz="914309" fontAlgn="base">
              <a:spcBef>
                <a:spcPct val="0"/>
              </a:spcBef>
              <a:spcAft>
                <a:spcPct val="0"/>
              </a:spcAft>
              <a:defRPr/>
            </a:pPr>
            <a:r>
              <a:rPr lang="en-US" sz="2000" kern="0" dirty="0">
                <a:solidFill>
                  <a:srgbClr val="8D8D8D"/>
                </a:solidFill>
                <a:latin typeface="IBM Plex Sans" panose="020B0503050203000203" pitchFamily="34" charset="0"/>
                <a:sym typeface="Helvetica Neue"/>
              </a:rPr>
              <a:t>Automated skills</a:t>
            </a:r>
            <a:endParaRPr lang="en-US" sz="2000" dirty="0">
              <a:solidFill>
                <a:srgbClr val="8D8D8D"/>
              </a:solidFill>
              <a:latin typeface="IBM Plex Sans Light"/>
              <a:sym typeface="Helvetica Neue"/>
            </a:endParaRPr>
          </a:p>
        </p:txBody>
      </p:sp>
      <p:pic>
        <p:nvPicPr>
          <p:cNvPr id="12" name="Picture 11">
            <a:extLst>
              <a:ext uri="{FF2B5EF4-FFF2-40B4-BE49-F238E27FC236}">
                <a16:creationId xmlns:a16="http://schemas.microsoft.com/office/drawing/2014/main" id="{15E91CE8-9343-CBDA-EF49-93E9DB813E54}"/>
              </a:ext>
            </a:extLst>
          </p:cNvPr>
          <p:cNvPicPr>
            <a:picLocks noChangeAspect="1"/>
          </p:cNvPicPr>
          <p:nvPr/>
        </p:nvPicPr>
        <p:blipFill rotWithShape="1">
          <a:blip r:embed="rId18"/>
          <a:srcRect t="-1" r="79497" b="-34089"/>
          <a:stretch/>
        </p:blipFill>
        <p:spPr>
          <a:xfrm>
            <a:off x="18753414" y="5035761"/>
            <a:ext cx="1245668" cy="954497"/>
          </a:xfrm>
          <a:prstGeom prst="rect">
            <a:avLst/>
          </a:prstGeom>
        </p:spPr>
      </p:pic>
      <p:pic>
        <p:nvPicPr>
          <p:cNvPr id="13" name="Picture 2">
            <a:extLst>
              <a:ext uri="{FF2B5EF4-FFF2-40B4-BE49-F238E27FC236}">
                <a16:creationId xmlns:a16="http://schemas.microsoft.com/office/drawing/2014/main" id="{43493ADD-DF59-5F62-E9B1-AACB0717ACE6}"/>
              </a:ext>
            </a:extLst>
          </p:cNvPr>
          <p:cNvPicPr>
            <a:picLocks noChangeAspect="1" noChangeArrowheads="1"/>
          </p:cNvPicPr>
          <p:nvPr/>
        </p:nvPicPr>
        <p:blipFill>
          <a:blip r:embed="rId19">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8507776" y="3472584"/>
            <a:ext cx="2209586" cy="85690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Servicenow Logo Vector (SVG, PDF, Ai, EPS, CDR) Free Download - Logowik.com">
            <a:extLst>
              <a:ext uri="{FF2B5EF4-FFF2-40B4-BE49-F238E27FC236}">
                <a16:creationId xmlns:a16="http://schemas.microsoft.com/office/drawing/2014/main" id="{119C0D61-2377-A520-C220-2AB209F05299}"/>
              </a:ext>
            </a:extLst>
          </p:cNvPr>
          <p:cNvPicPr>
            <a:picLocks noChangeAspect="1" noChangeArrowheads="1"/>
          </p:cNvPicPr>
          <p:nvPr/>
        </p:nvPicPr>
        <p:blipFill rotWithShape="1">
          <a:blip r:embed="rId5" cstate="screen">
            <a:duotone>
              <a:schemeClr val="bg2">
                <a:shade val="45000"/>
                <a:satMod val="135000"/>
              </a:schemeClr>
              <a:prstClr val="white"/>
            </a:duotone>
            <a:extLst>
              <a:ext uri="{28A0092B-C50C-407E-A947-70E740481C1C}">
                <a14:useLocalDpi xmlns:a14="http://schemas.microsoft.com/office/drawing/2010/main"/>
              </a:ext>
            </a:extLst>
          </a:blip>
          <a:srcRect t="39056" b="37438"/>
          <a:stretch/>
        </p:blipFill>
        <p:spPr bwMode="auto">
          <a:xfrm>
            <a:off x="20769534" y="3734899"/>
            <a:ext cx="3432199" cy="604287"/>
          </a:xfrm>
          <a:prstGeom prst="rect">
            <a:avLst/>
          </a:prstGeom>
          <a:noFill/>
          <a:extLst>
            <a:ext uri="{909E8E84-426E-40DD-AFC4-6F175D3DCCD1}">
              <a14:hiddenFill xmlns:a14="http://schemas.microsoft.com/office/drawing/2010/main">
                <a:solidFill>
                  <a:srgbClr val="FFFFFF"/>
                </a:solidFill>
              </a14:hiddenFill>
            </a:ext>
          </a:extLst>
        </p:spPr>
      </p:pic>
      <p:sp>
        <p:nvSpPr>
          <p:cNvPr id="7" name="Title 2">
            <a:extLst>
              <a:ext uri="{FF2B5EF4-FFF2-40B4-BE49-F238E27FC236}">
                <a16:creationId xmlns:a16="http://schemas.microsoft.com/office/drawing/2014/main" id="{14964B87-D494-14EF-B4F3-AE4E8D199631}"/>
              </a:ext>
            </a:extLst>
          </p:cNvPr>
          <p:cNvSpPr txBox="1">
            <a:spLocks/>
          </p:cNvSpPr>
          <p:nvPr/>
        </p:nvSpPr>
        <p:spPr>
          <a:xfrm>
            <a:off x="576071" y="385200"/>
            <a:ext cx="22908934" cy="1527048"/>
          </a:xfrm>
          <a:prstGeom prst="rect">
            <a:avLst/>
          </a:prstGeom>
        </p:spPr>
        <p:txBody>
          <a:bodyPr/>
          <a:lstStyle>
            <a:lvl1pPr algn="l" rtl="0" eaLnBrk="1" fontAlgn="base" hangingPunct="1">
              <a:lnSpc>
                <a:spcPct val="90000"/>
              </a:lnSpc>
              <a:spcBef>
                <a:spcPct val="0"/>
              </a:spcBef>
              <a:spcAft>
                <a:spcPct val="0"/>
              </a:spcAft>
              <a:defRPr sz="639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17">
                <a:solidFill>
                  <a:srgbClr val="191919"/>
                </a:solidFill>
                <a:latin typeface="IBM Plex Sans Light" pitchFamily="34" charset="0"/>
              </a:defRPr>
            </a:lvl2pPr>
            <a:lvl3pPr algn="l" rtl="0" eaLnBrk="1" fontAlgn="base" hangingPunct="1">
              <a:lnSpc>
                <a:spcPct val="90000"/>
              </a:lnSpc>
              <a:spcBef>
                <a:spcPct val="0"/>
              </a:spcBef>
              <a:spcAft>
                <a:spcPct val="0"/>
              </a:spcAft>
              <a:defRPr sz="5917">
                <a:solidFill>
                  <a:srgbClr val="191919"/>
                </a:solidFill>
                <a:latin typeface="IBM Plex Sans Light" pitchFamily="34" charset="0"/>
              </a:defRPr>
            </a:lvl3pPr>
            <a:lvl4pPr algn="l" rtl="0" eaLnBrk="1" fontAlgn="base" hangingPunct="1">
              <a:lnSpc>
                <a:spcPct val="90000"/>
              </a:lnSpc>
              <a:spcBef>
                <a:spcPct val="0"/>
              </a:spcBef>
              <a:spcAft>
                <a:spcPct val="0"/>
              </a:spcAft>
              <a:defRPr sz="5917">
                <a:solidFill>
                  <a:srgbClr val="191919"/>
                </a:solidFill>
                <a:latin typeface="IBM Plex Sans Light" pitchFamily="34" charset="0"/>
              </a:defRPr>
            </a:lvl4pPr>
            <a:lvl5pPr algn="l" rtl="0" eaLnBrk="1" fontAlgn="base" hangingPunct="1">
              <a:lnSpc>
                <a:spcPct val="90000"/>
              </a:lnSpc>
              <a:spcBef>
                <a:spcPct val="0"/>
              </a:spcBef>
              <a:spcAft>
                <a:spcPct val="0"/>
              </a:spcAft>
              <a:defRPr sz="5917">
                <a:solidFill>
                  <a:srgbClr val="191919"/>
                </a:solidFill>
                <a:latin typeface="IBM Plex Sans Light" pitchFamily="34" charset="0"/>
              </a:defRPr>
            </a:lvl5pPr>
            <a:lvl6pPr marL="966533" algn="l" rtl="0" eaLnBrk="1" fontAlgn="base" hangingPunct="1">
              <a:lnSpc>
                <a:spcPct val="90000"/>
              </a:lnSpc>
              <a:spcBef>
                <a:spcPct val="0"/>
              </a:spcBef>
              <a:spcAft>
                <a:spcPct val="0"/>
              </a:spcAft>
              <a:defRPr sz="5917">
                <a:solidFill>
                  <a:srgbClr val="191919"/>
                </a:solidFill>
                <a:latin typeface="IBM Plex Sans Light" pitchFamily="34" charset="0"/>
              </a:defRPr>
            </a:lvl6pPr>
            <a:lvl7pPr marL="1933077" algn="l" rtl="0" eaLnBrk="1" fontAlgn="base" hangingPunct="1">
              <a:lnSpc>
                <a:spcPct val="90000"/>
              </a:lnSpc>
              <a:spcBef>
                <a:spcPct val="0"/>
              </a:spcBef>
              <a:spcAft>
                <a:spcPct val="0"/>
              </a:spcAft>
              <a:defRPr sz="5917">
                <a:solidFill>
                  <a:srgbClr val="191919"/>
                </a:solidFill>
                <a:latin typeface="IBM Plex Sans Light" pitchFamily="34" charset="0"/>
              </a:defRPr>
            </a:lvl7pPr>
            <a:lvl8pPr marL="2899610" algn="l" rtl="0" eaLnBrk="1" fontAlgn="base" hangingPunct="1">
              <a:lnSpc>
                <a:spcPct val="90000"/>
              </a:lnSpc>
              <a:spcBef>
                <a:spcPct val="0"/>
              </a:spcBef>
              <a:spcAft>
                <a:spcPct val="0"/>
              </a:spcAft>
              <a:defRPr sz="5917">
                <a:solidFill>
                  <a:srgbClr val="191919"/>
                </a:solidFill>
                <a:latin typeface="IBM Plex Sans Light" pitchFamily="34" charset="0"/>
              </a:defRPr>
            </a:lvl8pPr>
            <a:lvl9pPr marL="3866145" algn="l" rtl="0" eaLnBrk="1" fontAlgn="base" hangingPunct="1">
              <a:lnSpc>
                <a:spcPct val="90000"/>
              </a:lnSpc>
              <a:spcBef>
                <a:spcPct val="0"/>
              </a:spcBef>
              <a:spcAft>
                <a:spcPct val="0"/>
              </a:spcAft>
              <a:defRPr sz="5917">
                <a:solidFill>
                  <a:srgbClr val="191919"/>
                </a:solidFill>
                <a:latin typeface="IBM Plex Sans Light" pitchFamily="34" charset="0"/>
              </a:defRPr>
            </a:lvl9pPr>
          </a:lstStyle>
          <a:p>
            <a:pPr defTabSz="2438154">
              <a:buClr>
                <a:srgbClr val="000000"/>
              </a:buClr>
              <a:defRPr/>
            </a:pPr>
            <a:r>
              <a:rPr lang="en-US" sz="6600" kern="0" dirty="0">
                <a:solidFill>
                  <a:srgbClr val="000000"/>
                </a:solidFill>
                <a:latin typeface="IBM Plex Sans Light"/>
                <a:cs typeface="Arial"/>
                <a:sym typeface="Arial"/>
              </a:rPr>
              <a:t>IBM's AI assistants use Foundation Models and Automation to </a:t>
            </a:r>
            <a:r>
              <a:rPr lang="en-US" sz="6600" i="1" kern="0" dirty="0">
                <a:solidFill>
                  <a:srgbClr val="0F62FE"/>
                </a:solidFill>
                <a:latin typeface="IBM Plex Sans Light"/>
                <a:cs typeface="Arial"/>
                <a:sym typeface="Arial"/>
              </a:rPr>
              <a:t>orchestrate</a:t>
            </a:r>
            <a:r>
              <a:rPr lang="en-US" sz="6600" kern="0" dirty="0">
                <a:solidFill>
                  <a:srgbClr val="000000"/>
                </a:solidFill>
                <a:latin typeface="IBM Plex Sans Light"/>
                <a:cs typeface="Arial"/>
                <a:sym typeface="Arial"/>
              </a:rPr>
              <a:t> skill execution and </a:t>
            </a:r>
            <a:r>
              <a:rPr lang="en-US" sz="6600" i="1" kern="0" dirty="0">
                <a:solidFill>
                  <a:srgbClr val="0F62FE"/>
                </a:solidFill>
                <a:latin typeface="IBM Plex Sans Light"/>
                <a:cs typeface="Arial"/>
                <a:sym typeface="Arial"/>
              </a:rPr>
              <a:t>reduce</a:t>
            </a:r>
            <a:r>
              <a:rPr lang="en-US" sz="6600" kern="0" dirty="0">
                <a:solidFill>
                  <a:srgbClr val="000000"/>
                </a:solidFill>
                <a:latin typeface="IBM Plex Sans Light"/>
                <a:cs typeface="Arial"/>
                <a:sym typeface="Arial"/>
              </a:rPr>
              <a:t> time and effort</a:t>
            </a:r>
            <a:endParaRPr lang="en-US" sz="6600" kern="0" dirty="0">
              <a:solidFill>
                <a:srgbClr val="0F62FE"/>
              </a:solidFill>
              <a:latin typeface="IBM Plex Sans Light"/>
              <a:cs typeface="Arial"/>
              <a:sym typeface="Arial"/>
            </a:endParaRPr>
          </a:p>
          <a:p>
            <a:pPr defTabSz="914400"/>
            <a:br>
              <a:rPr lang="en-US" kern="0" dirty="0">
                <a:latin typeface="+mn-lt"/>
                <a:cs typeface="Arial"/>
                <a:sym typeface="Arial"/>
              </a:rPr>
            </a:br>
            <a:endParaRPr lang="en-US" kern="0" dirty="0">
              <a:latin typeface="+mn-lt"/>
            </a:endParaRPr>
          </a:p>
        </p:txBody>
      </p:sp>
    </p:spTree>
    <p:extLst>
      <p:ext uri="{BB962C8B-B14F-4D97-AF65-F5344CB8AC3E}">
        <p14:creationId xmlns:p14="http://schemas.microsoft.com/office/powerpoint/2010/main" val="34812610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eform 37">
            <a:extLst>
              <a:ext uri="{FF2B5EF4-FFF2-40B4-BE49-F238E27FC236}">
                <a16:creationId xmlns:a16="http://schemas.microsoft.com/office/drawing/2014/main" id="{71FD3008-E4E6-191E-3B26-84BF6BFC346D}"/>
              </a:ext>
            </a:extLst>
          </p:cNvPr>
          <p:cNvSpPr/>
          <p:nvPr/>
        </p:nvSpPr>
        <p:spPr>
          <a:xfrm>
            <a:off x="1787904" y="4913982"/>
            <a:ext cx="304408" cy="304800"/>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grpSp>
        <p:nvGrpSpPr>
          <p:cNvPr id="65" name="Group 64">
            <a:extLst>
              <a:ext uri="{FF2B5EF4-FFF2-40B4-BE49-F238E27FC236}">
                <a16:creationId xmlns:a16="http://schemas.microsoft.com/office/drawing/2014/main" id="{695F1377-52E6-E7F4-EA96-1D37D2676AC4}"/>
              </a:ext>
            </a:extLst>
          </p:cNvPr>
          <p:cNvGrpSpPr>
            <a:grpSpLocks noChangeAspect="1"/>
          </p:cNvGrpSpPr>
          <p:nvPr/>
        </p:nvGrpSpPr>
        <p:grpSpPr>
          <a:xfrm>
            <a:off x="935705" y="5793454"/>
            <a:ext cx="1762520" cy="2044407"/>
            <a:chOff x="1196696" y="5927263"/>
            <a:chExt cx="2364962" cy="2743200"/>
          </a:xfrm>
        </p:grpSpPr>
        <p:sp>
          <p:nvSpPr>
            <p:cNvPr id="70" name="Hexagon 69">
              <a:extLst>
                <a:ext uri="{FF2B5EF4-FFF2-40B4-BE49-F238E27FC236}">
                  <a16:creationId xmlns:a16="http://schemas.microsoft.com/office/drawing/2014/main" id="{B5C064B5-7644-5853-CF8A-F38C4EB14AA4}"/>
                </a:ext>
              </a:extLst>
            </p:cNvPr>
            <p:cNvSpPr>
              <a:spLocks noChangeAspect="1"/>
            </p:cNvSpPr>
            <p:nvPr/>
          </p:nvSpPr>
          <p:spPr bwMode="auto">
            <a:xfrm rot="16200000">
              <a:off x="1007577" y="6116382"/>
              <a:ext cx="2743200" cy="2364962"/>
            </a:xfrm>
            <a:prstGeom prst="hexagon">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endParaRPr kumimoji="0" lang="en-US" sz="28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endParaRPr>
            </a:p>
          </p:txBody>
        </p:sp>
        <p:sp>
          <p:nvSpPr>
            <p:cNvPr id="83" name="Freeform 82">
              <a:extLst>
                <a:ext uri="{FF2B5EF4-FFF2-40B4-BE49-F238E27FC236}">
                  <a16:creationId xmlns:a16="http://schemas.microsoft.com/office/drawing/2014/main" id="{F2F6A1A3-D571-A064-6735-1DA8309172C0}"/>
                </a:ext>
              </a:extLst>
            </p:cNvPr>
            <p:cNvSpPr/>
            <p:nvPr/>
          </p:nvSpPr>
          <p:spPr>
            <a:xfrm>
              <a:off x="1810616" y="6697876"/>
              <a:ext cx="1137121" cy="1201974"/>
            </a:xfrm>
            <a:custGeom>
              <a:avLst/>
              <a:gdLst>
                <a:gd name="connsiteX0" fmla="*/ 1460754 w 1846580"/>
                <a:gd name="connsiteY0" fmla="*/ 1951894 h 1951893"/>
                <a:gd name="connsiteX1" fmla="*/ 1414463 w 1846580"/>
                <a:gd name="connsiteY1" fmla="*/ 1951894 h 1951893"/>
                <a:gd name="connsiteX2" fmla="*/ 1414463 w 1846580"/>
                <a:gd name="connsiteY2" fmla="*/ 1469691 h 1951893"/>
                <a:gd name="connsiteX3" fmla="*/ 1036930 w 1846580"/>
                <a:gd name="connsiteY3" fmla="*/ 992374 h 1951893"/>
                <a:gd name="connsiteX4" fmla="*/ 1019249 w 1846580"/>
                <a:gd name="connsiteY4" fmla="*/ 972057 h 1951893"/>
                <a:gd name="connsiteX5" fmla="*/ 1032879 w 1846580"/>
                <a:gd name="connsiteY5" fmla="*/ 948719 h 1951893"/>
                <a:gd name="connsiteX6" fmla="*/ 1193356 w 1846580"/>
                <a:gd name="connsiteY6" fmla="*/ 702088 h 1951893"/>
                <a:gd name="connsiteX7" fmla="*/ 923323 w 1846580"/>
                <a:gd name="connsiteY7" fmla="*/ 431990 h 1951893"/>
                <a:gd name="connsiteX8" fmla="*/ 653225 w 1846580"/>
                <a:gd name="connsiteY8" fmla="*/ 702088 h 1951893"/>
                <a:gd name="connsiteX9" fmla="*/ 813702 w 1846580"/>
                <a:gd name="connsiteY9" fmla="*/ 948719 h 1951893"/>
                <a:gd name="connsiteX10" fmla="*/ 827332 w 1846580"/>
                <a:gd name="connsiteY10" fmla="*/ 972057 h 1951893"/>
                <a:gd name="connsiteX11" fmla="*/ 809651 w 1846580"/>
                <a:gd name="connsiteY11" fmla="*/ 992374 h 1951893"/>
                <a:gd name="connsiteX12" fmla="*/ 432118 w 1846580"/>
                <a:gd name="connsiteY12" fmla="*/ 1469691 h 1951893"/>
                <a:gd name="connsiteX13" fmla="*/ 432118 w 1846580"/>
                <a:gd name="connsiteY13" fmla="*/ 1951894 h 1951893"/>
                <a:gd name="connsiteX14" fmla="*/ 385763 w 1846580"/>
                <a:gd name="connsiteY14" fmla="*/ 1951894 h 1951893"/>
                <a:gd name="connsiteX15" fmla="*/ 385763 w 1846580"/>
                <a:gd name="connsiteY15" fmla="*/ 1469691 h 1951893"/>
                <a:gd name="connsiteX16" fmla="*/ 744843 w 1846580"/>
                <a:gd name="connsiteY16" fmla="*/ 963120 h 1951893"/>
                <a:gd name="connsiteX17" fmla="*/ 606869 w 1846580"/>
                <a:gd name="connsiteY17" fmla="*/ 702024 h 1951893"/>
                <a:gd name="connsiteX18" fmla="*/ 788563 w 1846580"/>
                <a:gd name="connsiteY18" fmla="*/ 415788 h 1951893"/>
                <a:gd name="connsiteX19" fmla="*/ 807530 w 1846580"/>
                <a:gd name="connsiteY19" fmla="*/ 316325 h 1951893"/>
                <a:gd name="connsiteX20" fmla="*/ 537496 w 1846580"/>
                <a:gd name="connsiteY20" fmla="*/ 46227 h 1951893"/>
                <a:gd name="connsiteX21" fmla="*/ 267398 w 1846580"/>
                <a:gd name="connsiteY21" fmla="*/ 316325 h 1951893"/>
                <a:gd name="connsiteX22" fmla="*/ 427875 w 1846580"/>
                <a:gd name="connsiteY22" fmla="*/ 562956 h 1951893"/>
                <a:gd name="connsiteX23" fmla="*/ 441505 w 1846580"/>
                <a:gd name="connsiteY23" fmla="*/ 586295 h 1951893"/>
                <a:gd name="connsiteX24" fmla="*/ 423824 w 1846580"/>
                <a:gd name="connsiteY24" fmla="*/ 606612 h 1951893"/>
                <a:gd name="connsiteX25" fmla="*/ 46291 w 1846580"/>
                <a:gd name="connsiteY25" fmla="*/ 1083928 h 1951893"/>
                <a:gd name="connsiteX26" fmla="*/ 46291 w 1846580"/>
                <a:gd name="connsiteY26" fmla="*/ 1566132 h 1951893"/>
                <a:gd name="connsiteX27" fmla="*/ 0 w 1846580"/>
                <a:gd name="connsiteY27" fmla="*/ 1566132 h 1951893"/>
                <a:gd name="connsiteX28" fmla="*/ 0 w 1846580"/>
                <a:gd name="connsiteY28" fmla="*/ 1083928 h 1951893"/>
                <a:gd name="connsiteX29" fmla="*/ 359081 w 1846580"/>
                <a:gd name="connsiteY29" fmla="*/ 577358 h 1951893"/>
                <a:gd name="connsiteX30" fmla="*/ 221171 w 1846580"/>
                <a:gd name="connsiteY30" fmla="*/ 316325 h 1951893"/>
                <a:gd name="connsiteX31" fmla="*/ 537496 w 1846580"/>
                <a:gd name="connsiteY31" fmla="*/ 0 h 1951893"/>
                <a:gd name="connsiteX32" fmla="*/ 853821 w 1846580"/>
                <a:gd name="connsiteY32" fmla="*/ 316325 h 1951893"/>
                <a:gd name="connsiteX33" fmla="*/ 843727 w 1846580"/>
                <a:gd name="connsiteY33" fmla="*/ 395857 h 1951893"/>
                <a:gd name="connsiteX34" fmla="*/ 1002725 w 1846580"/>
                <a:gd name="connsiteY34" fmla="*/ 395857 h 1951893"/>
                <a:gd name="connsiteX35" fmla="*/ 992631 w 1846580"/>
                <a:gd name="connsiteY35" fmla="*/ 316325 h 1951893"/>
                <a:gd name="connsiteX36" fmla="*/ 1309021 w 1846580"/>
                <a:gd name="connsiteY36" fmla="*/ 0 h 1951893"/>
                <a:gd name="connsiteX37" fmla="*/ 1625410 w 1846580"/>
                <a:gd name="connsiteY37" fmla="*/ 316325 h 1951893"/>
                <a:gd name="connsiteX38" fmla="*/ 1487436 w 1846580"/>
                <a:gd name="connsiteY38" fmla="*/ 577422 h 1951893"/>
                <a:gd name="connsiteX39" fmla="*/ 1846581 w 1846580"/>
                <a:gd name="connsiteY39" fmla="*/ 1083993 h 1951893"/>
                <a:gd name="connsiteX40" fmla="*/ 1846581 w 1846580"/>
                <a:gd name="connsiteY40" fmla="*/ 1566132 h 1951893"/>
                <a:gd name="connsiteX41" fmla="*/ 1800225 w 1846580"/>
                <a:gd name="connsiteY41" fmla="*/ 1566132 h 1951893"/>
                <a:gd name="connsiteX42" fmla="*/ 1800225 w 1846580"/>
                <a:gd name="connsiteY42" fmla="*/ 1083928 h 1951893"/>
                <a:gd name="connsiteX43" fmla="*/ 1422692 w 1846580"/>
                <a:gd name="connsiteY43" fmla="*/ 606612 h 1951893"/>
                <a:gd name="connsiteX44" fmla="*/ 1405011 w 1846580"/>
                <a:gd name="connsiteY44" fmla="*/ 586295 h 1951893"/>
                <a:gd name="connsiteX45" fmla="*/ 1418642 w 1846580"/>
                <a:gd name="connsiteY45" fmla="*/ 562956 h 1951893"/>
                <a:gd name="connsiteX46" fmla="*/ 1579055 w 1846580"/>
                <a:gd name="connsiteY46" fmla="*/ 316325 h 1951893"/>
                <a:gd name="connsiteX47" fmla="*/ 1309021 w 1846580"/>
                <a:gd name="connsiteY47" fmla="*/ 46227 h 1951893"/>
                <a:gd name="connsiteX48" fmla="*/ 1038987 w 1846580"/>
                <a:gd name="connsiteY48" fmla="*/ 316325 h 1951893"/>
                <a:gd name="connsiteX49" fmla="*/ 1057954 w 1846580"/>
                <a:gd name="connsiteY49" fmla="*/ 415852 h 1951893"/>
                <a:gd name="connsiteX50" fmla="*/ 1239648 w 1846580"/>
                <a:gd name="connsiteY50" fmla="*/ 702088 h 1951893"/>
                <a:gd name="connsiteX51" fmla="*/ 1101673 w 1846580"/>
                <a:gd name="connsiteY51" fmla="*/ 963185 h 1951893"/>
                <a:gd name="connsiteX52" fmla="*/ 1460818 w 1846580"/>
                <a:gd name="connsiteY52" fmla="*/ 1469755 h 1951893"/>
                <a:gd name="connsiteX53" fmla="*/ 1460754 w 1846580"/>
                <a:gd name="connsiteY53" fmla="*/ 1951894 h 1951893"/>
                <a:gd name="connsiteX54" fmla="*/ 1460754 w 1846580"/>
                <a:gd name="connsiteY54" fmla="*/ 1951894 h 195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580" h="1951893">
                  <a:moveTo>
                    <a:pt x="1460754" y="1951894"/>
                  </a:moveTo>
                  <a:lnTo>
                    <a:pt x="1414463" y="1951894"/>
                  </a:lnTo>
                  <a:lnTo>
                    <a:pt x="1414463" y="1469691"/>
                  </a:lnTo>
                  <a:cubicBezTo>
                    <a:pt x="1414463" y="1241319"/>
                    <a:pt x="1259257" y="1045095"/>
                    <a:pt x="1036930" y="992374"/>
                  </a:cubicBezTo>
                  <a:cubicBezTo>
                    <a:pt x="1027286" y="990060"/>
                    <a:pt x="1020149" y="981894"/>
                    <a:pt x="1019249" y="972057"/>
                  </a:cubicBezTo>
                  <a:cubicBezTo>
                    <a:pt x="1018284" y="962156"/>
                    <a:pt x="1023814" y="952769"/>
                    <a:pt x="1032879" y="948719"/>
                  </a:cubicBezTo>
                  <a:cubicBezTo>
                    <a:pt x="1130413" y="905320"/>
                    <a:pt x="1193356" y="808494"/>
                    <a:pt x="1193356" y="702088"/>
                  </a:cubicBezTo>
                  <a:cubicBezTo>
                    <a:pt x="1193356" y="553183"/>
                    <a:pt x="1072227" y="431990"/>
                    <a:pt x="923323" y="431990"/>
                  </a:cubicBezTo>
                  <a:cubicBezTo>
                    <a:pt x="774418" y="431990"/>
                    <a:pt x="653225" y="553119"/>
                    <a:pt x="653225" y="702088"/>
                  </a:cubicBezTo>
                  <a:cubicBezTo>
                    <a:pt x="653225" y="808494"/>
                    <a:pt x="716232" y="905385"/>
                    <a:pt x="813702" y="948719"/>
                  </a:cubicBezTo>
                  <a:cubicBezTo>
                    <a:pt x="822767" y="952769"/>
                    <a:pt x="828296" y="962156"/>
                    <a:pt x="827332" y="972057"/>
                  </a:cubicBezTo>
                  <a:cubicBezTo>
                    <a:pt x="826432" y="981894"/>
                    <a:pt x="819295" y="990124"/>
                    <a:pt x="809651" y="992374"/>
                  </a:cubicBezTo>
                  <a:cubicBezTo>
                    <a:pt x="587323" y="1045095"/>
                    <a:pt x="432118" y="1241319"/>
                    <a:pt x="432118" y="1469691"/>
                  </a:cubicBezTo>
                  <a:lnTo>
                    <a:pt x="432118" y="1951894"/>
                  </a:lnTo>
                  <a:lnTo>
                    <a:pt x="385763" y="1951894"/>
                  </a:lnTo>
                  <a:lnTo>
                    <a:pt x="385763" y="1469691"/>
                  </a:lnTo>
                  <a:cubicBezTo>
                    <a:pt x="385763" y="1238748"/>
                    <a:pt x="530874" y="1037765"/>
                    <a:pt x="744843" y="963120"/>
                  </a:cubicBezTo>
                  <a:cubicBezTo>
                    <a:pt x="659590" y="904806"/>
                    <a:pt x="606869" y="807465"/>
                    <a:pt x="606869" y="702024"/>
                  </a:cubicBezTo>
                  <a:cubicBezTo>
                    <a:pt x="606869" y="575751"/>
                    <a:pt x="681257" y="466451"/>
                    <a:pt x="788563" y="415788"/>
                  </a:cubicBezTo>
                  <a:cubicBezTo>
                    <a:pt x="801164" y="384219"/>
                    <a:pt x="807530" y="350787"/>
                    <a:pt x="807530" y="316325"/>
                  </a:cubicBezTo>
                  <a:cubicBezTo>
                    <a:pt x="807530" y="167421"/>
                    <a:pt x="686400" y="46227"/>
                    <a:pt x="537496" y="46227"/>
                  </a:cubicBezTo>
                  <a:cubicBezTo>
                    <a:pt x="388591" y="46227"/>
                    <a:pt x="267398" y="167357"/>
                    <a:pt x="267398" y="316325"/>
                  </a:cubicBezTo>
                  <a:cubicBezTo>
                    <a:pt x="267398" y="422796"/>
                    <a:pt x="330406" y="519622"/>
                    <a:pt x="427875" y="562956"/>
                  </a:cubicBezTo>
                  <a:cubicBezTo>
                    <a:pt x="437005" y="567007"/>
                    <a:pt x="442405" y="576393"/>
                    <a:pt x="441505" y="586295"/>
                  </a:cubicBezTo>
                  <a:cubicBezTo>
                    <a:pt x="440605" y="596132"/>
                    <a:pt x="433468" y="604361"/>
                    <a:pt x="423824" y="606612"/>
                  </a:cubicBezTo>
                  <a:cubicBezTo>
                    <a:pt x="201497" y="659332"/>
                    <a:pt x="46291" y="855557"/>
                    <a:pt x="46291" y="1083928"/>
                  </a:cubicBezTo>
                  <a:lnTo>
                    <a:pt x="46291" y="1566132"/>
                  </a:lnTo>
                  <a:lnTo>
                    <a:pt x="0" y="1566132"/>
                  </a:lnTo>
                  <a:lnTo>
                    <a:pt x="0" y="1083928"/>
                  </a:lnTo>
                  <a:cubicBezTo>
                    <a:pt x="0" y="852985"/>
                    <a:pt x="145111" y="652003"/>
                    <a:pt x="359081" y="577358"/>
                  </a:cubicBezTo>
                  <a:cubicBezTo>
                    <a:pt x="273827" y="519043"/>
                    <a:pt x="221171" y="421703"/>
                    <a:pt x="221171" y="316325"/>
                  </a:cubicBezTo>
                  <a:cubicBezTo>
                    <a:pt x="221171" y="141896"/>
                    <a:pt x="363067" y="0"/>
                    <a:pt x="537496" y="0"/>
                  </a:cubicBezTo>
                  <a:cubicBezTo>
                    <a:pt x="711925" y="0"/>
                    <a:pt x="853821" y="141896"/>
                    <a:pt x="853821" y="316325"/>
                  </a:cubicBezTo>
                  <a:cubicBezTo>
                    <a:pt x="853821" y="343457"/>
                    <a:pt x="850478" y="370075"/>
                    <a:pt x="843727" y="395857"/>
                  </a:cubicBezTo>
                  <a:cubicBezTo>
                    <a:pt x="894583" y="382676"/>
                    <a:pt x="951933" y="382676"/>
                    <a:pt x="1002725" y="395857"/>
                  </a:cubicBezTo>
                  <a:cubicBezTo>
                    <a:pt x="996039" y="370075"/>
                    <a:pt x="992631" y="343457"/>
                    <a:pt x="992631" y="316325"/>
                  </a:cubicBezTo>
                  <a:cubicBezTo>
                    <a:pt x="992631" y="141896"/>
                    <a:pt x="1134592" y="0"/>
                    <a:pt x="1309021" y="0"/>
                  </a:cubicBezTo>
                  <a:cubicBezTo>
                    <a:pt x="1483450" y="0"/>
                    <a:pt x="1625410" y="141896"/>
                    <a:pt x="1625410" y="316325"/>
                  </a:cubicBezTo>
                  <a:cubicBezTo>
                    <a:pt x="1625410" y="421767"/>
                    <a:pt x="1572689" y="519108"/>
                    <a:pt x="1487436" y="577422"/>
                  </a:cubicBezTo>
                  <a:cubicBezTo>
                    <a:pt x="1701470" y="652067"/>
                    <a:pt x="1846581" y="853050"/>
                    <a:pt x="1846581" y="1083993"/>
                  </a:cubicBezTo>
                  <a:lnTo>
                    <a:pt x="1846581" y="1566132"/>
                  </a:lnTo>
                  <a:lnTo>
                    <a:pt x="1800225" y="1566132"/>
                  </a:lnTo>
                  <a:lnTo>
                    <a:pt x="1800225" y="1083928"/>
                  </a:lnTo>
                  <a:cubicBezTo>
                    <a:pt x="1800225" y="855557"/>
                    <a:pt x="1645020" y="659332"/>
                    <a:pt x="1422692" y="606612"/>
                  </a:cubicBezTo>
                  <a:cubicBezTo>
                    <a:pt x="1413048" y="604297"/>
                    <a:pt x="1405911" y="596132"/>
                    <a:pt x="1405011" y="586295"/>
                  </a:cubicBezTo>
                  <a:cubicBezTo>
                    <a:pt x="1404047" y="576393"/>
                    <a:pt x="1409576" y="567007"/>
                    <a:pt x="1418642" y="562956"/>
                  </a:cubicBezTo>
                  <a:cubicBezTo>
                    <a:pt x="1516111" y="519558"/>
                    <a:pt x="1579055" y="422731"/>
                    <a:pt x="1579055" y="316325"/>
                  </a:cubicBezTo>
                  <a:cubicBezTo>
                    <a:pt x="1579055" y="167421"/>
                    <a:pt x="1457925" y="46227"/>
                    <a:pt x="1309021" y="46227"/>
                  </a:cubicBezTo>
                  <a:cubicBezTo>
                    <a:pt x="1160116" y="46227"/>
                    <a:pt x="1038987" y="167357"/>
                    <a:pt x="1038987" y="316325"/>
                  </a:cubicBezTo>
                  <a:cubicBezTo>
                    <a:pt x="1038987" y="350787"/>
                    <a:pt x="1045352" y="384219"/>
                    <a:pt x="1057954" y="415852"/>
                  </a:cubicBezTo>
                  <a:cubicBezTo>
                    <a:pt x="1165260" y="466580"/>
                    <a:pt x="1239648" y="575815"/>
                    <a:pt x="1239648" y="702088"/>
                  </a:cubicBezTo>
                  <a:cubicBezTo>
                    <a:pt x="1239648" y="807530"/>
                    <a:pt x="1186927" y="904870"/>
                    <a:pt x="1101673" y="963185"/>
                  </a:cubicBezTo>
                  <a:cubicBezTo>
                    <a:pt x="1315707" y="1037830"/>
                    <a:pt x="1460818" y="1238812"/>
                    <a:pt x="1460818" y="1469755"/>
                  </a:cubicBezTo>
                  <a:lnTo>
                    <a:pt x="1460754" y="1951894"/>
                  </a:lnTo>
                  <a:lnTo>
                    <a:pt x="1460754" y="1951894"/>
                  </a:lnTo>
                  <a:close/>
                </a:path>
              </a:pathLst>
            </a:custGeom>
            <a:solidFill>
              <a:srgbClr val="0F62FE"/>
            </a:solidFill>
            <a:ln w="64294"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grpSp>
      <p:sp>
        <p:nvSpPr>
          <p:cNvPr id="68" name="TextBox 67">
            <a:extLst>
              <a:ext uri="{FF2B5EF4-FFF2-40B4-BE49-F238E27FC236}">
                <a16:creationId xmlns:a16="http://schemas.microsoft.com/office/drawing/2014/main" id="{72596643-C8A8-BCEE-2A49-78602B196E36}"/>
              </a:ext>
            </a:extLst>
          </p:cNvPr>
          <p:cNvSpPr txBox="1"/>
          <p:nvPr/>
        </p:nvSpPr>
        <p:spPr>
          <a:xfrm>
            <a:off x="890405" y="7962851"/>
            <a:ext cx="1988579" cy="52322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a:spAutoFit/>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Employees</a:t>
            </a:r>
            <a:endParaRPr kumimoji="0" lang="en-US" sz="2800" b="0" i="0" u="none" strike="noStrike" kern="1200" cap="none" spc="0" normalizeH="0" baseline="0" noProof="0" dirty="0">
              <a:ln>
                <a:noFill/>
              </a:ln>
              <a:solidFill>
                <a:srgbClr val="000000"/>
              </a:solidFill>
              <a:effectLst/>
              <a:uLnTx/>
              <a:uFillTx/>
              <a:latin typeface="IBM Plex Sans Light"/>
              <a:ea typeface="+mn-ea"/>
              <a:cs typeface="+mn-cs"/>
            </a:endParaRPr>
          </a:p>
        </p:txBody>
      </p:sp>
      <p:grpSp>
        <p:nvGrpSpPr>
          <p:cNvPr id="85" name="Group 84">
            <a:extLst>
              <a:ext uri="{FF2B5EF4-FFF2-40B4-BE49-F238E27FC236}">
                <a16:creationId xmlns:a16="http://schemas.microsoft.com/office/drawing/2014/main" id="{163BDC02-2B57-536D-15DB-62DD4E6F90F2}"/>
              </a:ext>
            </a:extLst>
          </p:cNvPr>
          <p:cNvGrpSpPr>
            <a:grpSpLocks noChangeAspect="1"/>
          </p:cNvGrpSpPr>
          <p:nvPr/>
        </p:nvGrpSpPr>
        <p:grpSpPr>
          <a:xfrm>
            <a:off x="890405" y="8866981"/>
            <a:ext cx="1762521" cy="2044408"/>
            <a:chOff x="1418934" y="7256997"/>
            <a:chExt cx="1379561" cy="1600200"/>
          </a:xfrm>
        </p:grpSpPr>
        <p:sp>
          <p:nvSpPr>
            <p:cNvPr id="87" name="Hexagon 86">
              <a:extLst>
                <a:ext uri="{FF2B5EF4-FFF2-40B4-BE49-F238E27FC236}">
                  <a16:creationId xmlns:a16="http://schemas.microsoft.com/office/drawing/2014/main" id="{2116A88A-43E0-3CD3-C2E0-4284E436FB4C}"/>
                </a:ext>
              </a:extLst>
            </p:cNvPr>
            <p:cNvSpPr>
              <a:spLocks noChangeAspect="1"/>
            </p:cNvSpPr>
            <p:nvPr/>
          </p:nvSpPr>
          <p:spPr bwMode="auto">
            <a:xfrm rot="16200000">
              <a:off x="1308615" y="7367316"/>
              <a:ext cx="1600200" cy="1379561"/>
            </a:xfrm>
            <a:prstGeom prst="hexagon">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endParaRPr kumimoji="0" lang="en-US" sz="28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endParaRPr>
            </a:p>
          </p:txBody>
        </p:sp>
        <p:pic>
          <p:nvPicPr>
            <p:cNvPr id="88" name="Graphic 87">
              <a:extLst>
                <a:ext uri="{FF2B5EF4-FFF2-40B4-BE49-F238E27FC236}">
                  <a16:creationId xmlns:a16="http://schemas.microsoft.com/office/drawing/2014/main" id="{C2E53C41-04FB-708B-4372-8DC9E906870C}"/>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759338" y="7707719"/>
              <a:ext cx="698754" cy="698754"/>
            </a:xfrm>
            <a:prstGeom prst="rect">
              <a:avLst/>
            </a:prstGeom>
          </p:spPr>
        </p:pic>
      </p:grpSp>
      <p:sp>
        <p:nvSpPr>
          <p:cNvPr id="86" name="TextBox 85">
            <a:extLst>
              <a:ext uri="{FF2B5EF4-FFF2-40B4-BE49-F238E27FC236}">
                <a16:creationId xmlns:a16="http://schemas.microsoft.com/office/drawing/2014/main" id="{E2BC62C5-EA07-29A3-DF47-CE84A5EC5C59}"/>
              </a:ext>
            </a:extLst>
          </p:cNvPr>
          <p:cNvSpPr txBox="1"/>
          <p:nvPr/>
        </p:nvSpPr>
        <p:spPr>
          <a:xfrm>
            <a:off x="1325304" y="11104809"/>
            <a:ext cx="1617760" cy="52322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a:spAutoFit/>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SMEs</a:t>
            </a:r>
            <a:endParaRPr kumimoji="0" lang="en-US" sz="28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39" name="TextBox 38">
            <a:extLst>
              <a:ext uri="{FF2B5EF4-FFF2-40B4-BE49-F238E27FC236}">
                <a16:creationId xmlns:a16="http://schemas.microsoft.com/office/drawing/2014/main" id="{FBB1754B-C17F-1EBF-30FE-17F8AC8ECE2F}"/>
              </a:ext>
            </a:extLst>
          </p:cNvPr>
          <p:cNvSpPr txBox="1"/>
          <p:nvPr/>
        </p:nvSpPr>
        <p:spPr>
          <a:xfrm>
            <a:off x="1059991" y="4668564"/>
            <a:ext cx="1988580" cy="52322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a:spAutoFit/>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Customers</a:t>
            </a:r>
            <a:endParaRPr kumimoji="0" lang="en-US" sz="2800" b="0" i="0" u="none" strike="noStrike" kern="1200" cap="none" spc="0" normalizeH="0" baseline="0" noProof="0" dirty="0">
              <a:ln>
                <a:noFill/>
              </a:ln>
              <a:solidFill>
                <a:srgbClr val="000000"/>
              </a:solidFill>
              <a:effectLst/>
              <a:uLnTx/>
              <a:uFillTx/>
              <a:latin typeface="IBM Plex Sans Light"/>
              <a:ea typeface="+mn-ea"/>
              <a:cs typeface="+mn-cs"/>
            </a:endParaRPr>
          </a:p>
        </p:txBody>
      </p:sp>
      <p:grpSp>
        <p:nvGrpSpPr>
          <p:cNvPr id="127" name="Group 126">
            <a:extLst>
              <a:ext uri="{FF2B5EF4-FFF2-40B4-BE49-F238E27FC236}">
                <a16:creationId xmlns:a16="http://schemas.microsoft.com/office/drawing/2014/main" id="{1A67F046-6B34-7629-9668-BE8C5778784E}"/>
              </a:ext>
            </a:extLst>
          </p:cNvPr>
          <p:cNvGrpSpPr>
            <a:grpSpLocks noChangeAspect="1"/>
          </p:cNvGrpSpPr>
          <p:nvPr/>
        </p:nvGrpSpPr>
        <p:grpSpPr>
          <a:xfrm>
            <a:off x="1012823" y="2719928"/>
            <a:ext cx="1762521" cy="2044407"/>
            <a:chOff x="23491845" y="5963181"/>
            <a:chExt cx="2364962" cy="2743200"/>
          </a:xfrm>
        </p:grpSpPr>
        <p:grpSp>
          <p:nvGrpSpPr>
            <p:cNvPr id="128" name="Group 127">
              <a:extLst>
                <a:ext uri="{FF2B5EF4-FFF2-40B4-BE49-F238E27FC236}">
                  <a16:creationId xmlns:a16="http://schemas.microsoft.com/office/drawing/2014/main" id="{E5228208-9840-DE87-CF11-CDDAD7130E98}"/>
                </a:ext>
              </a:extLst>
            </p:cNvPr>
            <p:cNvGrpSpPr/>
            <p:nvPr/>
          </p:nvGrpSpPr>
          <p:grpSpPr>
            <a:xfrm>
              <a:off x="23491845" y="5963181"/>
              <a:ext cx="2364962" cy="2743200"/>
              <a:chOff x="23491845" y="5963181"/>
              <a:chExt cx="2364962" cy="2743200"/>
            </a:xfrm>
          </p:grpSpPr>
          <p:sp>
            <p:nvSpPr>
              <p:cNvPr id="130" name="Hexagon 129">
                <a:extLst>
                  <a:ext uri="{FF2B5EF4-FFF2-40B4-BE49-F238E27FC236}">
                    <a16:creationId xmlns:a16="http://schemas.microsoft.com/office/drawing/2014/main" id="{AEB78EFD-CE1D-D9B2-9BC3-3A8A140ABC08}"/>
                  </a:ext>
                </a:extLst>
              </p:cNvPr>
              <p:cNvSpPr>
                <a:spLocks noChangeAspect="1"/>
              </p:cNvSpPr>
              <p:nvPr/>
            </p:nvSpPr>
            <p:spPr bwMode="auto">
              <a:xfrm rot="16200000">
                <a:off x="23302726" y="6152300"/>
                <a:ext cx="2743200" cy="2364962"/>
              </a:xfrm>
              <a:prstGeom prst="hexagon">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endParaRPr kumimoji="0" lang="en-US" sz="28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endParaRPr>
              </a:p>
            </p:txBody>
          </p:sp>
          <p:sp>
            <p:nvSpPr>
              <p:cNvPr id="131" name="Hexagon 130">
                <a:extLst>
                  <a:ext uri="{FF2B5EF4-FFF2-40B4-BE49-F238E27FC236}">
                    <a16:creationId xmlns:a16="http://schemas.microsoft.com/office/drawing/2014/main" id="{7563699D-085D-B848-88FA-561A7923B547}"/>
                  </a:ext>
                </a:extLst>
              </p:cNvPr>
              <p:cNvSpPr>
                <a:spLocks noChangeAspect="1"/>
              </p:cNvSpPr>
              <p:nvPr/>
            </p:nvSpPr>
            <p:spPr bwMode="auto">
              <a:xfrm rot="16200000">
                <a:off x="23302726" y="6152300"/>
                <a:ext cx="2743200" cy="2364962"/>
              </a:xfrm>
              <a:prstGeom prst="hexagon">
                <a:avLst/>
              </a:prstGeom>
              <a:solidFill>
                <a:srgbClr val="A56EFF">
                  <a:alpha val="25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endParaRPr kumimoji="0" lang="en-US" sz="28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endParaRPr>
              </a:p>
            </p:txBody>
          </p:sp>
        </p:grpSp>
        <p:pic>
          <p:nvPicPr>
            <p:cNvPr id="129" name="Graphic 128">
              <a:extLst>
                <a:ext uri="{FF2B5EF4-FFF2-40B4-BE49-F238E27FC236}">
                  <a16:creationId xmlns:a16="http://schemas.microsoft.com/office/drawing/2014/main" id="{8FAA0200-81D5-3205-99EB-EAC1BC8EA2CC}"/>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075394" y="6735849"/>
              <a:ext cx="1197864" cy="1197864"/>
            </a:xfrm>
            <a:prstGeom prst="rect">
              <a:avLst/>
            </a:prstGeom>
          </p:spPr>
        </p:pic>
      </p:grpSp>
      <p:sp>
        <p:nvSpPr>
          <p:cNvPr id="156" name="Freeform 155">
            <a:extLst>
              <a:ext uri="{FF2B5EF4-FFF2-40B4-BE49-F238E27FC236}">
                <a16:creationId xmlns:a16="http://schemas.microsoft.com/office/drawing/2014/main" id="{BDEC1202-E2B6-360B-1602-68EDF7BDF85B}"/>
              </a:ext>
            </a:extLst>
          </p:cNvPr>
          <p:cNvSpPr/>
          <p:nvPr/>
        </p:nvSpPr>
        <p:spPr>
          <a:xfrm>
            <a:off x="12425238" y="8016171"/>
            <a:ext cx="304408" cy="304800"/>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158" name="Freeform 157">
            <a:extLst>
              <a:ext uri="{FF2B5EF4-FFF2-40B4-BE49-F238E27FC236}">
                <a16:creationId xmlns:a16="http://schemas.microsoft.com/office/drawing/2014/main" id="{A7C96E63-EED2-6C7D-9C12-98ABDC55752B}"/>
              </a:ext>
            </a:extLst>
          </p:cNvPr>
          <p:cNvSpPr/>
          <p:nvPr/>
        </p:nvSpPr>
        <p:spPr>
          <a:xfrm rot="10800000">
            <a:off x="10370483" y="10242474"/>
            <a:ext cx="304408" cy="304800"/>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181" name="Freeform 180">
            <a:extLst>
              <a:ext uri="{FF2B5EF4-FFF2-40B4-BE49-F238E27FC236}">
                <a16:creationId xmlns:a16="http://schemas.microsoft.com/office/drawing/2014/main" id="{87D113A6-EEE8-6103-D634-5960C2E69070}"/>
              </a:ext>
            </a:extLst>
          </p:cNvPr>
          <p:cNvSpPr/>
          <p:nvPr/>
        </p:nvSpPr>
        <p:spPr>
          <a:xfrm>
            <a:off x="10370482" y="4298875"/>
            <a:ext cx="304408" cy="304800"/>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11" name="Rectangle 10">
            <a:extLst>
              <a:ext uri="{FF2B5EF4-FFF2-40B4-BE49-F238E27FC236}">
                <a16:creationId xmlns:a16="http://schemas.microsoft.com/office/drawing/2014/main" id="{CA616E9C-DAEE-68BE-EA3A-3375F2E093F4}"/>
              </a:ext>
            </a:extLst>
          </p:cNvPr>
          <p:cNvSpPr/>
          <p:nvPr/>
        </p:nvSpPr>
        <p:spPr bwMode="auto">
          <a:xfrm>
            <a:off x="4239244" y="2466772"/>
            <a:ext cx="11957386" cy="10779328"/>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6" name="Rectangle 5">
            <a:extLst>
              <a:ext uri="{FF2B5EF4-FFF2-40B4-BE49-F238E27FC236}">
                <a16:creationId xmlns:a16="http://schemas.microsoft.com/office/drawing/2014/main" id="{657A572A-C095-B1ED-0EE6-5DA1A962CD30}"/>
              </a:ext>
            </a:extLst>
          </p:cNvPr>
          <p:cNvSpPr/>
          <p:nvPr/>
        </p:nvSpPr>
        <p:spPr bwMode="auto">
          <a:xfrm>
            <a:off x="4770682" y="4368455"/>
            <a:ext cx="10894508" cy="5027888"/>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228600" rIns="228600" bIns="228600" numCol="1" rtlCol="0" anchor="t" anchorCtr="0" compatLnSpc="1">
            <a:prstTxWarp prst="textNoShape">
              <a:avLst/>
            </a:prstTxWarp>
          </a:bodyPr>
          <a:lstStyle/>
          <a:p>
            <a:pPr marR="0" lvl="0" algn="l" defTabSz="914400" rtl="0" eaLnBrk="1" fontAlgn="base" latinLnBrk="0" hangingPunct="1">
              <a:lnSpc>
                <a:spcPct val="100000"/>
              </a:lnSpc>
              <a:spcBef>
                <a:spcPct val="0"/>
              </a:spcBef>
              <a:spcAft>
                <a:spcPct val="0"/>
              </a:spcAft>
              <a:buClrTx/>
              <a:buSzTx/>
              <a:buFont typeface="IBM Plex Sans Light"/>
              <a:buNone/>
              <a:tabLst>
                <a:tab pos="560388" algn="l"/>
              </a:tabLst>
              <a:defRPr/>
            </a:pPr>
            <a:r>
              <a:rPr lang="en-US" sz="2000" dirty="0">
                <a:solidFill>
                  <a:srgbClr val="0F62FE"/>
                </a:solidFill>
                <a:latin typeface="IBM Plex Sans" panose="020B0503050203000203" pitchFamily="34" charset="0"/>
              </a:rPr>
              <a:t>	</a:t>
            </a:r>
            <a:r>
              <a:rPr kumimoji="0" lang="en-US" sz="3200" b="0"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rPr>
              <a:t>Invoke advanced skills</a:t>
            </a:r>
            <a:endParaRPr kumimoji="0" lang="en-US" sz="2000" b="0"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endParaRPr>
          </a:p>
        </p:txBody>
      </p:sp>
      <p:sp>
        <p:nvSpPr>
          <p:cNvPr id="46" name="Rectangle 45">
            <a:extLst>
              <a:ext uri="{FF2B5EF4-FFF2-40B4-BE49-F238E27FC236}">
                <a16:creationId xmlns:a16="http://schemas.microsoft.com/office/drawing/2014/main" id="{DE0F14D4-F2BA-D814-5195-3F31DF2D4B4B}"/>
              </a:ext>
            </a:extLst>
          </p:cNvPr>
          <p:cNvSpPr/>
          <p:nvPr/>
        </p:nvSpPr>
        <p:spPr bwMode="auto">
          <a:xfrm>
            <a:off x="5051083" y="5807131"/>
            <a:ext cx="10586345" cy="1714561"/>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3" rtlCol="0" anchor="t" anchorCtr="0" compatLnSpc="1">
            <a:prstTxWarp prst="textNoShape">
              <a:avLst/>
            </a:prstTxWarp>
            <a:noAutofit/>
          </a:bodyPr>
          <a:lstStyle/>
          <a:p>
            <a:pPr marR="0" lvl="0" algn="l" defTabSz="914400" rtl="0" eaLnBrk="1" fontAlgn="base" latinLnBrk="0" hangingPunct="1">
              <a:lnSpc>
                <a:spcPct val="150000"/>
              </a:lnSpc>
              <a:spcBef>
                <a:spcPct val="0"/>
              </a:spcBef>
              <a:spcAft>
                <a:spcPct val="0"/>
              </a:spcAft>
              <a:buClrTx/>
              <a:buSzTx/>
              <a:buFont typeface="IBM Plex Sans Light"/>
              <a:buNone/>
              <a:tabLst>
                <a:tab pos="398463" algn="l"/>
              </a:tabLst>
              <a:defRPr/>
            </a:pP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	Create job requisition</a:t>
            </a:r>
          </a:p>
          <a:p>
            <a:pPr marR="0" lvl="0" algn="l" defTabSz="914400" rtl="0" eaLnBrk="1" fontAlgn="base" latinLnBrk="0" hangingPunct="1">
              <a:lnSpc>
                <a:spcPct val="150000"/>
              </a:lnSpc>
              <a:spcBef>
                <a:spcPct val="0"/>
              </a:spcBef>
              <a:spcAft>
                <a:spcPct val="0"/>
              </a:spcAft>
              <a:buClrTx/>
              <a:buSzTx/>
              <a:buFont typeface="IBM Plex Sans Light"/>
              <a:buNone/>
              <a:tabLst>
                <a:tab pos="398463" algn="l"/>
              </a:tabLst>
              <a:defRPr/>
            </a:pP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a:t>
            </a:r>
            <a:r>
              <a:rPr lang="en-US" sz="2400" dirty="0">
                <a:solidFill>
                  <a:sysClr val="windowText" lastClr="000000"/>
                </a:solidFill>
                <a:latin typeface="IBM Plex Sans Light"/>
              </a:rPr>
              <a:t> </a:t>
            </a: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Schedule interview</a:t>
            </a:r>
          </a:p>
          <a:p>
            <a:pPr marR="0" lvl="0" algn="l" defTabSz="914400" rtl="0" eaLnBrk="1" fontAlgn="base" latinLnBrk="0" hangingPunct="1">
              <a:lnSpc>
                <a:spcPct val="150000"/>
              </a:lnSpc>
              <a:spcBef>
                <a:spcPct val="0"/>
              </a:spcBef>
              <a:spcAft>
                <a:spcPct val="0"/>
              </a:spcAft>
              <a:buClrTx/>
              <a:buSzTx/>
              <a:buFontTx/>
              <a:buNone/>
              <a:tabLst>
                <a:tab pos="398463" algn="l"/>
              </a:tabLst>
              <a:defRPr/>
            </a:pP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	Generate offer email</a:t>
            </a:r>
          </a:p>
        </p:txBody>
      </p:sp>
      <p:sp>
        <p:nvSpPr>
          <p:cNvPr id="47" name="Rectangle 46">
            <a:extLst>
              <a:ext uri="{FF2B5EF4-FFF2-40B4-BE49-F238E27FC236}">
                <a16:creationId xmlns:a16="http://schemas.microsoft.com/office/drawing/2014/main" id="{D956B775-8C7F-ED06-76E7-138DC778D568}"/>
              </a:ext>
            </a:extLst>
          </p:cNvPr>
          <p:cNvSpPr/>
          <p:nvPr/>
        </p:nvSpPr>
        <p:spPr bwMode="auto">
          <a:xfrm>
            <a:off x="11897479" y="5807131"/>
            <a:ext cx="3791728" cy="1714561"/>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noAutofit/>
          </a:bodyPr>
          <a:lstStyle/>
          <a:p>
            <a:pPr marR="0" lvl="0" algn="l" defTabSz="914400" rtl="0" eaLnBrk="1" fontAlgn="base" latinLnBrk="0" hangingPunct="1">
              <a:lnSpc>
                <a:spcPct val="150000"/>
              </a:lnSpc>
              <a:spcBef>
                <a:spcPct val="0"/>
              </a:spcBef>
              <a:spcAft>
                <a:spcPct val="0"/>
              </a:spcAft>
              <a:buClrTx/>
              <a:buSzTx/>
              <a:buFontTx/>
              <a:buNone/>
              <a:tabLst>
                <a:tab pos="338138" algn="l"/>
              </a:tabLst>
              <a:defRPr/>
            </a:pP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	Identify upsell accounts</a:t>
            </a:r>
          </a:p>
          <a:p>
            <a:pPr marR="0" lvl="0" algn="l" defTabSz="914400" rtl="0" eaLnBrk="1" fontAlgn="base" latinLnBrk="0" hangingPunct="1">
              <a:lnSpc>
                <a:spcPct val="150000"/>
              </a:lnSpc>
              <a:spcBef>
                <a:spcPct val="0"/>
              </a:spcBef>
              <a:spcAft>
                <a:spcPct val="0"/>
              </a:spcAft>
              <a:buClrTx/>
              <a:buSzTx/>
              <a:buFont typeface="IBM Plex Sans Light"/>
              <a:buNone/>
              <a:tabLst>
                <a:tab pos="338138" algn="l"/>
              </a:tabLst>
              <a:defRPr/>
            </a:pP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	Recommend new plans</a:t>
            </a:r>
          </a:p>
          <a:p>
            <a:pPr defTabSz="914400" fontAlgn="base">
              <a:lnSpc>
                <a:spcPct val="150000"/>
              </a:lnSpc>
              <a:spcBef>
                <a:spcPct val="0"/>
              </a:spcBef>
              <a:spcAft>
                <a:spcPct val="0"/>
              </a:spcAft>
              <a:tabLst>
                <a:tab pos="338138" algn="l"/>
              </a:tabLst>
              <a:defRPr/>
            </a:pP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	Generate </a:t>
            </a:r>
            <a:r>
              <a:rPr lang="en-US" sz="2400" dirty="0">
                <a:solidFill>
                  <a:sysClr val="windowText" lastClr="000000"/>
                </a:solidFill>
                <a:latin typeface="IBM Plex Sans Light"/>
              </a:rPr>
              <a:t>client </a:t>
            </a: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email</a:t>
            </a:r>
          </a:p>
          <a:p>
            <a:pPr marR="0" lvl="0" algn="l" defTabSz="914400" rtl="0" eaLnBrk="1" fontAlgn="base" latinLnBrk="0" hangingPunct="1">
              <a:lnSpc>
                <a:spcPct val="150000"/>
              </a:lnSpc>
              <a:spcBef>
                <a:spcPct val="0"/>
              </a:spcBef>
              <a:spcAft>
                <a:spcPct val="0"/>
              </a:spcAft>
              <a:buClrTx/>
              <a:buSzTx/>
              <a:buFont typeface="IBM Plex Sans Light"/>
              <a:buNone/>
              <a:tabLst>
                <a:tab pos="338138" algn="l"/>
              </a:tabLst>
              <a:defRPr/>
            </a:pPr>
            <a:endPar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endParaRPr>
          </a:p>
        </p:txBody>
      </p:sp>
      <p:grpSp>
        <p:nvGrpSpPr>
          <p:cNvPr id="59" name="Group 58">
            <a:extLst>
              <a:ext uri="{FF2B5EF4-FFF2-40B4-BE49-F238E27FC236}">
                <a16:creationId xmlns:a16="http://schemas.microsoft.com/office/drawing/2014/main" id="{70142162-6AAC-E735-2E02-634003483007}"/>
              </a:ext>
            </a:extLst>
          </p:cNvPr>
          <p:cNvGrpSpPr/>
          <p:nvPr/>
        </p:nvGrpSpPr>
        <p:grpSpPr>
          <a:xfrm>
            <a:off x="5017868" y="4660585"/>
            <a:ext cx="332150" cy="320813"/>
            <a:chOff x="2503659" y="7526430"/>
            <a:chExt cx="285750" cy="285750"/>
          </a:xfrm>
        </p:grpSpPr>
        <p:sp>
          <p:nvSpPr>
            <p:cNvPr id="41" name="Freeform 40">
              <a:extLst>
                <a:ext uri="{FF2B5EF4-FFF2-40B4-BE49-F238E27FC236}">
                  <a16:creationId xmlns:a16="http://schemas.microsoft.com/office/drawing/2014/main" id="{F58DA21E-F82D-14E4-5DAB-016E40F08E6E}"/>
                </a:ext>
              </a:extLst>
            </p:cNvPr>
            <p:cNvSpPr/>
            <p:nvPr/>
          </p:nvSpPr>
          <p:spPr>
            <a:xfrm>
              <a:off x="2680690" y="7555005"/>
              <a:ext cx="80143" cy="80143"/>
            </a:xfrm>
            <a:custGeom>
              <a:avLst/>
              <a:gdLst>
                <a:gd name="connsiteX0" fmla="*/ 22993 w 80143"/>
                <a:gd name="connsiteY0" fmla="*/ 0 h 80143"/>
                <a:gd name="connsiteX1" fmla="*/ 22993 w 80143"/>
                <a:gd name="connsiteY1" fmla="*/ 19050 h 80143"/>
                <a:gd name="connsiteX2" fmla="*/ 47625 w 80143"/>
                <a:gd name="connsiteY2" fmla="*/ 19050 h 80143"/>
                <a:gd name="connsiteX3" fmla="*/ 0 w 80143"/>
                <a:gd name="connsiteY3" fmla="*/ 66675 h 80143"/>
                <a:gd name="connsiteX4" fmla="*/ 13468 w 80143"/>
                <a:gd name="connsiteY4" fmla="*/ 80143 h 80143"/>
                <a:gd name="connsiteX5" fmla="*/ 61093 w 80143"/>
                <a:gd name="connsiteY5" fmla="*/ 32518 h 80143"/>
                <a:gd name="connsiteX6" fmla="*/ 61093 w 80143"/>
                <a:gd name="connsiteY6" fmla="*/ 57150 h 80143"/>
                <a:gd name="connsiteX7" fmla="*/ 80143 w 80143"/>
                <a:gd name="connsiteY7" fmla="*/ 57150 h 80143"/>
                <a:gd name="connsiteX8" fmla="*/ 80143 w 80143"/>
                <a:gd name="connsiteY8" fmla="*/ 0 h 80143"/>
                <a:gd name="connsiteX9" fmla="*/ 22993 w 80143"/>
                <a:gd name="connsiteY9" fmla="*/ 0 h 80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143" h="80143">
                  <a:moveTo>
                    <a:pt x="22993" y="0"/>
                  </a:moveTo>
                  <a:lnTo>
                    <a:pt x="22993" y="19050"/>
                  </a:lnTo>
                  <a:lnTo>
                    <a:pt x="47625" y="19050"/>
                  </a:lnTo>
                  <a:lnTo>
                    <a:pt x="0" y="66675"/>
                  </a:lnTo>
                  <a:lnTo>
                    <a:pt x="13468" y="80143"/>
                  </a:lnTo>
                  <a:lnTo>
                    <a:pt x="61093" y="32518"/>
                  </a:lnTo>
                  <a:lnTo>
                    <a:pt x="61093" y="57150"/>
                  </a:lnTo>
                  <a:lnTo>
                    <a:pt x="80143" y="57150"/>
                  </a:lnTo>
                  <a:lnTo>
                    <a:pt x="80143" y="0"/>
                  </a:lnTo>
                  <a:lnTo>
                    <a:pt x="22993" y="0"/>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43" name="Freeform 42">
              <a:extLst>
                <a:ext uri="{FF2B5EF4-FFF2-40B4-BE49-F238E27FC236}">
                  <a16:creationId xmlns:a16="http://schemas.microsoft.com/office/drawing/2014/main" id="{4CA0A938-D211-B4BF-A529-4F0FE80D0DED}"/>
                </a:ext>
              </a:extLst>
            </p:cNvPr>
            <p:cNvSpPr/>
            <p:nvPr/>
          </p:nvSpPr>
          <p:spPr>
            <a:xfrm>
              <a:off x="2532234" y="7555005"/>
              <a:ext cx="80143" cy="80143"/>
            </a:xfrm>
            <a:custGeom>
              <a:avLst/>
              <a:gdLst>
                <a:gd name="connsiteX0" fmla="*/ 57150 w 80143"/>
                <a:gd name="connsiteY0" fmla="*/ 0 h 80143"/>
                <a:gd name="connsiteX1" fmla="*/ 57150 w 80143"/>
                <a:gd name="connsiteY1" fmla="*/ 19050 h 80143"/>
                <a:gd name="connsiteX2" fmla="*/ 32518 w 80143"/>
                <a:gd name="connsiteY2" fmla="*/ 19050 h 80143"/>
                <a:gd name="connsiteX3" fmla="*/ 80143 w 80143"/>
                <a:gd name="connsiteY3" fmla="*/ 66675 h 80143"/>
                <a:gd name="connsiteX4" fmla="*/ 66675 w 80143"/>
                <a:gd name="connsiteY4" fmla="*/ 80143 h 80143"/>
                <a:gd name="connsiteX5" fmla="*/ 19050 w 80143"/>
                <a:gd name="connsiteY5" fmla="*/ 32518 h 80143"/>
                <a:gd name="connsiteX6" fmla="*/ 19050 w 80143"/>
                <a:gd name="connsiteY6" fmla="*/ 57150 h 80143"/>
                <a:gd name="connsiteX7" fmla="*/ 0 w 80143"/>
                <a:gd name="connsiteY7" fmla="*/ 57150 h 80143"/>
                <a:gd name="connsiteX8" fmla="*/ 0 w 80143"/>
                <a:gd name="connsiteY8" fmla="*/ 0 h 80143"/>
                <a:gd name="connsiteX9" fmla="*/ 57150 w 80143"/>
                <a:gd name="connsiteY9" fmla="*/ 0 h 80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143" h="80143">
                  <a:moveTo>
                    <a:pt x="57150" y="0"/>
                  </a:moveTo>
                  <a:lnTo>
                    <a:pt x="57150" y="19050"/>
                  </a:lnTo>
                  <a:lnTo>
                    <a:pt x="32518" y="19050"/>
                  </a:lnTo>
                  <a:lnTo>
                    <a:pt x="80143" y="66675"/>
                  </a:lnTo>
                  <a:lnTo>
                    <a:pt x="66675" y="80143"/>
                  </a:lnTo>
                  <a:lnTo>
                    <a:pt x="19050" y="32518"/>
                  </a:lnTo>
                  <a:lnTo>
                    <a:pt x="19050" y="57150"/>
                  </a:lnTo>
                  <a:lnTo>
                    <a:pt x="0" y="57150"/>
                  </a:lnTo>
                  <a:lnTo>
                    <a:pt x="0" y="0"/>
                  </a:lnTo>
                  <a:lnTo>
                    <a:pt x="57150" y="0"/>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44" name="Freeform 43">
              <a:extLst>
                <a:ext uri="{FF2B5EF4-FFF2-40B4-BE49-F238E27FC236}">
                  <a16:creationId xmlns:a16="http://schemas.microsoft.com/office/drawing/2014/main" id="{26695A46-745F-1ED1-982C-DC1BBEAB81E6}"/>
                </a:ext>
              </a:extLst>
            </p:cNvPr>
            <p:cNvSpPr/>
            <p:nvPr/>
          </p:nvSpPr>
          <p:spPr>
            <a:xfrm>
              <a:off x="2608434" y="7526430"/>
              <a:ext cx="76200" cy="95250"/>
            </a:xfrm>
            <a:custGeom>
              <a:avLst/>
              <a:gdLst>
                <a:gd name="connsiteX0" fmla="*/ 76200 w 76200"/>
                <a:gd name="connsiteY0" fmla="*/ 38100 h 95250"/>
                <a:gd name="connsiteX1" fmla="*/ 38100 w 76200"/>
                <a:gd name="connsiteY1" fmla="*/ 0 h 95250"/>
                <a:gd name="connsiteX2" fmla="*/ 0 w 76200"/>
                <a:gd name="connsiteY2" fmla="*/ 38100 h 95250"/>
                <a:gd name="connsiteX3" fmla="*/ 13468 w 76200"/>
                <a:gd name="connsiteY3" fmla="*/ 51568 h 95250"/>
                <a:gd name="connsiteX4" fmla="*/ 28575 w 76200"/>
                <a:gd name="connsiteY4" fmla="*/ 36471 h 95250"/>
                <a:gd name="connsiteX5" fmla="*/ 28575 w 76200"/>
                <a:gd name="connsiteY5" fmla="*/ 95250 h 95250"/>
                <a:gd name="connsiteX6" fmla="*/ 47625 w 76200"/>
                <a:gd name="connsiteY6" fmla="*/ 95250 h 95250"/>
                <a:gd name="connsiteX7" fmla="*/ 47625 w 76200"/>
                <a:gd name="connsiteY7" fmla="*/ 36471 h 95250"/>
                <a:gd name="connsiteX8" fmla="*/ 62732 w 76200"/>
                <a:gd name="connsiteY8" fmla="*/ 51568 h 95250"/>
                <a:gd name="connsiteX9" fmla="*/ 76200 w 76200"/>
                <a:gd name="connsiteY9" fmla="*/ 3810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95250">
                  <a:moveTo>
                    <a:pt x="76200" y="38100"/>
                  </a:moveTo>
                  <a:lnTo>
                    <a:pt x="38100" y="0"/>
                  </a:lnTo>
                  <a:lnTo>
                    <a:pt x="0" y="38100"/>
                  </a:lnTo>
                  <a:lnTo>
                    <a:pt x="13468" y="51568"/>
                  </a:lnTo>
                  <a:lnTo>
                    <a:pt x="28575" y="36471"/>
                  </a:lnTo>
                  <a:lnTo>
                    <a:pt x="28575" y="95250"/>
                  </a:lnTo>
                  <a:lnTo>
                    <a:pt x="47625" y="95250"/>
                  </a:lnTo>
                  <a:lnTo>
                    <a:pt x="47625" y="36471"/>
                  </a:lnTo>
                  <a:lnTo>
                    <a:pt x="62732" y="51568"/>
                  </a:lnTo>
                  <a:lnTo>
                    <a:pt x="76200" y="38100"/>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45" name="Freeform 44">
              <a:extLst>
                <a:ext uri="{FF2B5EF4-FFF2-40B4-BE49-F238E27FC236}">
                  <a16:creationId xmlns:a16="http://schemas.microsoft.com/office/drawing/2014/main" id="{5DA06B5D-3629-2137-CE9E-8FFAF45E94B9}"/>
                </a:ext>
              </a:extLst>
            </p:cNvPr>
            <p:cNvSpPr/>
            <p:nvPr/>
          </p:nvSpPr>
          <p:spPr>
            <a:xfrm>
              <a:off x="2680690" y="7703461"/>
              <a:ext cx="80143" cy="80143"/>
            </a:xfrm>
            <a:custGeom>
              <a:avLst/>
              <a:gdLst>
                <a:gd name="connsiteX0" fmla="*/ 22993 w 80143"/>
                <a:gd name="connsiteY0" fmla="*/ 80143 h 80143"/>
                <a:gd name="connsiteX1" fmla="*/ 22993 w 80143"/>
                <a:gd name="connsiteY1" fmla="*/ 61093 h 80143"/>
                <a:gd name="connsiteX2" fmla="*/ 47625 w 80143"/>
                <a:gd name="connsiteY2" fmla="*/ 61093 h 80143"/>
                <a:gd name="connsiteX3" fmla="*/ 0 w 80143"/>
                <a:gd name="connsiteY3" fmla="*/ 13468 h 80143"/>
                <a:gd name="connsiteX4" fmla="*/ 13468 w 80143"/>
                <a:gd name="connsiteY4" fmla="*/ 0 h 80143"/>
                <a:gd name="connsiteX5" fmla="*/ 61093 w 80143"/>
                <a:gd name="connsiteY5" fmla="*/ 47625 h 80143"/>
                <a:gd name="connsiteX6" fmla="*/ 61093 w 80143"/>
                <a:gd name="connsiteY6" fmla="*/ 22993 h 80143"/>
                <a:gd name="connsiteX7" fmla="*/ 80143 w 80143"/>
                <a:gd name="connsiteY7" fmla="*/ 22993 h 80143"/>
                <a:gd name="connsiteX8" fmla="*/ 80143 w 80143"/>
                <a:gd name="connsiteY8" fmla="*/ 80143 h 80143"/>
                <a:gd name="connsiteX9" fmla="*/ 22993 w 80143"/>
                <a:gd name="connsiteY9" fmla="*/ 80143 h 80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143" h="80143">
                  <a:moveTo>
                    <a:pt x="22993" y="80143"/>
                  </a:moveTo>
                  <a:lnTo>
                    <a:pt x="22993" y="61093"/>
                  </a:lnTo>
                  <a:lnTo>
                    <a:pt x="47625" y="61093"/>
                  </a:lnTo>
                  <a:lnTo>
                    <a:pt x="0" y="13468"/>
                  </a:lnTo>
                  <a:lnTo>
                    <a:pt x="13468" y="0"/>
                  </a:lnTo>
                  <a:lnTo>
                    <a:pt x="61093" y="47625"/>
                  </a:lnTo>
                  <a:lnTo>
                    <a:pt x="61093" y="22993"/>
                  </a:lnTo>
                  <a:lnTo>
                    <a:pt x="80143" y="22993"/>
                  </a:lnTo>
                  <a:lnTo>
                    <a:pt x="80143" y="80143"/>
                  </a:lnTo>
                  <a:lnTo>
                    <a:pt x="22993" y="80143"/>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49" name="Freeform 48">
              <a:extLst>
                <a:ext uri="{FF2B5EF4-FFF2-40B4-BE49-F238E27FC236}">
                  <a16:creationId xmlns:a16="http://schemas.microsoft.com/office/drawing/2014/main" id="{8ACD6333-95B2-7582-3DDF-DB31DB57B5E9}"/>
                </a:ext>
              </a:extLst>
            </p:cNvPr>
            <p:cNvSpPr/>
            <p:nvPr/>
          </p:nvSpPr>
          <p:spPr>
            <a:xfrm>
              <a:off x="2532234" y="7703461"/>
              <a:ext cx="80143" cy="80143"/>
            </a:xfrm>
            <a:custGeom>
              <a:avLst/>
              <a:gdLst>
                <a:gd name="connsiteX0" fmla="*/ 57150 w 80143"/>
                <a:gd name="connsiteY0" fmla="*/ 80143 h 80143"/>
                <a:gd name="connsiteX1" fmla="*/ 57150 w 80143"/>
                <a:gd name="connsiteY1" fmla="*/ 61093 h 80143"/>
                <a:gd name="connsiteX2" fmla="*/ 32518 w 80143"/>
                <a:gd name="connsiteY2" fmla="*/ 61093 h 80143"/>
                <a:gd name="connsiteX3" fmla="*/ 80143 w 80143"/>
                <a:gd name="connsiteY3" fmla="*/ 13468 h 80143"/>
                <a:gd name="connsiteX4" fmla="*/ 66675 w 80143"/>
                <a:gd name="connsiteY4" fmla="*/ 0 h 80143"/>
                <a:gd name="connsiteX5" fmla="*/ 19050 w 80143"/>
                <a:gd name="connsiteY5" fmla="*/ 47625 h 80143"/>
                <a:gd name="connsiteX6" fmla="*/ 19050 w 80143"/>
                <a:gd name="connsiteY6" fmla="*/ 22993 h 80143"/>
                <a:gd name="connsiteX7" fmla="*/ 0 w 80143"/>
                <a:gd name="connsiteY7" fmla="*/ 22993 h 80143"/>
                <a:gd name="connsiteX8" fmla="*/ 0 w 80143"/>
                <a:gd name="connsiteY8" fmla="*/ 80143 h 80143"/>
                <a:gd name="connsiteX9" fmla="*/ 57150 w 80143"/>
                <a:gd name="connsiteY9" fmla="*/ 80143 h 80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143" h="80143">
                  <a:moveTo>
                    <a:pt x="57150" y="80143"/>
                  </a:moveTo>
                  <a:lnTo>
                    <a:pt x="57150" y="61093"/>
                  </a:lnTo>
                  <a:lnTo>
                    <a:pt x="32518" y="61093"/>
                  </a:lnTo>
                  <a:lnTo>
                    <a:pt x="80143" y="13468"/>
                  </a:lnTo>
                  <a:lnTo>
                    <a:pt x="66675" y="0"/>
                  </a:lnTo>
                  <a:lnTo>
                    <a:pt x="19050" y="47625"/>
                  </a:lnTo>
                  <a:lnTo>
                    <a:pt x="19050" y="22993"/>
                  </a:lnTo>
                  <a:lnTo>
                    <a:pt x="0" y="22993"/>
                  </a:lnTo>
                  <a:lnTo>
                    <a:pt x="0" y="80143"/>
                  </a:lnTo>
                  <a:lnTo>
                    <a:pt x="57150" y="80143"/>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51" name="Freeform 50">
              <a:extLst>
                <a:ext uri="{FF2B5EF4-FFF2-40B4-BE49-F238E27FC236}">
                  <a16:creationId xmlns:a16="http://schemas.microsoft.com/office/drawing/2014/main" id="{3C8E880C-964D-F4AF-3151-973372DF79DC}"/>
                </a:ext>
              </a:extLst>
            </p:cNvPr>
            <p:cNvSpPr/>
            <p:nvPr/>
          </p:nvSpPr>
          <p:spPr>
            <a:xfrm>
              <a:off x="2608434" y="7716930"/>
              <a:ext cx="76200" cy="95250"/>
            </a:xfrm>
            <a:custGeom>
              <a:avLst/>
              <a:gdLst>
                <a:gd name="connsiteX0" fmla="*/ 76200 w 76200"/>
                <a:gd name="connsiteY0" fmla="*/ 57150 h 95250"/>
                <a:gd name="connsiteX1" fmla="*/ 38100 w 76200"/>
                <a:gd name="connsiteY1" fmla="*/ 95250 h 95250"/>
                <a:gd name="connsiteX2" fmla="*/ 0 w 76200"/>
                <a:gd name="connsiteY2" fmla="*/ 57150 h 95250"/>
                <a:gd name="connsiteX3" fmla="*/ 13468 w 76200"/>
                <a:gd name="connsiteY3" fmla="*/ 43682 h 95250"/>
                <a:gd name="connsiteX4" fmla="*/ 28575 w 76200"/>
                <a:gd name="connsiteY4" fmla="*/ 58779 h 95250"/>
                <a:gd name="connsiteX5" fmla="*/ 28575 w 76200"/>
                <a:gd name="connsiteY5" fmla="*/ 0 h 95250"/>
                <a:gd name="connsiteX6" fmla="*/ 47625 w 76200"/>
                <a:gd name="connsiteY6" fmla="*/ 0 h 95250"/>
                <a:gd name="connsiteX7" fmla="*/ 47625 w 76200"/>
                <a:gd name="connsiteY7" fmla="*/ 58779 h 95250"/>
                <a:gd name="connsiteX8" fmla="*/ 62732 w 76200"/>
                <a:gd name="connsiteY8" fmla="*/ 43682 h 95250"/>
                <a:gd name="connsiteX9" fmla="*/ 76200 w 76200"/>
                <a:gd name="connsiteY9" fmla="*/ 571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95250">
                  <a:moveTo>
                    <a:pt x="76200" y="57150"/>
                  </a:moveTo>
                  <a:lnTo>
                    <a:pt x="38100" y="95250"/>
                  </a:lnTo>
                  <a:lnTo>
                    <a:pt x="0" y="57150"/>
                  </a:lnTo>
                  <a:lnTo>
                    <a:pt x="13468" y="43682"/>
                  </a:lnTo>
                  <a:lnTo>
                    <a:pt x="28575" y="58779"/>
                  </a:lnTo>
                  <a:lnTo>
                    <a:pt x="28575" y="0"/>
                  </a:lnTo>
                  <a:lnTo>
                    <a:pt x="47625" y="0"/>
                  </a:lnTo>
                  <a:lnTo>
                    <a:pt x="47625" y="58779"/>
                  </a:lnTo>
                  <a:lnTo>
                    <a:pt x="62732" y="43682"/>
                  </a:lnTo>
                  <a:lnTo>
                    <a:pt x="76200" y="57150"/>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53" name="Freeform 52">
              <a:extLst>
                <a:ext uri="{FF2B5EF4-FFF2-40B4-BE49-F238E27FC236}">
                  <a16:creationId xmlns:a16="http://schemas.microsoft.com/office/drawing/2014/main" id="{E82FF75C-F027-22A5-E402-AE3BADFAFFAC}"/>
                </a:ext>
              </a:extLst>
            </p:cNvPr>
            <p:cNvSpPr/>
            <p:nvPr/>
          </p:nvSpPr>
          <p:spPr>
            <a:xfrm>
              <a:off x="2503659" y="7631205"/>
              <a:ext cx="95250" cy="76200"/>
            </a:xfrm>
            <a:custGeom>
              <a:avLst/>
              <a:gdLst>
                <a:gd name="connsiteX0" fmla="*/ 38100 w 95250"/>
                <a:gd name="connsiteY0" fmla="*/ 0 h 76200"/>
                <a:gd name="connsiteX1" fmla="*/ 0 w 95250"/>
                <a:gd name="connsiteY1" fmla="*/ 38100 h 76200"/>
                <a:gd name="connsiteX2" fmla="*/ 38100 w 95250"/>
                <a:gd name="connsiteY2" fmla="*/ 76200 h 76200"/>
                <a:gd name="connsiteX3" fmla="*/ 51568 w 95250"/>
                <a:gd name="connsiteY3" fmla="*/ 62732 h 76200"/>
                <a:gd name="connsiteX4" fmla="*/ 36471 w 95250"/>
                <a:gd name="connsiteY4" fmla="*/ 47625 h 76200"/>
                <a:gd name="connsiteX5" fmla="*/ 95250 w 95250"/>
                <a:gd name="connsiteY5" fmla="*/ 47625 h 76200"/>
                <a:gd name="connsiteX6" fmla="*/ 95250 w 95250"/>
                <a:gd name="connsiteY6" fmla="*/ 28575 h 76200"/>
                <a:gd name="connsiteX7" fmla="*/ 36471 w 95250"/>
                <a:gd name="connsiteY7" fmla="*/ 28575 h 76200"/>
                <a:gd name="connsiteX8" fmla="*/ 51568 w 95250"/>
                <a:gd name="connsiteY8" fmla="*/ 13468 h 76200"/>
                <a:gd name="connsiteX9" fmla="*/ 38100 w 95250"/>
                <a:gd name="connsiteY9"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76200">
                  <a:moveTo>
                    <a:pt x="38100" y="0"/>
                  </a:moveTo>
                  <a:lnTo>
                    <a:pt x="0" y="38100"/>
                  </a:lnTo>
                  <a:lnTo>
                    <a:pt x="38100" y="76200"/>
                  </a:lnTo>
                  <a:lnTo>
                    <a:pt x="51568" y="62732"/>
                  </a:lnTo>
                  <a:lnTo>
                    <a:pt x="36471" y="47625"/>
                  </a:lnTo>
                  <a:lnTo>
                    <a:pt x="95250" y="47625"/>
                  </a:lnTo>
                  <a:lnTo>
                    <a:pt x="95250" y="28575"/>
                  </a:lnTo>
                  <a:lnTo>
                    <a:pt x="36471" y="28575"/>
                  </a:lnTo>
                  <a:lnTo>
                    <a:pt x="51568" y="13468"/>
                  </a:lnTo>
                  <a:lnTo>
                    <a:pt x="38100" y="0"/>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55" name="Freeform 54">
              <a:extLst>
                <a:ext uri="{FF2B5EF4-FFF2-40B4-BE49-F238E27FC236}">
                  <a16:creationId xmlns:a16="http://schemas.microsoft.com/office/drawing/2014/main" id="{AFAF961E-A1B5-0E6C-F602-5B35ED47B680}"/>
                </a:ext>
              </a:extLst>
            </p:cNvPr>
            <p:cNvSpPr/>
            <p:nvPr/>
          </p:nvSpPr>
          <p:spPr>
            <a:xfrm>
              <a:off x="2694159" y="7631205"/>
              <a:ext cx="95250" cy="76200"/>
            </a:xfrm>
            <a:custGeom>
              <a:avLst/>
              <a:gdLst>
                <a:gd name="connsiteX0" fmla="*/ 57150 w 95250"/>
                <a:gd name="connsiteY0" fmla="*/ 0 h 76200"/>
                <a:gd name="connsiteX1" fmla="*/ 95250 w 95250"/>
                <a:gd name="connsiteY1" fmla="*/ 38100 h 76200"/>
                <a:gd name="connsiteX2" fmla="*/ 57150 w 95250"/>
                <a:gd name="connsiteY2" fmla="*/ 76200 h 76200"/>
                <a:gd name="connsiteX3" fmla="*/ 43682 w 95250"/>
                <a:gd name="connsiteY3" fmla="*/ 62732 h 76200"/>
                <a:gd name="connsiteX4" fmla="*/ 58779 w 95250"/>
                <a:gd name="connsiteY4" fmla="*/ 47625 h 76200"/>
                <a:gd name="connsiteX5" fmla="*/ 0 w 95250"/>
                <a:gd name="connsiteY5" fmla="*/ 47625 h 76200"/>
                <a:gd name="connsiteX6" fmla="*/ 0 w 95250"/>
                <a:gd name="connsiteY6" fmla="*/ 28575 h 76200"/>
                <a:gd name="connsiteX7" fmla="*/ 58779 w 95250"/>
                <a:gd name="connsiteY7" fmla="*/ 28575 h 76200"/>
                <a:gd name="connsiteX8" fmla="*/ 43682 w 95250"/>
                <a:gd name="connsiteY8" fmla="*/ 13468 h 76200"/>
                <a:gd name="connsiteX9" fmla="*/ 57150 w 95250"/>
                <a:gd name="connsiteY9"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76200">
                  <a:moveTo>
                    <a:pt x="57150" y="0"/>
                  </a:moveTo>
                  <a:lnTo>
                    <a:pt x="95250" y="38100"/>
                  </a:lnTo>
                  <a:lnTo>
                    <a:pt x="57150" y="76200"/>
                  </a:lnTo>
                  <a:lnTo>
                    <a:pt x="43682" y="62732"/>
                  </a:lnTo>
                  <a:lnTo>
                    <a:pt x="58779" y="47625"/>
                  </a:lnTo>
                  <a:lnTo>
                    <a:pt x="0" y="47625"/>
                  </a:lnTo>
                  <a:lnTo>
                    <a:pt x="0" y="28575"/>
                  </a:lnTo>
                  <a:lnTo>
                    <a:pt x="58779" y="28575"/>
                  </a:lnTo>
                  <a:lnTo>
                    <a:pt x="43682" y="13468"/>
                  </a:lnTo>
                  <a:lnTo>
                    <a:pt x="57150" y="0"/>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grpSp>
      <p:sp>
        <p:nvSpPr>
          <p:cNvPr id="9" name="Rectangle 8">
            <a:extLst>
              <a:ext uri="{FF2B5EF4-FFF2-40B4-BE49-F238E27FC236}">
                <a16:creationId xmlns:a16="http://schemas.microsoft.com/office/drawing/2014/main" id="{17A2547C-195E-C7AD-A1FF-AE0BC44F7A6B}"/>
              </a:ext>
            </a:extLst>
          </p:cNvPr>
          <p:cNvSpPr/>
          <p:nvPr/>
        </p:nvSpPr>
        <p:spPr bwMode="auto">
          <a:xfrm>
            <a:off x="4746665" y="7816434"/>
            <a:ext cx="10894508" cy="1026603"/>
          </a:xfrm>
          <a:prstGeom prst="rect">
            <a:avLst/>
          </a:prstGeom>
          <a:solidFill>
            <a:srgbClr val="001D6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228600" rIns="228600" bIns="228600" numCol="1" rtlCol="0" anchor="ctr" anchorCtr="0" compatLnSpc="1">
            <a:prstTxWarp prst="textNoShape">
              <a:avLst/>
            </a:prstTxWarp>
          </a:bodyPr>
          <a:lstStyle/>
          <a:p>
            <a:pPr marR="0" lvl="0" algn="ctr" defTabSz="1829196" rtl="0" eaLnBrk="1" fontAlgn="auto" latinLnBrk="0" hangingPunct="1">
              <a:lnSpc>
                <a:spcPct val="100000"/>
              </a:lnSpc>
              <a:spcBef>
                <a:spcPts val="0"/>
              </a:spcBef>
              <a:spcAft>
                <a:spcPts val="0"/>
              </a:spcAft>
              <a:buClrTx/>
              <a:buSzTx/>
              <a:buFontTx/>
              <a:buNone/>
              <a:tabLst>
                <a:tab pos="3130550" algn="l"/>
                <a:tab pos="4562475" algn="l"/>
                <a:tab pos="4843463" algn="l"/>
                <a:tab pos="6392863" algn="l"/>
                <a:tab pos="6732588" algn="l"/>
                <a:tab pos="8505825" algn="l"/>
                <a:tab pos="8740775" algn="l"/>
              </a:tabLst>
              <a:defRPr/>
            </a:pPr>
            <a:r>
              <a:rPr lang="en-US" sz="1800" kern="0" spc="180" dirty="0">
                <a:solidFill>
                  <a:srgbClr val="FFFFFF"/>
                </a:solidFill>
                <a:latin typeface="IBM Plex Sans" panose="020B0503050203000203" pitchFamily="34" charset="0"/>
                <a:sym typeface="IBM Plex Sans"/>
              </a:rPr>
              <a:t>	</a:t>
            </a:r>
            <a:r>
              <a:rPr kumimoji="0" lang="en-US" sz="1800" b="0" i="0" u="none" strike="noStrike" kern="0" cap="none" spc="180" normalizeH="0" baseline="0" noProof="0" dirty="0">
                <a:ln>
                  <a:noFill/>
                </a:ln>
                <a:solidFill>
                  <a:srgbClr val="FFFFFF"/>
                </a:solidFill>
                <a:effectLst/>
                <a:uLnTx/>
                <a:uFillTx/>
                <a:latin typeface="IBM Plex Sans" panose="020B0503050203000203" pitchFamily="34" charset="0"/>
                <a:ea typeface="+mn-ea"/>
                <a:cs typeface="+mn-cs"/>
                <a:sym typeface="IBM Plex Sans"/>
              </a:rPr>
              <a:t>CLASSIFY	</a:t>
            </a:r>
            <a:r>
              <a:rPr kumimoji="0" lang="en-US" sz="1800" b="0" i="0" u="none" strike="noStrike" kern="0" cap="none" spc="180" normalizeH="0" baseline="0" noProof="0" dirty="0">
                <a:ln>
                  <a:noFill/>
                </a:ln>
                <a:solidFill>
                  <a:srgbClr val="4489FF"/>
                </a:solidFill>
                <a:effectLst/>
                <a:uLnTx/>
                <a:uFillTx/>
                <a:latin typeface="IBM Plex Sans" panose="020B0503050203000203" pitchFamily="34" charset="0"/>
                <a:ea typeface="+mn-ea"/>
                <a:cs typeface="+mn-cs"/>
                <a:sym typeface="IBM Plex Sans"/>
              </a:rPr>
              <a:t>|</a:t>
            </a:r>
            <a:r>
              <a:rPr kumimoji="0" lang="en-US" sz="1800" b="0" i="0" u="none" strike="noStrike" kern="0" cap="none" spc="180" normalizeH="0" baseline="0" noProof="0" dirty="0">
                <a:ln>
                  <a:noFill/>
                </a:ln>
                <a:solidFill>
                  <a:srgbClr val="FFFFFF"/>
                </a:solidFill>
                <a:effectLst/>
                <a:uLnTx/>
                <a:uFillTx/>
                <a:latin typeface="IBM Plex Sans" panose="020B0503050203000203" pitchFamily="34" charset="0"/>
                <a:ea typeface="+mn-ea"/>
                <a:cs typeface="+mn-cs"/>
                <a:sym typeface="IBM Plex Sans"/>
              </a:rPr>
              <a:t>	GENERATE	</a:t>
            </a:r>
            <a:r>
              <a:rPr kumimoji="0" lang="en-US" sz="1800" b="0" i="0" u="none" strike="noStrike" kern="0" cap="none" spc="180" normalizeH="0" baseline="0" noProof="0" dirty="0">
                <a:ln>
                  <a:noFill/>
                </a:ln>
                <a:solidFill>
                  <a:srgbClr val="4489FF"/>
                </a:solidFill>
                <a:effectLst/>
                <a:uLnTx/>
                <a:uFillTx/>
                <a:latin typeface="IBM Plex Sans" panose="020B0503050203000203" pitchFamily="34" charset="0"/>
                <a:ea typeface="+mn-ea"/>
                <a:cs typeface="+mn-cs"/>
                <a:sym typeface="IBM Plex Sans"/>
              </a:rPr>
              <a:t>|</a:t>
            </a:r>
            <a:r>
              <a:rPr lang="en-US" sz="1800" kern="0" spc="180" dirty="0">
                <a:solidFill>
                  <a:srgbClr val="FFFFFF"/>
                </a:solidFill>
                <a:latin typeface="IBM Plex Sans" panose="020B0503050203000203" pitchFamily="34" charset="0"/>
                <a:sym typeface="IBM Plex Sans"/>
              </a:rPr>
              <a:t>	</a:t>
            </a:r>
            <a:r>
              <a:rPr kumimoji="0" lang="en-US" sz="1800" b="0" i="0" u="none" strike="noStrike" kern="0" cap="none" spc="180" normalizeH="0" baseline="0" noProof="0" dirty="0">
                <a:ln>
                  <a:noFill/>
                </a:ln>
                <a:solidFill>
                  <a:srgbClr val="FFFFFF"/>
                </a:solidFill>
                <a:effectLst/>
                <a:uLnTx/>
                <a:uFillTx/>
                <a:latin typeface="IBM Plex Sans" panose="020B0503050203000203" pitchFamily="34" charset="0"/>
                <a:ea typeface="+mn-ea"/>
                <a:cs typeface="+mn-cs"/>
                <a:sym typeface="IBM Plex Sans"/>
              </a:rPr>
              <a:t>SUMMARIZE	</a:t>
            </a:r>
            <a:r>
              <a:rPr kumimoji="0" lang="en-US" sz="1800" b="0" i="0" u="none" strike="noStrike" kern="0" cap="none" spc="180" normalizeH="0" baseline="0" noProof="0" dirty="0">
                <a:ln>
                  <a:noFill/>
                </a:ln>
                <a:solidFill>
                  <a:srgbClr val="4489FF"/>
                </a:solidFill>
                <a:effectLst/>
                <a:uLnTx/>
                <a:uFillTx/>
                <a:latin typeface="IBM Plex Sans" panose="020B0503050203000203" pitchFamily="34" charset="0"/>
                <a:ea typeface="+mn-ea"/>
                <a:cs typeface="+mn-cs"/>
                <a:sym typeface="IBM Plex Sans"/>
              </a:rPr>
              <a:t>|</a:t>
            </a:r>
            <a:r>
              <a:rPr lang="en-US" sz="1800" kern="0" spc="180" dirty="0">
                <a:solidFill>
                  <a:srgbClr val="FFFFFF"/>
                </a:solidFill>
                <a:latin typeface="IBM Plex Sans" panose="020B0503050203000203" pitchFamily="34" charset="0"/>
                <a:sym typeface="IBM Plex Sans"/>
              </a:rPr>
              <a:t>	</a:t>
            </a:r>
            <a:r>
              <a:rPr kumimoji="0" lang="en-US" sz="1800" b="0" i="0" u="none" strike="noStrike" kern="0" cap="none" spc="180" normalizeH="0" baseline="0" noProof="0" dirty="0">
                <a:ln>
                  <a:noFill/>
                </a:ln>
                <a:solidFill>
                  <a:srgbClr val="FFFFFF"/>
                </a:solidFill>
                <a:effectLst/>
                <a:uLnTx/>
                <a:uFillTx/>
                <a:latin typeface="IBM Plex Sans" panose="020B0503050203000203" pitchFamily="34" charset="0"/>
                <a:ea typeface="+mn-ea"/>
                <a:cs typeface="+mn-cs"/>
                <a:sym typeface="IBM Plex Sans"/>
              </a:rPr>
              <a:t>EXTRACT</a:t>
            </a:r>
            <a:endParaRPr kumimoji="0" lang="en-US" sz="1800" b="0" i="0" u="none" strike="noStrike" kern="1200" cap="none" spc="180" normalizeH="0" baseline="0" noProof="0" dirty="0">
              <a:ln>
                <a:noFill/>
              </a:ln>
              <a:solidFill>
                <a:srgbClr val="FFFFFF"/>
              </a:solidFill>
              <a:effectLst/>
              <a:uLnTx/>
              <a:uFillTx/>
              <a:latin typeface="IBM Plex Sans" panose="020B0503050203000203" pitchFamily="34" charset="0"/>
              <a:ea typeface="+mn-ea"/>
              <a:cs typeface="+mn-cs"/>
            </a:endParaRPr>
          </a:p>
        </p:txBody>
      </p:sp>
      <p:pic>
        <p:nvPicPr>
          <p:cNvPr id="42" name="Picture 41" descr="A black background with white text&#10;&#10;Description automatically generated">
            <a:extLst>
              <a:ext uri="{FF2B5EF4-FFF2-40B4-BE49-F238E27FC236}">
                <a16:creationId xmlns:a16="http://schemas.microsoft.com/office/drawing/2014/main" id="{0174ACC1-8CD3-BBC1-F1AE-08FEBA92BF9F}"/>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5017868" y="8366854"/>
            <a:ext cx="1697993" cy="307981"/>
          </a:xfrm>
          <a:prstGeom prst="rect">
            <a:avLst/>
          </a:prstGeom>
        </p:spPr>
      </p:pic>
      <p:sp>
        <p:nvSpPr>
          <p:cNvPr id="7" name="Rectangle 6">
            <a:extLst>
              <a:ext uri="{FF2B5EF4-FFF2-40B4-BE49-F238E27FC236}">
                <a16:creationId xmlns:a16="http://schemas.microsoft.com/office/drawing/2014/main" id="{DE6E0913-0F1A-F503-0864-76C2FE29CEAA}"/>
              </a:ext>
            </a:extLst>
          </p:cNvPr>
          <p:cNvSpPr/>
          <p:nvPr/>
        </p:nvSpPr>
        <p:spPr bwMode="auto">
          <a:xfrm>
            <a:off x="4770682" y="2980075"/>
            <a:ext cx="10894509" cy="1061638"/>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228600" rIns="228600" bIns="2286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r>
              <a:rPr kumimoji="0" lang="en-US" sz="3200" b="0"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rPr>
              <a:t>Conversational experiences</a:t>
            </a:r>
          </a:p>
        </p:txBody>
      </p:sp>
      <p:sp>
        <p:nvSpPr>
          <p:cNvPr id="48" name="Rectangle 47">
            <a:extLst>
              <a:ext uri="{FF2B5EF4-FFF2-40B4-BE49-F238E27FC236}">
                <a16:creationId xmlns:a16="http://schemas.microsoft.com/office/drawing/2014/main" id="{FC346F5B-AB86-B1BA-A812-D490067228F7}"/>
              </a:ext>
            </a:extLst>
          </p:cNvPr>
          <p:cNvSpPr/>
          <p:nvPr/>
        </p:nvSpPr>
        <p:spPr bwMode="auto">
          <a:xfrm>
            <a:off x="4770682" y="9652990"/>
            <a:ext cx="10894508" cy="2977148"/>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228600" rIns="228600" bIns="228600" numCol="1" rtlCol="0" anchor="t" anchorCtr="0" compatLnSpc="1">
            <a:prstTxWarp prst="textNoShape">
              <a:avLst/>
            </a:prstTxWarp>
          </a:bodyPr>
          <a:lstStyle/>
          <a:p>
            <a:pPr marR="0" lvl="0" algn="l" defTabSz="914400" rtl="0" eaLnBrk="1" fontAlgn="base" latinLnBrk="0" hangingPunct="1">
              <a:lnSpc>
                <a:spcPct val="100000"/>
              </a:lnSpc>
              <a:spcBef>
                <a:spcPct val="0"/>
              </a:spcBef>
              <a:spcAft>
                <a:spcPct val="0"/>
              </a:spcAft>
              <a:buClrTx/>
              <a:buSzTx/>
              <a:buFont typeface="IBM Plex Sans Light"/>
              <a:buNone/>
              <a:tabLst>
                <a:tab pos="501650" algn="l"/>
              </a:tabLst>
              <a:defRPr/>
            </a:pPr>
            <a:r>
              <a:rPr lang="en-US" sz="2000" dirty="0">
                <a:solidFill>
                  <a:srgbClr val="0F62FE"/>
                </a:solidFill>
                <a:latin typeface="IBM Plex Sans" panose="020B0503050203000203" pitchFamily="34" charset="0"/>
              </a:rPr>
              <a:t>	</a:t>
            </a:r>
            <a:r>
              <a:rPr kumimoji="0" lang="en-US" sz="2000" b="0"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rPr>
              <a:t>Execute automations</a:t>
            </a:r>
          </a:p>
        </p:txBody>
      </p:sp>
      <p:grpSp>
        <p:nvGrpSpPr>
          <p:cNvPr id="78" name="Group 77">
            <a:extLst>
              <a:ext uri="{FF2B5EF4-FFF2-40B4-BE49-F238E27FC236}">
                <a16:creationId xmlns:a16="http://schemas.microsoft.com/office/drawing/2014/main" id="{7EBBA037-424C-7E9B-9FA3-C74CBFB1A1BD}"/>
              </a:ext>
            </a:extLst>
          </p:cNvPr>
          <p:cNvGrpSpPr/>
          <p:nvPr/>
        </p:nvGrpSpPr>
        <p:grpSpPr>
          <a:xfrm>
            <a:off x="7085986" y="11561454"/>
            <a:ext cx="6556139" cy="811519"/>
            <a:chOff x="8877566" y="12143390"/>
            <a:chExt cx="7135169" cy="914400"/>
          </a:xfrm>
        </p:grpSpPr>
        <p:pic>
          <p:nvPicPr>
            <p:cNvPr id="50" name="Graphic 49">
              <a:extLst>
                <a:ext uri="{FF2B5EF4-FFF2-40B4-BE49-F238E27FC236}">
                  <a16:creationId xmlns:a16="http://schemas.microsoft.com/office/drawing/2014/main" id="{287E2049-82B5-4B6A-5E31-041785B0676B}"/>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074189" y="12344958"/>
              <a:ext cx="1828800" cy="511265"/>
            </a:xfrm>
            <a:prstGeom prst="rect">
              <a:avLst/>
            </a:prstGeom>
          </p:spPr>
        </p:pic>
        <p:pic>
          <p:nvPicPr>
            <p:cNvPr id="58" name="Graphic 57">
              <a:extLst>
                <a:ext uri="{FF2B5EF4-FFF2-40B4-BE49-F238E27FC236}">
                  <a16:creationId xmlns:a16="http://schemas.microsoft.com/office/drawing/2014/main" id="{E0DDF1F8-2CF4-33D6-E4E4-E05B6CCECB92}"/>
                </a:ext>
              </a:extLst>
            </p:cNvPr>
            <p:cNvPicPr>
              <a:picLocks noChangeAspect="1"/>
            </p:cNvPicPr>
            <p:nvPr/>
          </p:nvPicPr>
          <p:blipFill>
            <a:blip r:embed="rId10" cstate="hq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2531794" y="12319030"/>
              <a:ext cx="1143000" cy="563120"/>
            </a:xfrm>
            <a:prstGeom prst="rect">
              <a:avLst/>
            </a:prstGeom>
          </p:spPr>
        </p:pic>
        <p:pic>
          <p:nvPicPr>
            <p:cNvPr id="60" name="Graphic 59">
              <a:extLst>
                <a:ext uri="{FF2B5EF4-FFF2-40B4-BE49-F238E27FC236}">
                  <a16:creationId xmlns:a16="http://schemas.microsoft.com/office/drawing/2014/main" id="{8669E9AA-AEF4-94C5-A8F7-DF0BAF44FC5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065063" y="12453039"/>
              <a:ext cx="1947672" cy="295102"/>
            </a:xfrm>
            <a:prstGeom prst="rect">
              <a:avLst/>
            </a:prstGeom>
          </p:spPr>
        </p:pic>
        <p:pic>
          <p:nvPicPr>
            <p:cNvPr id="73" name="Picture 72" descr="A blue and purple logo&#10;&#10;Description automatically generated">
              <a:extLst>
                <a:ext uri="{FF2B5EF4-FFF2-40B4-BE49-F238E27FC236}">
                  <a16:creationId xmlns:a16="http://schemas.microsoft.com/office/drawing/2014/main" id="{C2396EC9-6F84-3AAF-9AE7-DD780BE2E21C}"/>
                </a:ext>
              </a:extLst>
            </p:cNvPr>
            <p:cNvPicPr>
              <a:picLocks noChangeAspect="1"/>
            </p:cNvPicPr>
            <p:nvPr/>
          </p:nvPicPr>
          <p:blipFill rotWithShape="1">
            <a:blip r:embed="rId14" cstate="hqprint">
              <a:extLst>
                <a:ext uri="{28A0092B-C50C-407E-A947-70E740481C1C}">
                  <a14:useLocalDpi xmlns:a14="http://schemas.microsoft.com/office/drawing/2010/main"/>
                </a:ext>
              </a:extLst>
            </a:blip>
            <a:srcRect l="29179" r="28617"/>
            <a:stretch/>
          </p:blipFill>
          <p:spPr>
            <a:xfrm>
              <a:off x="8877566" y="12143390"/>
              <a:ext cx="687086" cy="914400"/>
            </a:xfrm>
            <a:prstGeom prst="rect">
              <a:avLst/>
            </a:prstGeom>
          </p:spPr>
        </p:pic>
      </p:grpSp>
      <p:grpSp>
        <p:nvGrpSpPr>
          <p:cNvPr id="217" name="Group 216">
            <a:extLst>
              <a:ext uri="{FF2B5EF4-FFF2-40B4-BE49-F238E27FC236}">
                <a16:creationId xmlns:a16="http://schemas.microsoft.com/office/drawing/2014/main" id="{0CBFF2B8-3614-D787-7623-393892E5FC2B}"/>
              </a:ext>
            </a:extLst>
          </p:cNvPr>
          <p:cNvGrpSpPr/>
          <p:nvPr/>
        </p:nvGrpSpPr>
        <p:grpSpPr>
          <a:xfrm>
            <a:off x="5872262" y="10661748"/>
            <a:ext cx="8691350" cy="711073"/>
            <a:chOff x="2893306" y="11185506"/>
            <a:chExt cx="7467599" cy="633356"/>
          </a:xfrm>
        </p:grpSpPr>
        <p:pic>
          <p:nvPicPr>
            <p:cNvPr id="52" name="Graphic 51">
              <a:extLst>
                <a:ext uri="{FF2B5EF4-FFF2-40B4-BE49-F238E27FC236}">
                  <a16:creationId xmlns:a16="http://schemas.microsoft.com/office/drawing/2014/main" id="{52890EC4-3C66-86DE-096B-86DDD59B8EE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893306" y="11185506"/>
              <a:ext cx="902368" cy="633356"/>
            </a:xfrm>
            <a:prstGeom prst="rect">
              <a:avLst/>
            </a:prstGeom>
          </p:spPr>
        </p:pic>
        <p:pic>
          <p:nvPicPr>
            <p:cNvPr id="56" name="Graphic 55">
              <a:extLst>
                <a:ext uri="{FF2B5EF4-FFF2-40B4-BE49-F238E27FC236}">
                  <a16:creationId xmlns:a16="http://schemas.microsoft.com/office/drawing/2014/main" id="{D06111E0-D821-F68C-38D6-6A2D544B9C7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008586" y="11265147"/>
              <a:ext cx="902368" cy="474074"/>
            </a:xfrm>
            <a:prstGeom prst="rect">
              <a:avLst/>
            </a:prstGeom>
          </p:spPr>
        </p:pic>
        <p:pic>
          <p:nvPicPr>
            <p:cNvPr id="62" name="Graphic 61">
              <a:extLst>
                <a:ext uri="{FF2B5EF4-FFF2-40B4-BE49-F238E27FC236}">
                  <a16:creationId xmlns:a16="http://schemas.microsoft.com/office/drawing/2014/main" id="{B44DA9ED-E930-ED7C-A0AF-843CA95B114C}"/>
                </a:ext>
              </a:extLst>
            </p:cNvPr>
            <p:cNvPicPr>
              <a:picLocks noChangeAspect="1"/>
            </p:cNvPicPr>
            <p:nvPr/>
          </p:nvPicPr>
          <p:blipFill>
            <a:blip r:embed="rId19" cstate="hq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971304" y="11224417"/>
              <a:ext cx="490888" cy="555534"/>
            </a:xfrm>
            <a:prstGeom prst="rect">
              <a:avLst/>
            </a:prstGeom>
          </p:spPr>
        </p:pic>
        <p:pic>
          <p:nvPicPr>
            <p:cNvPr id="66" name="Graphic 65">
              <a:extLst>
                <a:ext uri="{FF2B5EF4-FFF2-40B4-BE49-F238E27FC236}">
                  <a16:creationId xmlns:a16="http://schemas.microsoft.com/office/drawing/2014/main" id="{CC592D42-4DF3-0706-2E28-457AAA1FCD7C}"/>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457348" y="11284373"/>
              <a:ext cx="815740" cy="435621"/>
            </a:xfrm>
            <a:prstGeom prst="rect">
              <a:avLst/>
            </a:prstGeom>
          </p:spPr>
        </p:pic>
        <p:pic>
          <p:nvPicPr>
            <p:cNvPr id="71" name="Graphic 70">
              <a:extLst>
                <a:ext uri="{FF2B5EF4-FFF2-40B4-BE49-F238E27FC236}">
                  <a16:creationId xmlns:a16="http://schemas.microsoft.com/office/drawing/2014/main" id="{4B9EA7A8-ED36-20D7-6103-C76EFAC6D89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819484" y="11204019"/>
              <a:ext cx="541421" cy="596329"/>
            </a:xfrm>
            <a:prstGeom prst="rect">
              <a:avLst/>
            </a:prstGeom>
          </p:spPr>
        </p:pic>
        <p:pic>
          <p:nvPicPr>
            <p:cNvPr id="76" name="Graphic 75">
              <a:extLst>
                <a:ext uri="{FF2B5EF4-FFF2-40B4-BE49-F238E27FC236}">
                  <a16:creationId xmlns:a16="http://schemas.microsoft.com/office/drawing/2014/main" id="{80B5CDAA-90F6-C951-D2AB-560FC2D32EE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4342068" y="11286798"/>
              <a:ext cx="1082842" cy="430773"/>
            </a:xfrm>
            <a:prstGeom prst="rect">
              <a:avLst/>
            </a:prstGeom>
          </p:spPr>
        </p:pic>
      </p:grpSp>
      <p:grpSp>
        <p:nvGrpSpPr>
          <p:cNvPr id="97" name="Group 96">
            <a:extLst>
              <a:ext uri="{FF2B5EF4-FFF2-40B4-BE49-F238E27FC236}">
                <a16:creationId xmlns:a16="http://schemas.microsoft.com/office/drawing/2014/main" id="{8C14C171-96C6-A115-8A1D-69BBBF5C501C}"/>
              </a:ext>
            </a:extLst>
          </p:cNvPr>
          <p:cNvGrpSpPr/>
          <p:nvPr/>
        </p:nvGrpSpPr>
        <p:grpSpPr>
          <a:xfrm>
            <a:off x="5022724" y="9911527"/>
            <a:ext cx="310006" cy="278038"/>
            <a:chOff x="2522709" y="10288679"/>
            <a:chExt cx="266700" cy="247650"/>
          </a:xfrm>
        </p:grpSpPr>
        <p:sp>
          <p:nvSpPr>
            <p:cNvPr id="72" name="Freeform 71">
              <a:extLst>
                <a:ext uri="{FF2B5EF4-FFF2-40B4-BE49-F238E27FC236}">
                  <a16:creationId xmlns:a16="http://schemas.microsoft.com/office/drawing/2014/main" id="{1FB98360-A1DF-D9FC-B6AC-164A53F37FF2}"/>
                </a:ext>
              </a:extLst>
            </p:cNvPr>
            <p:cNvSpPr/>
            <p:nvPr/>
          </p:nvSpPr>
          <p:spPr>
            <a:xfrm>
              <a:off x="2532234" y="10450604"/>
              <a:ext cx="114300" cy="85725"/>
            </a:xfrm>
            <a:custGeom>
              <a:avLst/>
              <a:gdLst>
                <a:gd name="connsiteX0" fmla="*/ 114300 w 114300"/>
                <a:gd name="connsiteY0" fmla="*/ 66675 h 85725"/>
                <a:gd name="connsiteX1" fmla="*/ 26670 w 114300"/>
                <a:gd name="connsiteY1" fmla="*/ 19050 h 85725"/>
                <a:gd name="connsiteX2" fmla="*/ 76200 w 114300"/>
                <a:gd name="connsiteY2" fmla="*/ 19050 h 85725"/>
                <a:gd name="connsiteX3" fmla="*/ 76200 w 114300"/>
                <a:gd name="connsiteY3" fmla="*/ 0 h 85725"/>
                <a:gd name="connsiteX4" fmla="*/ 0 w 114300"/>
                <a:gd name="connsiteY4" fmla="*/ 0 h 85725"/>
                <a:gd name="connsiteX5" fmla="*/ 0 w 114300"/>
                <a:gd name="connsiteY5" fmla="*/ 76200 h 85725"/>
                <a:gd name="connsiteX6" fmla="*/ 19050 w 114300"/>
                <a:gd name="connsiteY6" fmla="*/ 76200 h 85725"/>
                <a:gd name="connsiteX7" fmla="*/ 19050 w 114300"/>
                <a:gd name="connsiteY7" fmla="*/ 40957 h 85725"/>
                <a:gd name="connsiteX8" fmla="*/ 114300 w 114300"/>
                <a:gd name="connsiteY8" fmla="*/ 85725 h 85725"/>
                <a:gd name="connsiteX9" fmla="*/ 114300 w 114300"/>
                <a:gd name="connsiteY9" fmla="*/ 6667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85725">
                  <a:moveTo>
                    <a:pt x="114300" y="66675"/>
                  </a:moveTo>
                  <a:cubicBezTo>
                    <a:pt x="80010" y="66675"/>
                    <a:pt x="46672" y="49530"/>
                    <a:pt x="26670" y="19050"/>
                  </a:cubicBezTo>
                  <a:lnTo>
                    <a:pt x="76200" y="19050"/>
                  </a:lnTo>
                  <a:lnTo>
                    <a:pt x="76200" y="0"/>
                  </a:lnTo>
                  <a:lnTo>
                    <a:pt x="0" y="0"/>
                  </a:lnTo>
                  <a:lnTo>
                    <a:pt x="0" y="76200"/>
                  </a:lnTo>
                  <a:lnTo>
                    <a:pt x="19050" y="76200"/>
                  </a:lnTo>
                  <a:lnTo>
                    <a:pt x="19050" y="40957"/>
                  </a:lnTo>
                  <a:cubicBezTo>
                    <a:pt x="42863" y="69532"/>
                    <a:pt x="77153" y="85725"/>
                    <a:pt x="114300" y="85725"/>
                  </a:cubicBezTo>
                  <a:lnTo>
                    <a:pt x="114300" y="66675"/>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5" name="Freeform 74">
              <a:extLst>
                <a:ext uri="{FF2B5EF4-FFF2-40B4-BE49-F238E27FC236}">
                  <a16:creationId xmlns:a16="http://schemas.microsoft.com/office/drawing/2014/main" id="{303D12E6-CC08-06E6-1400-CF1990298E5F}"/>
                </a:ext>
              </a:extLst>
            </p:cNvPr>
            <p:cNvSpPr/>
            <p:nvPr/>
          </p:nvSpPr>
          <p:spPr>
            <a:xfrm>
              <a:off x="2656059" y="10402979"/>
              <a:ext cx="133350" cy="133350"/>
            </a:xfrm>
            <a:custGeom>
              <a:avLst/>
              <a:gdLst>
                <a:gd name="connsiteX0" fmla="*/ 133350 w 133350"/>
                <a:gd name="connsiteY0" fmla="*/ 76200 h 133350"/>
                <a:gd name="connsiteX1" fmla="*/ 133350 w 133350"/>
                <a:gd name="connsiteY1" fmla="*/ 57150 h 133350"/>
                <a:gd name="connsiteX2" fmla="*/ 113348 w 133350"/>
                <a:gd name="connsiteY2" fmla="*/ 57150 h 133350"/>
                <a:gd name="connsiteX3" fmla="*/ 106680 w 133350"/>
                <a:gd name="connsiteY3" fmla="*/ 40005 h 133350"/>
                <a:gd name="connsiteX4" fmla="*/ 120968 w 133350"/>
                <a:gd name="connsiteY4" fmla="*/ 25718 h 133350"/>
                <a:gd name="connsiteX5" fmla="*/ 107632 w 133350"/>
                <a:gd name="connsiteY5" fmla="*/ 12382 h 133350"/>
                <a:gd name="connsiteX6" fmla="*/ 93345 w 133350"/>
                <a:gd name="connsiteY6" fmla="*/ 26670 h 133350"/>
                <a:gd name="connsiteX7" fmla="*/ 76200 w 133350"/>
                <a:gd name="connsiteY7" fmla="*/ 20003 h 133350"/>
                <a:gd name="connsiteX8" fmla="*/ 76200 w 133350"/>
                <a:gd name="connsiteY8" fmla="*/ 0 h 133350"/>
                <a:gd name="connsiteX9" fmla="*/ 57150 w 133350"/>
                <a:gd name="connsiteY9" fmla="*/ 0 h 133350"/>
                <a:gd name="connsiteX10" fmla="*/ 57150 w 133350"/>
                <a:gd name="connsiteY10" fmla="*/ 20003 h 133350"/>
                <a:gd name="connsiteX11" fmla="*/ 40005 w 133350"/>
                <a:gd name="connsiteY11" fmla="*/ 26670 h 133350"/>
                <a:gd name="connsiteX12" fmla="*/ 25718 w 133350"/>
                <a:gd name="connsiteY12" fmla="*/ 12382 h 133350"/>
                <a:gd name="connsiteX13" fmla="*/ 12382 w 133350"/>
                <a:gd name="connsiteY13" fmla="*/ 25718 h 133350"/>
                <a:gd name="connsiteX14" fmla="*/ 26670 w 133350"/>
                <a:gd name="connsiteY14" fmla="*/ 40005 h 133350"/>
                <a:gd name="connsiteX15" fmla="*/ 20003 w 133350"/>
                <a:gd name="connsiteY15" fmla="*/ 57150 h 133350"/>
                <a:gd name="connsiteX16" fmla="*/ 0 w 133350"/>
                <a:gd name="connsiteY16" fmla="*/ 57150 h 133350"/>
                <a:gd name="connsiteX17" fmla="*/ 0 w 133350"/>
                <a:gd name="connsiteY17" fmla="*/ 76200 h 133350"/>
                <a:gd name="connsiteX18" fmla="*/ 20003 w 133350"/>
                <a:gd name="connsiteY18" fmla="*/ 76200 h 133350"/>
                <a:gd name="connsiteX19" fmla="*/ 26670 w 133350"/>
                <a:gd name="connsiteY19" fmla="*/ 93345 h 133350"/>
                <a:gd name="connsiteX20" fmla="*/ 12382 w 133350"/>
                <a:gd name="connsiteY20" fmla="*/ 107632 h 133350"/>
                <a:gd name="connsiteX21" fmla="*/ 25718 w 133350"/>
                <a:gd name="connsiteY21" fmla="*/ 120968 h 133350"/>
                <a:gd name="connsiteX22" fmla="*/ 40005 w 133350"/>
                <a:gd name="connsiteY22" fmla="*/ 106680 h 133350"/>
                <a:gd name="connsiteX23" fmla="*/ 57150 w 133350"/>
                <a:gd name="connsiteY23" fmla="*/ 113348 h 133350"/>
                <a:gd name="connsiteX24" fmla="*/ 57150 w 133350"/>
                <a:gd name="connsiteY24" fmla="*/ 133350 h 133350"/>
                <a:gd name="connsiteX25" fmla="*/ 76200 w 133350"/>
                <a:gd name="connsiteY25" fmla="*/ 133350 h 133350"/>
                <a:gd name="connsiteX26" fmla="*/ 76200 w 133350"/>
                <a:gd name="connsiteY26" fmla="*/ 113348 h 133350"/>
                <a:gd name="connsiteX27" fmla="*/ 93345 w 133350"/>
                <a:gd name="connsiteY27" fmla="*/ 106680 h 133350"/>
                <a:gd name="connsiteX28" fmla="*/ 107632 w 133350"/>
                <a:gd name="connsiteY28" fmla="*/ 120968 h 133350"/>
                <a:gd name="connsiteX29" fmla="*/ 120968 w 133350"/>
                <a:gd name="connsiteY29" fmla="*/ 107632 h 133350"/>
                <a:gd name="connsiteX30" fmla="*/ 106680 w 133350"/>
                <a:gd name="connsiteY30" fmla="*/ 93345 h 133350"/>
                <a:gd name="connsiteX31" fmla="*/ 113348 w 133350"/>
                <a:gd name="connsiteY31" fmla="*/ 76200 h 133350"/>
                <a:gd name="connsiteX32" fmla="*/ 133350 w 133350"/>
                <a:gd name="connsiteY32" fmla="*/ 76200 h 133350"/>
                <a:gd name="connsiteX33" fmla="*/ 66675 w 133350"/>
                <a:gd name="connsiteY33" fmla="*/ 95250 h 133350"/>
                <a:gd name="connsiteX34" fmla="*/ 38100 w 133350"/>
                <a:gd name="connsiteY34" fmla="*/ 66675 h 133350"/>
                <a:gd name="connsiteX35" fmla="*/ 66675 w 133350"/>
                <a:gd name="connsiteY35" fmla="*/ 38100 h 133350"/>
                <a:gd name="connsiteX36" fmla="*/ 95250 w 133350"/>
                <a:gd name="connsiteY36" fmla="*/ 66675 h 133350"/>
                <a:gd name="connsiteX37" fmla="*/ 66675 w 133350"/>
                <a:gd name="connsiteY37" fmla="*/ 9525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33350" h="133350">
                  <a:moveTo>
                    <a:pt x="133350" y="76200"/>
                  </a:moveTo>
                  <a:lnTo>
                    <a:pt x="133350" y="57150"/>
                  </a:lnTo>
                  <a:lnTo>
                    <a:pt x="113348" y="57150"/>
                  </a:lnTo>
                  <a:cubicBezTo>
                    <a:pt x="112395" y="51435"/>
                    <a:pt x="109538" y="45720"/>
                    <a:pt x="106680" y="40005"/>
                  </a:cubicBezTo>
                  <a:lnTo>
                    <a:pt x="120968" y="25718"/>
                  </a:lnTo>
                  <a:lnTo>
                    <a:pt x="107632" y="12382"/>
                  </a:lnTo>
                  <a:lnTo>
                    <a:pt x="93345" y="26670"/>
                  </a:lnTo>
                  <a:cubicBezTo>
                    <a:pt x="88582" y="23813"/>
                    <a:pt x="82868" y="20955"/>
                    <a:pt x="76200" y="20003"/>
                  </a:cubicBezTo>
                  <a:lnTo>
                    <a:pt x="76200" y="0"/>
                  </a:lnTo>
                  <a:lnTo>
                    <a:pt x="57150" y="0"/>
                  </a:lnTo>
                  <a:lnTo>
                    <a:pt x="57150" y="20003"/>
                  </a:lnTo>
                  <a:cubicBezTo>
                    <a:pt x="51435" y="20955"/>
                    <a:pt x="45720" y="23813"/>
                    <a:pt x="40005" y="26670"/>
                  </a:cubicBezTo>
                  <a:lnTo>
                    <a:pt x="25718" y="12382"/>
                  </a:lnTo>
                  <a:lnTo>
                    <a:pt x="12382" y="25718"/>
                  </a:lnTo>
                  <a:lnTo>
                    <a:pt x="26670" y="40005"/>
                  </a:lnTo>
                  <a:cubicBezTo>
                    <a:pt x="23813" y="44768"/>
                    <a:pt x="20955" y="50482"/>
                    <a:pt x="20003" y="57150"/>
                  </a:cubicBezTo>
                  <a:lnTo>
                    <a:pt x="0" y="57150"/>
                  </a:lnTo>
                  <a:lnTo>
                    <a:pt x="0" y="76200"/>
                  </a:lnTo>
                  <a:lnTo>
                    <a:pt x="20003" y="76200"/>
                  </a:lnTo>
                  <a:cubicBezTo>
                    <a:pt x="20955" y="81915"/>
                    <a:pt x="23813" y="87630"/>
                    <a:pt x="26670" y="93345"/>
                  </a:cubicBezTo>
                  <a:lnTo>
                    <a:pt x="12382" y="107632"/>
                  </a:lnTo>
                  <a:lnTo>
                    <a:pt x="25718" y="120968"/>
                  </a:lnTo>
                  <a:lnTo>
                    <a:pt x="40005" y="106680"/>
                  </a:lnTo>
                  <a:cubicBezTo>
                    <a:pt x="44768" y="109538"/>
                    <a:pt x="50482" y="112395"/>
                    <a:pt x="57150" y="113348"/>
                  </a:cubicBezTo>
                  <a:lnTo>
                    <a:pt x="57150" y="133350"/>
                  </a:lnTo>
                  <a:lnTo>
                    <a:pt x="76200" y="133350"/>
                  </a:lnTo>
                  <a:lnTo>
                    <a:pt x="76200" y="113348"/>
                  </a:lnTo>
                  <a:cubicBezTo>
                    <a:pt x="81915" y="112395"/>
                    <a:pt x="87630" y="109538"/>
                    <a:pt x="93345" y="106680"/>
                  </a:cubicBezTo>
                  <a:lnTo>
                    <a:pt x="107632" y="120968"/>
                  </a:lnTo>
                  <a:lnTo>
                    <a:pt x="120968" y="107632"/>
                  </a:lnTo>
                  <a:lnTo>
                    <a:pt x="106680" y="93345"/>
                  </a:lnTo>
                  <a:cubicBezTo>
                    <a:pt x="109538" y="88582"/>
                    <a:pt x="112395" y="82868"/>
                    <a:pt x="113348" y="76200"/>
                  </a:cubicBezTo>
                  <a:lnTo>
                    <a:pt x="133350" y="76200"/>
                  </a:lnTo>
                  <a:close/>
                  <a:moveTo>
                    <a:pt x="66675" y="95250"/>
                  </a:moveTo>
                  <a:cubicBezTo>
                    <a:pt x="50482" y="95250"/>
                    <a:pt x="38100" y="82868"/>
                    <a:pt x="38100" y="66675"/>
                  </a:cubicBezTo>
                  <a:cubicBezTo>
                    <a:pt x="38100" y="50482"/>
                    <a:pt x="50482" y="38100"/>
                    <a:pt x="66675" y="38100"/>
                  </a:cubicBezTo>
                  <a:cubicBezTo>
                    <a:pt x="82868" y="38100"/>
                    <a:pt x="95250" y="50482"/>
                    <a:pt x="95250" y="66675"/>
                  </a:cubicBezTo>
                  <a:cubicBezTo>
                    <a:pt x="95250" y="82868"/>
                    <a:pt x="82868" y="95250"/>
                    <a:pt x="66675" y="95250"/>
                  </a:cubicBez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81" name="Freeform 80">
              <a:extLst>
                <a:ext uri="{FF2B5EF4-FFF2-40B4-BE49-F238E27FC236}">
                  <a16:creationId xmlns:a16="http://schemas.microsoft.com/office/drawing/2014/main" id="{195202F8-4616-02AF-A299-CFA414B99A9F}"/>
                </a:ext>
              </a:extLst>
            </p:cNvPr>
            <p:cNvSpPr/>
            <p:nvPr/>
          </p:nvSpPr>
          <p:spPr>
            <a:xfrm>
              <a:off x="2522709" y="10288679"/>
              <a:ext cx="238125" cy="123825"/>
            </a:xfrm>
            <a:custGeom>
              <a:avLst/>
              <a:gdLst>
                <a:gd name="connsiteX0" fmla="*/ 161925 w 238125"/>
                <a:gd name="connsiteY0" fmla="*/ 66675 h 123825"/>
                <a:gd name="connsiteX1" fmla="*/ 211455 w 238125"/>
                <a:gd name="connsiteY1" fmla="*/ 66675 h 123825"/>
                <a:gd name="connsiteX2" fmla="*/ 66675 w 238125"/>
                <a:gd name="connsiteY2" fmla="*/ 36195 h 123825"/>
                <a:gd name="connsiteX3" fmla="*/ 19050 w 238125"/>
                <a:gd name="connsiteY3" fmla="*/ 123825 h 123825"/>
                <a:gd name="connsiteX4" fmla="*/ 0 w 238125"/>
                <a:gd name="connsiteY4" fmla="*/ 123825 h 123825"/>
                <a:gd name="connsiteX5" fmla="*/ 123825 w 238125"/>
                <a:gd name="connsiteY5" fmla="*/ 0 h 123825"/>
                <a:gd name="connsiteX6" fmla="*/ 219075 w 238125"/>
                <a:gd name="connsiteY6" fmla="*/ 44768 h 123825"/>
                <a:gd name="connsiteX7" fmla="*/ 219075 w 238125"/>
                <a:gd name="connsiteY7" fmla="*/ 9525 h 123825"/>
                <a:gd name="connsiteX8" fmla="*/ 238125 w 238125"/>
                <a:gd name="connsiteY8" fmla="*/ 9525 h 123825"/>
                <a:gd name="connsiteX9" fmla="*/ 238125 w 238125"/>
                <a:gd name="connsiteY9" fmla="*/ 85725 h 123825"/>
                <a:gd name="connsiteX10" fmla="*/ 161925 w 238125"/>
                <a:gd name="connsiteY10" fmla="*/ 85725 h 123825"/>
                <a:gd name="connsiteX11" fmla="*/ 161925 w 238125"/>
                <a:gd name="connsiteY11" fmla="*/ 6667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8125" h="123825">
                  <a:moveTo>
                    <a:pt x="161925" y="66675"/>
                  </a:moveTo>
                  <a:lnTo>
                    <a:pt x="211455" y="66675"/>
                  </a:lnTo>
                  <a:cubicBezTo>
                    <a:pt x="180023" y="18098"/>
                    <a:pt x="115253" y="4763"/>
                    <a:pt x="66675" y="36195"/>
                  </a:cubicBezTo>
                  <a:cubicBezTo>
                    <a:pt x="37148" y="55245"/>
                    <a:pt x="19050" y="88583"/>
                    <a:pt x="19050" y="123825"/>
                  </a:cubicBezTo>
                  <a:lnTo>
                    <a:pt x="0" y="123825"/>
                  </a:lnTo>
                  <a:cubicBezTo>
                    <a:pt x="0" y="55245"/>
                    <a:pt x="55245" y="0"/>
                    <a:pt x="123825" y="0"/>
                  </a:cubicBezTo>
                  <a:cubicBezTo>
                    <a:pt x="160973" y="0"/>
                    <a:pt x="195263" y="16192"/>
                    <a:pt x="219075" y="44768"/>
                  </a:cubicBezTo>
                  <a:lnTo>
                    <a:pt x="219075" y="9525"/>
                  </a:lnTo>
                  <a:lnTo>
                    <a:pt x="238125" y="9525"/>
                  </a:lnTo>
                  <a:lnTo>
                    <a:pt x="238125" y="85725"/>
                  </a:lnTo>
                  <a:lnTo>
                    <a:pt x="161925" y="85725"/>
                  </a:lnTo>
                  <a:lnTo>
                    <a:pt x="161925" y="66675"/>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grpSp>
      <p:grpSp>
        <p:nvGrpSpPr>
          <p:cNvPr id="252" name="Group 251">
            <a:extLst>
              <a:ext uri="{FF2B5EF4-FFF2-40B4-BE49-F238E27FC236}">
                <a16:creationId xmlns:a16="http://schemas.microsoft.com/office/drawing/2014/main" id="{2A1545A0-4BEF-D399-E7E2-7384F05FAA11}"/>
              </a:ext>
            </a:extLst>
          </p:cNvPr>
          <p:cNvGrpSpPr/>
          <p:nvPr/>
        </p:nvGrpSpPr>
        <p:grpSpPr>
          <a:xfrm>
            <a:off x="7565019" y="1426185"/>
            <a:ext cx="5257800" cy="1371600"/>
            <a:chOff x="6655930" y="-2488019"/>
            <a:chExt cx="5257800" cy="1371600"/>
          </a:xfrm>
        </p:grpSpPr>
        <p:sp>
          <p:nvSpPr>
            <p:cNvPr id="250" name="Rectangle 249">
              <a:extLst>
                <a:ext uri="{FF2B5EF4-FFF2-40B4-BE49-F238E27FC236}">
                  <a16:creationId xmlns:a16="http://schemas.microsoft.com/office/drawing/2014/main" id="{D2F48754-91DE-E1BE-A679-71DA1D88F913}"/>
                </a:ext>
              </a:extLst>
            </p:cNvPr>
            <p:cNvSpPr/>
            <p:nvPr/>
          </p:nvSpPr>
          <p:spPr bwMode="auto">
            <a:xfrm>
              <a:off x="6655930" y="-2488019"/>
              <a:ext cx="5257800" cy="1371600"/>
            </a:xfrm>
            <a:prstGeom prst="rect">
              <a:avLst/>
            </a:prstGeom>
            <a:solidFill>
              <a:schemeClr val="bg1"/>
            </a:solidFill>
            <a:ln w="19050">
              <a:noFill/>
              <a:headEnd type="none" w="med" len="med"/>
              <a:tailEnd type="none" w="med" len="med"/>
            </a:ln>
            <a:effectLst>
              <a:outerShdw blurRad="1270000" sx="100309" sy="100309" algn="ctr" rotWithShape="0">
                <a:prstClr val="black">
                  <a:alpha val="10229"/>
                </a:prstClr>
              </a:outerShd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grpSp>
          <p:nvGrpSpPr>
            <p:cNvPr id="251" name="Group 250">
              <a:extLst>
                <a:ext uri="{FF2B5EF4-FFF2-40B4-BE49-F238E27FC236}">
                  <a16:creationId xmlns:a16="http://schemas.microsoft.com/office/drawing/2014/main" id="{48485377-421A-1F83-C7AF-E050DAA71ACB}"/>
                </a:ext>
              </a:extLst>
            </p:cNvPr>
            <p:cNvGrpSpPr/>
            <p:nvPr/>
          </p:nvGrpSpPr>
          <p:grpSpPr>
            <a:xfrm>
              <a:off x="7232566" y="-2145119"/>
              <a:ext cx="4104528" cy="685800"/>
              <a:chOff x="7135915" y="-2145119"/>
              <a:chExt cx="4104528" cy="685800"/>
            </a:xfrm>
          </p:grpSpPr>
          <p:sp>
            <p:nvSpPr>
              <p:cNvPr id="219" name="Freeform 218">
                <a:extLst>
                  <a:ext uri="{FF2B5EF4-FFF2-40B4-BE49-F238E27FC236}">
                    <a16:creationId xmlns:a16="http://schemas.microsoft.com/office/drawing/2014/main" id="{D6FDF3D1-4C6F-AC0D-37CB-3C1C82429CBA}"/>
                  </a:ext>
                </a:extLst>
              </p:cNvPr>
              <p:cNvSpPr/>
              <p:nvPr/>
            </p:nvSpPr>
            <p:spPr>
              <a:xfrm>
                <a:off x="7135915" y="-2131403"/>
                <a:ext cx="401193" cy="658368"/>
              </a:xfrm>
              <a:custGeom>
                <a:avLst/>
                <a:gdLst>
                  <a:gd name="connsiteX0" fmla="*/ 393478 w 401193"/>
                  <a:gd name="connsiteY0" fmla="*/ 658368 h 658368"/>
                  <a:gd name="connsiteX1" fmla="*/ 7715 w 401193"/>
                  <a:gd name="connsiteY1" fmla="*/ 658368 h 658368"/>
                  <a:gd name="connsiteX2" fmla="*/ 0 w 401193"/>
                  <a:gd name="connsiteY2" fmla="*/ 650653 h 658368"/>
                  <a:gd name="connsiteX3" fmla="*/ 0 w 401193"/>
                  <a:gd name="connsiteY3" fmla="*/ 7715 h 658368"/>
                  <a:gd name="connsiteX4" fmla="*/ 7715 w 401193"/>
                  <a:gd name="connsiteY4" fmla="*/ 0 h 658368"/>
                  <a:gd name="connsiteX5" fmla="*/ 393478 w 401193"/>
                  <a:gd name="connsiteY5" fmla="*/ 0 h 658368"/>
                  <a:gd name="connsiteX6" fmla="*/ 401193 w 401193"/>
                  <a:gd name="connsiteY6" fmla="*/ 7715 h 658368"/>
                  <a:gd name="connsiteX7" fmla="*/ 401193 w 401193"/>
                  <a:gd name="connsiteY7" fmla="*/ 650653 h 658368"/>
                  <a:gd name="connsiteX8" fmla="*/ 393478 w 401193"/>
                  <a:gd name="connsiteY8" fmla="*/ 658368 h 658368"/>
                  <a:gd name="connsiteX9" fmla="*/ 15431 w 401193"/>
                  <a:gd name="connsiteY9" fmla="*/ 642938 h 658368"/>
                  <a:gd name="connsiteX10" fmla="*/ 385763 w 401193"/>
                  <a:gd name="connsiteY10" fmla="*/ 642938 h 658368"/>
                  <a:gd name="connsiteX11" fmla="*/ 385763 w 401193"/>
                  <a:gd name="connsiteY11" fmla="*/ 508349 h 658368"/>
                  <a:gd name="connsiteX12" fmla="*/ 15431 w 401193"/>
                  <a:gd name="connsiteY12" fmla="*/ 508349 h 658368"/>
                  <a:gd name="connsiteX13" fmla="*/ 15431 w 401193"/>
                  <a:gd name="connsiteY13" fmla="*/ 642938 h 658368"/>
                  <a:gd name="connsiteX14" fmla="*/ 15431 w 401193"/>
                  <a:gd name="connsiteY14" fmla="*/ 492919 h 658368"/>
                  <a:gd name="connsiteX15" fmla="*/ 385763 w 401193"/>
                  <a:gd name="connsiteY15" fmla="*/ 492919 h 658368"/>
                  <a:gd name="connsiteX16" fmla="*/ 385763 w 401193"/>
                  <a:gd name="connsiteY16" fmla="*/ 15431 h 658368"/>
                  <a:gd name="connsiteX17" fmla="*/ 15431 w 401193"/>
                  <a:gd name="connsiteY17" fmla="*/ 15431 h 658368"/>
                  <a:gd name="connsiteX18" fmla="*/ 15431 w 401193"/>
                  <a:gd name="connsiteY18" fmla="*/ 492919 h 658368"/>
                  <a:gd name="connsiteX19" fmla="*/ 222028 w 401193"/>
                  <a:gd name="connsiteY19" fmla="*/ 575643 h 658368"/>
                  <a:gd name="connsiteX20" fmla="*/ 200597 w 401193"/>
                  <a:gd name="connsiteY20" fmla="*/ 554212 h 658368"/>
                  <a:gd name="connsiteX21" fmla="*/ 179165 w 401193"/>
                  <a:gd name="connsiteY21" fmla="*/ 575643 h 658368"/>
                  <a:gd name="connsiteX22" fmla="*/ 200597 w 401193"/>
                  <a:gd name="connsiteY22" fmla="*/ 597075 h 658368"/>
                  <a:gd name="connsiteX23" fmla="*/ 222028 w 401193"/>
                  <a:gd name="connsiteY23" fmla="*/ 575643 h 65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01193" h="658368">
                    <a:moveTo>
                      <a:pt x="393478" y="658368"/>
                    </a:moveTo>
                    <a:lnTo>
                      <a:pt x="7715" y="658368"/>
                    </a:lnTo>
                    <a:cubicBezTo>
                      <a:pt x="3450" y="658368"/>
                      <a:pt x="0" y="654918"/>
                      <a:pt x="0" y="650653"/>
                    </a:cubicBezTo>
                    <a:lnTo>
                      <a:pt x="0" y="7715"/>
                    </a:lnTo>
                    <a:cubicBezTo>
                      <a:pt x="0" y="3450"/>
                      <a:pt x="3450" y="0"/>
                      <a:pt x="7715" y="0"/>
                    </a:cubicBezTo>
                    <a:lnTo>
                      <a:pt x="393478" y="0"/>
                    </a:lnTo>
                    <a:cubicBezTo>
                      <a:pt x="397743" y="0"/>
                      <a:pt x="401193" y="3450"/>
                      <a:pt x="401193" y="7715"/>
                    </a:cubicBezTo>
                    <a:lnTo>
                      <a:pt x="401193" y="650653"/>
                    </a:lnTo>
                    <a:cubicBezTo>
                      <a:pt x="401193" y="654918"/>
                      <a:pt x="397743" y="658368"/>
                      <a:pt x="393478" y="658368"/>
                    </a:cubicBezTo>
                    <a:close/>
                    <a:moveTo>
                      <a:pt x="15431" y="642938"/>
                    </a:moveTo>
                    <a:lnTo>
                      <a:pt x="385763" y="642938"/>
                    </a:lnTo>
                    <a:lnTo>
                      <a:pt x="385763" y="508349"/>
                    </a:lnTo>
                    <a:lnTo>
                      <a:pt x="15431" y="508349"/>
                    </a:lnTo>
                    <a:lnTo>
                      <a:pt x="15431" y="642938"/>
                    </a:lnTo>
                    <a:close/>
                    <a:moveTo>
                      <a:pt x="15431" y="492919"/>
                    </a:moveTo>
                    <a:lnTo>
                      <a:pt x="385763" y="492919"/>
                    </a:lnTo>
                    <a:lnTo>
                      <a:pt x="385763" y="15431"/>
                    </a:lnTo>
                    <a:lnTo>
                      <a:pt x="15431" y="15431"/>
                    </a:lnTo>
                    <a:lnTo>
                      <a:pt x="15431" y="492919"/>
                    </a:lnTo>
                    <a:close/>
                    <a:moveTo>
                      <a:pt x="222028" y="575643"/>
                    </a:moveTo>
                    <a:cubicBezTo>
                      <a:pt x="222028" y="563813"/>
                      <a:pt x="212427" y="554212"/>
                      <a:pt x="200597" y="554212"/>
                    </a:cubicBezTo>
                    <a:cubicBezTo>
                      <a:pt x="188766" y="554212"/>
                      <a:pt x="179165" y="563813"/>
                      <a:pt x="179165" y="575643"/>
                    </a:cubicBezTo>
                    <a:cubicBezTo>
                      <a:pt x="179165" y="587473"/>
                      <a:pt x="188766" y="597075"/>
                      <a:pt x="200597" y="597075"/>
                    </a:cubicBezTo>
                    <a:cubicBezTo>
                      <a:pt x="212427" y="597075"/>
                      <a:pt x="222028" y="587473"/>
                      <a:pt x="222028" y="575643"/>
                    </a:cubicBezTo>
                    <a:close/>
                  </a:path>
                </a:pathLst>
              </a:custGeom>
              <a:solidFill>
                <a:srgbClr val="000000"/>
              </a:solidFill>
              <a:ln w="21431"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212" name="Graphic 211">
                <a:extLst>
                  <a:ext uri="{FF2B5EF4-FFF2-40B4-BE49-F238E27FC236}">
                    <a16:creationId xmlns:a16="http://schemas.microsoft.com/office/drawing/2014/main" id="{656EC08D-D70B-D3EB-D1DF-88CC507B6602}"/>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9320198" y="-2145119"/>
                <a:ext cx="685800" cy="685800"/>
              </a:xfrm>
              <a:prstGeom prst="rect">
                <a:avLst/>
              </a:prstGeom>
            </p:spPr>
          </p:pic>
          <p:pic>
            <p:nvPicPr>
              <p:cNvPr id="117" name="Graphic 116">
                <a:extLst>
                  <a:ext uri="{FF2B5EF4-FFF2-40B4-BE49-F238E27FC236}">
                    <a16:creationId xmlns:a16="http://schemas.microsoft.com/office/drawing/2014/main" id="{C09D8197-5BE1-0FF9-D876-997CBD91B211}"/>
                  </a:ext>
                </a:extLst>
              </p:cNvPr>
              <p:cNvPicPr>
                <a:picLocks noChangeAspect="1"/>
              </p:cNvPicPr>
              <p:nvPr/>
            </p:nvPicPr>
            <p:blipFill>
              <a:blip r:embed="rId29">
                <a:extLst>
                  <a:ext uri="{96DAC541-7B7A-43D3-8B79-37D633B846F1}">
                    <asvg:svgBlip xmlns:asvg="http://schemas.microsoft.com/office/drawing/2016/SVG/main" r:embed="rId30"/>
                  </a:ext>
                </a:extLst>
              </a:blip>
              <a:srcRect/>
              <a:stretch/>
            </p:blipFill>
            <p:spPr>
              <a:xfrm>
                <a:off x="10554643" y="-2145119"/>
                <a:ext cx="685800" cy="685800"/>
              </a:xfrm>
              <a:prstGeom prst="rect">
                <a:avLst/>
              </a:prstGeom>
            </p:spPr>
          </p:pic>
          <p:pic>
            <p:nvPicPr>
              <p:cNvPr id="119" name="Graphic 118">
                <a:extLst>
                  <a:ext uri="{FF2B5EF4-FFF2-40B4-BE49-F238E27FC236}">
                    <a16:creationId xmlns:a16="http://schemas.microsoft.com/office/drawing/2014/main" id="{1D475ECE-4355-189C-F04E-B1116C978C78}"/>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rot="5400000">
                <a:off x="8085753" y="-2145119"/>
                <a:ext cx="685800" cy="685800"/>
              </a:xfrm>
              <a:prstGeom prst="rect">
                <a:avLst/>
              </a:prstGeom>
            </p:spPr>
          </p:pic>
        </p:grpSp>
      </p:grpSp>
      <p:sp>
        <p:nvSpPr>
          <p:cNvPr id="253" name="TextBox 252">
            <a:extLst>
              <a:ext uri="{FF2B5EF4-FFF2-40B4-BE49-F238E27FC236}">
                <a16:creationId xmlns:a16="http://schemas.microsoft.com/office/drawing/2014/main" id="{73B2CAFE-0BD3-EC35-693A-F182FD84CC81}"/>
              </a:ext>
            </a:extLst>
          </p:cNvPr>
          <p:cNvSpPr txBox="1"/>
          <p:nvPr/>
        </p:nvSpPr>
        <p:spPr>
          <a:xfrm>
            <a:off x="4156245" y="1955266"/>
            <a:ext cx="3402195" cy="40216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chorCtr="0">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sym typeface="IBM Plex Sans Light"/>
              </a:rPr>
              <a:t>Engage via channels</a:t>
            </a:r>
            <a:endParaRPr kumimoji="0" lang="en-US" sz="28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5" name="TextBox 4">
            <a:extLst>
              <a:ext uri="{FF2B5EF4-FFF2-40B4-BE49-F238E27FC236}">
                <a16:creationId xmlns:a16="http://schemas.microsoft.com/office/drawing/2014/main" id="{056B1BED-85B1-3644-D5D6-6C1D9BE5542C}"/>
              </a:ext>
            </a:extLst>
          </p:cNvPr>
          <p:cNvSpPr txBox="1"/>
          <p:nvPr/>
        </p:nvSpPr>
        <p:spPr>
          <a:xfrm>
            <a:off x="4915737" y="7959555"/>
            <a:ext cx="3269763" cy="4001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r>
              <a:rPr kumimoji="0" lang="en-US" sz="2000" b="0" i="0" u="none" strike="noStrike" kern="0" cap="none" spc="180" normalizeH="0" baseline="0" noProof="0" dirty="0">
                <a:ln>
                  <a:noFill/>
                </a:ln>
                <a:solidFill>
                  <a:srgbClr val="FFFFFF"/>
                </a:solidFill>
                <a:effectLst/>
                <a:uLnTx/>
                <a:uFillTx/>
                <a:latin typeface="IBM Plex Sans" panose="020B0503050203000203" pitchFamily="34" charset="0"/>
                <a:ea typeface="+mn-ea"/>
                <a:cs typeface="+mn-cs"/>
                <a:sym typeface="IBM Plex Sans"/>
              </a:rPr>
              <a:t>Generative AI skills</a:t>
            </a:r>
            <a:endParaRPr lang="en-US" sz="2000" dirty="0"/>
          </a:p>
        </p:txBody>
      </p:sp>
      <p:sp>
        <p:nvSpPr>
          <p:cNvPr id="3" name="TextBox 2">
            <a:extLst>
              <a:ext uri="{FF2B5EF4-FFF2-40B4-BE49-F238E27FC236}">
                <a16:creationId xmlns:a16="http://schemas.microsoft.com/office/drawing/2014/main" id="{DECB6EBA-CD8F-A0BD-3F2D-3FD5B993C0EE}"/>
              </a:ext>
            </a:extLst>
          </p:cNvPr>
          <p:cNvSpPr txBox="1"/>
          <p:nvPr/>
        </p:nvSpPr>
        <p:spPr>
          <a:xfrm>
            <a:off x="18238440" y="2640992"/>
            <a:ext cx="5620444" cy="286232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371932" fontAlgn="base">
              <a:spcBef>
                <a:spcPts val="4600"/>
              </a:spcBef>
              <a:spcAft>
                <a:spcPct val="0"/>
              </a:spcAft>
              <a:buClr>
                <a:srgbClr val="6D6E70"/>
              </a:buClr>
              <a:buSzPct val="90000"/>
              <a:tabLst>
                <a:tab pos="5597526" algn="l"/>
              </a:tabLst>
              <a:defRPr/>
            </a:pPr>
            <a:r>
              <a:rPr lang="en-US" sz="3600" dirty="0">
                <a:solidFill>
                  <a:srgbClr val="000000"/>
                </a:solidFill>
              </a:rPr>
              <a:t>Democratize </a:t>
            </a:r>
            <a:br>
              <a:rPr lang="en-US" sz="3600" dirty="0">
                <a:solidFill>
                  <a:srgbClr val="000000"/>
                </a:solidFill>
              </a:rPr>
            </a:br>
            <a:r>
              <a:rPr lang="en-US" sz="3600" dirty="0">
                <a:solidFill>
                  <a:srgbClr val="000000"/>
                </a:solidFill>
              </a:rPr>
              <a:t>the availability </a:t>
            </a:r>
            <a:br>
              <a:rPr lang="en-US" sz="3600" dirty="0">
                <a:solidFill>
                  <a:srgbClr val="000000"/>
                </a:solidFill>
              </a:rPr>
            </a:br>
            <a:r>
              <a:rPr lang="en-US" sz="3600" dirty="0">
                <a:solidFill>
                  <a:srgbClr val="000000"/>
                </a:solidFill>
              </a:rPr>
              <a:t>of automation through natural language across multiple channels</a:t>
            </a:r>
          </a:p>
        </p:txBody>
      </p:sp>
      <p:sp>
        <p:nvSpPr>
          <p:cNvPr id="4" name="TextBox 3">
            <a:extLst>
              <a:ext uri="{FF2B5EF4-FFF2-40B4-BE49-F238E27FC236}">
                <a16:creationId xmlns:a16="http://schemas.microsoft.com/office/drawing/2014/main" id="{A79B84F0-6B2A-1488-9752-4BFF2D62C55A}"/>
              </a:ext>
            </a:extLst>
          </p:cNvPr>
          <p:cNvSpPr txBox="1"/>
          <p:nvPr/>
        </p:nvSpPr>
        <p:spPr>
          <a:xfrm>
            <a:off x="18265512" y="6758454"/>
            <a:ext cx="5593371" cy="230832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371932" fontAlgn="base">
              <a:spcBef>
                <a:spcPts val="4600"/>
              </a:spcBef>
              <a:spcAft>
                <a:spcPct val="0"/>
              </a:spcAft>
              <a:buClr>
                <a:srgbClr val="6D6E70"/>
              </a:buClr>
              <a:buSzPct val="90000"/>
              <a:tabLst>
                <a:tab pos="5597526" algn="l"/>
              </a:tabLst>
              <a:defRPr/>
            </a:pPr>
            <a:r>
              <a:rPr lang="en-US" sz="3600" dirty="0">
                <a:solidFill>
                  <a:srgbClr val="000000"/>
                </a:solidFill>
              </a:rPr>
              <a:t>Invoke advanced skills </a:t>
            </a:r>
            <a:br>
              <a:rPr lang="en-US" sz="3600" dirty="0">
                <a:solidFill>
                  <a:srgbClr val="000000"/>
                </a:solidFill>
              </a:rPr>
            </a:br>
            <a:r>
              <a:rPr lang="en-US" sz="3600" dirty="0">
                <a:solidFill>
                  <a:srgbClr val="000000"/>
                </a:solidFill>
              </a:rPr>
              <a:t>that leverage generative AI to accomplish </a:t>
            </a:r>
            <a:br>
              <a:rPr lang="en-US" sz="3600" dirty="0">
                <a:solidFill>
                  <a:srgbClr val="000000"/>
                </a:solidFill>
              </a:rPr>
            </a:br>
            <a:r>
              <a:rPr lang="en-US" sz="3600" dirty="0">
                <a:solidFill>
                  <a:srgbClr val="000000"/>
                </a:solidFill>
              </a:rPr>
              <a:t>net new tasks</a:t>
            </a:r>
          </a:p>
        </p:txBody>
      </p:sp>
      <p:sp>
        <p:nvSpPr>
          <p:cNvPr id="13" name="TextBox 12">
            <a:extLst>
              <a:ext uri="{FF2B5EF4-FFF2-40B4-BE49-F238E27FC236}">
                <a16:creationId xmlns:a16="http://schemas.microsoft.com/office/drawing/2014/main" id="{C8C5100F-8F04-D964-911E-C765BD315B04}"/>
              </a:ext>
            </a:extLst>
          </p:cNvPr>
          <p:cNvSpPr txBox="1"/>
          <p:nvPr/>
        </p:nvSpPr>
        <p:spPr>
          <a:xfrm>
            <a:off x="18417920" y="10321918"/>
            <a:ext cx="6200501" cy="1754326"/>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371932" fontAlgn="base">
              <a:spcBef>
                <a:spcPts val="4600"/>
              </a:spcBef>
              <a:spcAft>
                <a:spcPct val="0"/>
              </a:spcAft>
              <a:buClr>
                <a:srgbClr val="6D6E70"/>
              </a:buClr>
              <a:buSzPct val="90000"/>
              <a:tabLst>
                <a:tab pos="5597526" algn="l"/>
              </a:tabLst>
              <a:defRPr/>
            </a:pPr>
            <a:r>
              <a:rPr lang="en-US" sz="3600" dirty="0">
                <a:solidFill>
                  <a:srgbClr val="000000"/>
                </a:solidFill>
              </a:rPr>
              <a:t>Power AI assistant </a:t>
            </a:r>
            <a:br>
              <a:rPr lang="en-US" sz="3600" dirty="0">
                <a:solidFill>
                  <a:srgbClr val="000000"/>
                </a:solidFill>
              </a:rPr>
            </a:br>
            <a:r>
              <a:rPr lang="en-US" sz="3600" dirty="0">
                <a:solidFill>
                  <a:srgbClr val="000000"/>
                </a:solidFill>
              </a:rPr>
              <a:t>skills leveraging </a:t>
            </a:r>
            <a:br>
              <a:rPr lang="en-US" sz="3600" dirty="0">
                <a:solidFill>
                  <a:srgbClr val="000000"/>
                </a:solidFill>
              </a:rPr>
            </a:br>
            <a:r>
              <a:rPr lang="en-US" sz="3600" dirty="0">
                <a:solidFill>
                  <a:srgbClr val="000000"/>
                </a:solidFill>
              </a:rPr>
              <a:t>existing </a:t>
            </a:r>
            <a:r>
              <a:rPr lang="en-US" dirty="0">
                <a:solidFill>
                  <a:srgbClr val="000000"/>
                </a:solidFill>
              </a:rPr>
              <a:t>a</a:t>
            </a:r>
            <a:r>
              <a:rPr lang="en-US" sz="3600" dirty="0">
                <a:solidFill>
                  <a:srgbClr val="000000"/>
                </a:solidFill>
              </a:rPr>
              <a:t>utomation</a:t>
            </a:r>
          </a:p>
        </p:txBody>
      </p:sp>
      <p:sp>
        <p:nvSpPr>
          <p:cNvPr id="14" name="Oval 13">
            <a:extLst>
              <a:ext uri="{FF2B5EF4-FFF2-40B4-BE49-F238E27FC236}">
                <a16:creationId xmlns:a16="http://schemas.microsoft.com/office/drawing/2014/main" id="{FD439887-53FC-DBF0-EE2F-A39295A8FD41}"/>
              </a:ext>
            </a:extLst>
          </p:cNvPr>
          <p:cNvSpPr/>
          <p:nvPr/>
        </p:nvSpPr>
        <p:spPr bwMode="auto">
          <a:xfrm>
            <a:off x="16751554" y="3118717"/>
            <a:ext cx="1162050" cy="1214013"/>
          </a:xfrm>
          <a:prstGeom prst="ellipse">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b="0" i="0" u="none" strike="noStrike" cap="none" normalizeH="0" baseline="0" dirty="0">
                <a:ln>
                  <a:noFill/>
                </a:ln>
                <a:solidFill>
                  <a:schemeClr val="tx1"/>
                </a:solidFill>
                <a:effectLst/>
                <a:latin typeface="+mn-lt"/>
              </a:rPr>
              <a:t>1</a:t>
            </a:r>
            <a:endParaRPr kumimoji="0" lang="en-US" sz="1400" b="0" i="0" u="none" strike="noStrike" cap="none" normalizeH="0" baseline="0" dirty="0">
              <a:ln>
                <a:noFill/>
              </a:ln>
              <a:solidFill>
                <a:schemeClr val="tx1"/>
              </a:solidFill>
              <a:effectLst/>
              <a:latin typeface="+mn-lt"/>
            </a:endParaRPr>
          </a:p>
        </p:txBody>
      </p:sp>
      <p:sp>
        <p:nvSpPr>
          <p:cNvPr id="15" name="Oval 14">
            <a:extLst>
              <a:ext uri="{FF2B5EF4-FFF2-40B4-BE49-F238E27FC236}">
                <a16:creationId xmlns:a16="http://schemas.microsoft.com/office/drawing/2014/main" id="{00E151BC-0140-9A98-3E49-D40E0B803206}"/>
              </a:ext>
            </a:extLst>
          </p:cNvPr>
          <p:cNvSpPr/>
          <p:nvPr/>
        </p:nvSpPr>
        <p:spPr bwMode="auto">
          <a:xfrm>
            <a:off x="16818084" y="7024679"/>
            <a:ext cx="1162050" cy="1214013"/>
          </a:xfrm>
          <a:prstGeom prst="ellipse">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b="0" i="0" u="none" strike="noStrike" cap="none" normalizeH="0" baseline="0" dirty="0">
                <a:ln>
                  <a:noFill/>
                </a:ln>
                <a:solidFill>
                  <a:schemeClr val="tx1"/>
                </a:solidFill>
                <a:effectLst/>
                <a:latin typeface="+mn-lt"/>
              </a:rPr>
              <a:t>2</a:t>
            </a:r>
            <a:endParaRPr kumimoji="0" lang="en-US" sz="1400" b="0" i="0" u="none" strike="noStrike" cap="none" normalizeH="0" baseline="0" dirty="0">
              <a:ln>
                <a:noFill/>
              </a:ln>
              <a:solidFill>
                <a:schemeClr val="tx1"/>
              </a:solidFill>
              <a:effectLst/>
              <a:latin typeface="+mn-lt"/>
            </a:endParaRPr>
          </a:p>
        </p:txBody>
      </p:sp>
      <p:sp>
        <p:nvSpPr>
          <p:cNvPr id="16" name="Oval 15">
            <a:extLst>
              <a:ext uri="{FF2B5EF4-FFF2-40B4-BE49-F238E27FC236}">
                <a16:creationId xmlns:a16="http://schemas.microsoft.com/office/drawing/2014/main" id="{302CEA02-1E6E-90D5-58EF-8C911049B04A}"/>
              </a:ext>
            </a:extLst>
          </p:cNvPr>
          <p:cNvSpPr/>
          <p:nvPr/>
        </p:nvSpPr>
        <p:spPr bwMode="auto">
          <a:xfrm>
            <a:off x="16818084" y="10592075"/>
            <a:ext cx="1162050" cy="1214013"/>
          </a:xfrm>
          <a:prstGeom prst="ellipse">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b="0" i="0" u="none" strike="noStrike" cap="none" normalizeH="0" baseline="0" dirty="0">
                <a:ln>
                  <a:noFill/>
                </a:ln>
                <a:solidFill>
                  <a:schemeClr val="tx1"/>
                </a:solidFill>
                <a:effectLst/>
                <a:latin typeface="+mn-lt"/>
              </a:rPr>
              <a:t>3</a:t>
            </a:r>
            <a:endParaRPr kumimoji="0" lang="en-US" sz="1400" b="0" i="0" u="none" strike="noStrike" cap="none" normalizeH="0" baseline="0" dirty="0">
              <a:ln>
                <a:noFill/>
              </a:ln>
              <a:solidFill>
                <a:schemeClr val="tx1"/>
              </a:solidFill>
              <a:effectLst/>
              <a:latin typeface="+mn-lt"/>
            </a:endParaRPr>
          </a:p>
        </p:txBody>
      </p:sp>
      <p:sp>
        <p:nvSpPr>
          <p:cNvPr id="2" name="Title 1">
            <a:extLst>
              <a:ext uri="{FF2B5EF4-FFF2-40B4-BE49-F238E27FC236}">
                <a16:creationId xmlns:a16="http://schemas.microsoft.com/office/drawing/2014/main" id="{7E1961C3-40F7-CD06-BC2E-499CECEF4E0A}"/>
              </a:ext>
            </a:extLst>
          </p:cNvPr>
          <p:cNvSpPr>
            <a:spLocks noGrp="1"/>
          </p:cNvSpPr>
          <p:nvPr>
            <p:ph type="title"/>
          </p:nvPr>
        </p:nvSpPr>
        <p:spPr>
          <a:xfrm>
            <a:off x="576072" y="385200"/>
            <a:ext cx="23282811" cy="1527048"/>
          </a:xfrm>
        </p:spPr>
        <p:txBody>
          <a:bodyPr/>
          <a:lstStyle/>
          <a:p>
            <a:r>
              <a:rPr kumimoji="0" lang="en-US" b="0" i="0" u="none" strike="noStrike" kern="0" cap="none" spc="0" normalizeH="0" baseline="0" noProof="0" dirty="0">
                <a:ln>
                  <a:noFill/>
                </a:ln>
                <a:solidFill>
                  <a:srgbClr val="000000"/>
                </a:solidFill>
                <a:effectLst/>
                <a:uLnTx/>
                <a:uFillTx/>
                <a:latin typeface="+mj-lt"/>
                <a:ea typeface="+mn-ea"/>
                <a:cs typeface="Arial"/>
                <a:sym typeface="Arial"/>
              </a:rPr>
              <a:t>watsonx Orchestrate: </a:t>
            </a:r>
            <a:r>
              <a:rPr lang="en-US" kern="0" dirty="0">
                <a:solidFill>
                  <a:srgbClr val="000000"/>
                </a:solidFill>
                <a:latin typeface="+mj-lt"/>
                <a:cs typeface="Arial"/>
                <a:sym typeface="Arial"/>
              </a:rPr>
              <a:t>AI assistants for </a:t>
            </a:r>
            <a:r>
              <a:rPr lang="en-US" i="1" kern="0" dirty="0">
                <a:solidFill>
                  <a:schemeClr val="accent1"/>
                </a:solidFill>
                <a:latin typeface="+mj-lt"/>
                <a:cs typeface="Arial"/>
                <a:sym typeface="Arial"/>
              </a:rPr>
              <a:t>enterprise productivity</a:t>
            </a:r>
            <a:br>
              <a:rPr kumimoji="0" lang="en-US" i="1" u="none" strike="noStrike" kern="0" cap="none" spc="0" normalizeH="0" baseline="0" noProof="0" dirty="0">
                <a:ln>
                  <a:noFill/>
                </a:ln>
                <a:solidFill>
                  <a:schemeClr val="accent1"/>
                </a:solidFill>
                <a:effectLst/>
                <a:uLnTx/>
                <a:uFillTx/>
                <a:latin typeface="+mj-lt"/>
                <a:cs typeface="Arial"/>
                <a:sym typeface="Arial"/>
              </a:rPr>
            </a:br>
            <a:endParaRPr lang="en-US" dirty="0">
              <a:latin typeface="+mj-lt"/>
            </a:endParaRPr>
          </a:p>
        </p:txBody>
      </p:sp>
      <p:sp>
        <p:nvSpPr>
          <p:cNvPr id="10" name="TextBox 9">
            <a:extLst>
              <a:ext uri="{FF2B5EF4-FFF2-40B4-BE49-F238E27FC236}">
                <a16:creationId xmlns:a16="http://schemas.microsoft.com/office/drawing/2014/main" id="{0C49B73D-C7EB-C5E0-7B0E-27CF32909251}"/>
              </a:ext>
            </a:extLst>
          </p:cNvPr>
          <p:cNvSpPr txBox="1"/>
          <p:nvPr/>
        </p:nvSpPr>
        <p:spPr>
          <a:xfrm>
            <a:off x="6252041" y="5254660"/>
            <a:ext cx="927640" cy="52322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gn="ctr"/>
            <a:r>
              <a:rPr kumimoji="0" lang="en-US" sz="2800" b="0" i="0" u="none" strike="noStrike" kern="1200" cap="none" spc="0" normalizeH="0" baseline="0" noProof="0" dirty="0">
                <a:ln>
                  <a:noFill/>
                </a:ln>
                <a:solidFill>
                  <a:sysClr val="windowText" lastClr="000000"/>
                </a:solidFill>
                <a:effectLst/>
                <a:uLnTx/>
                <a:uFillTx/>
                <a:latin typeface="IBM Plex Sans Light"/>
                <a:ea typeface="+mn-ea"/>
                <a:cs typeface="+mn-cs"/>
              </a:rPr>
              <a:t>HR</a:t>
            </a:r>
            <a:endParaRPr lang="en-US" sz="2800" dirty="0"/>
          </a:p>
        </p:txBody>
      </p:sp>
      <p:sp>
        <p:nvSpPr>
          <p:cNvPr id="12" name="TextBox 11">
            <a:extLst>
              <a:ext uri="{FF2B5EF4-FFF2-40B4-BE49-F238E27FC236}">
                <a16:creationId xmlns:a16="http://schemas.microsoft.com/office/drawing/2014/main" id="{8E5BD08D-EF8B-073E-BC93-8C9F5159C17A}"/>
              </a:ext>
            </a:extLst>
          </p:cNvPr>
          <p:cNvSpPr txBox="1"/>
          <p:nvPr/>
        </p:nvSpPr>
        <p:spPr>
          <a:xfrm>
            <a:off x="8539941" y="5254660"/>
            <a:ext cx="2918780" cy="52322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gn="ctr"/>
            <a:r>
              <a:rPr kumimoji="0" lang="en-US" sz="2800" b="0" i="0" u="none" strike="noStrike" kern="1200" cap="none" spc="0" normalizeH="0" baseline="0" noProof="0" dirty="0">
                <a:ln>
                  <a:noFill/>
                </a:ln>
                <a:solidFill>
                  <a:sysClr val="windowText" lastClr="000000"/>
                </a:solidFill>
                <a:effectLst/>
                <a:uLnTx/>
                <a:uFillTx/>
                <a:latin typeface="IBM Plex Sans Light"/>
                <a:ea typeface="+mn-ea"/>
                <a:cs typeface="+mn-cs"/>
              </a:rPr>
              <a:t>Procurement</a:t>
            </a:r>
            <a:endParaRPr lang="en-US" sz="2800" dirty="0"/>
          </a:p>
        </p:txBody>
      </p:sp>
      <p:sp>
        <p:nvSpPr>
          <p:cNvPr id="17" name="TextBox 16">
            <a:extLst>
              <a:ext uri="{FF2B5EF4-FFF2-40B4-BE49-F238E27FC236}">
                <a16:creationId xmlns:a16="http://schemas.microsoft.com/office/drawing/2014/main" id="{3C8295F2-CF8C-3DE4-9D4B-F9C4F3A8B6CC}"/>
              </a:ext>
            </a:extLst>
          </p:cNvPr>
          <p:cNvSpPr txBox="1"/>
          <p:nvPr/>
        </p:nvSpPr>
        <p:spPr>
          <a:xfrm>
            <a:off x="11932022" y="5241704"/>
            <a:ext cx="2918780" cy="52322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gn="ctr"/>
            <a:r>
              <a:rPr kumimoji="0" lang="en-US" sz="2800" b="0" i="0" u="none" strike="noStrike" kern="1200" cap="none" spc="0" normalizeH="0" baseline="0" noProof="0" dirty="0">
                <a:ln>
                  <a:noFill/>
                </a:ln>
                <a:solidFill>
                  <a:sysClr val="windowText" lastClr="000000"/>
                </a:solidFill>
                <a:effectLst/>
                <a:uLnTx/>
                <a:uFillTx/>
                <a:latin typeface="IBM Plex Sans Light"/>
                <a:ea typeface="+mn-ea"/>
                <a:cs typeface="+mn-cs"/>
              </a:rPr>
              <a:t>Sales</a:t>
            </a:r>
            <a:endParaRPr lang="en-US" sz="2800" dirty="0"/>
          </a:p>
        </p:txBody>
      </p:sp>
      <p:sp>
        <p:nvSpPr>
          <p:cNvPr id="19" name="TextBox 18">
            <a:extLst>
              <a:ext uri="{FF2B5EF4-FFF2-40B4-BE49-F238E27FC236}">
                <a16:creationId xmlns:a16="http://schemas.microsoft.com/office/drawing/2014/main" id="{2FD6DD37-E049-35C7-12EE-15137C2CECBB}"/>
              </a:ext>
            </a:extLst>
          </p:cNvPr>
          <p:cNvSpPr txBox="1"/>
          <p:nvPr/>
        </p:nvSpPr>
        <p:spPr>
          <a:xfrm>
            <a:off x="8797913" y="5747804"/>
            <a:ext cx="12316690" cy="169392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914400" rtl="0" eaLnBrk="1" fontAlgn="base" latinLnBrk="0" hangingPunct="1">
              <a:lnSpc>
                <a:spcPct val="150000"/>
              </a:lnSpc>
              <a:spcBef>
                <a:spcPct val="0"/>
              </a:spcBef>
              <a:spcAft>
                <a:spcPct val="0"/>
              </a:spcAft>
              <a:buClrTx/>
              <a:buSzTx/>
              <a:buFontTx/>
              <a:buNone/>
              <a:tabLst>
                <a:tab pos="398463" algn="l"/>
              </a:tabLst>
              <a:defRPr/>
            </a:pP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	Create new PO</a:t>
            </a:r>
          </a:p>
          <a:p>
            <a:pPr marL="0" marR="0" lvl="0" indent="0" algn="l" defTabSz="914400" rtl="0" eaLnBrk="1" fontAlgn="base" latinLnBrk="0" hangingPunct="1">
              <a:lnSpc>
                <a:spcPct val="150000"/>
              </a:lnSpc>
              <a:spcBef>
                <a:spcPct val="0"/>
              </a:spcBef>
              <a:spcAft>
                <a:spcPct val="0"/>
              </a:spcAft>
              <a:buClrTx/>
              <a:buSzTx/>
              <a:buFontTx/>
              <a:buNone/>
              <a:tabLst>
                <a:tab pos="398463" algn="l"/>
              </a:tabLst>
              <a:defRPr/>
            </a:pP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	Pay supplier</a:t>
            </a:r>
          </a:p>
          <a:p>
            <a:pPr marL="0" marR="0" lvl="0" indent="0" algn="l" defTabSz="914400" rtl="0" eaLnBrk="1" fontAlgn="base" latinLnBrk="0" hangingPunct="1">
              <a:lnSpc>
                <a:spcPct val="150000"/>
              </a:lnSpc>
              <a:spcBef>
                <a:spcPct val="0"/>
              </a:spcBef>
              <a:spcAft>
                <a:spcPct val="0"/>
              </a:spcAft>
              <a:buClrTx/>
              <a:buSzTx/>
              <a:buFontTx/>
              <a:buNone/>
              <a:tabLst>
                <a:tab pos="398463" algn="l"/>
              </a:tabLst>
              <a:defRPr/>
            </a:pP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	Process invoices</a:t>
            </a:r>
          </a:p>
        </p:txBody>
      </p:sp>
    </p:spTree>
    <p:extLst>
      <p:ext uri="{BB962C8B-B14F-4D97-AF65-F5344CB8AC3E}">
        <p14:creationId xmlns:p14="http://schemas.microsoft.com/office/powerpoint/2010/main" val="10551489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9" name="Group 248">
            <a:extLst>
              <a:ext uri="{FF2B5EF4-FFF2-40B4-BE49-F238E27FC236}">
                <a16:creationId xmlns:a16="http://schemas.microsoft.com/office/drawing/2014/main" id="{C34D3CF1-46E9-79CA-7DF4-F94A17AC6B2E}"/>
              </a:ext>
            </a:extLst>
          </p:cNvPr>
          <p:cNvGrpSpPr/>
          <p:nvPr/>
        </p:nvGrpSpPr>
        <p:grpSpPr>
          <a:xfrm>
            <a:off x="457340" y="4546581"/>
            <a:ext cx="3306920" cy="2376263"/>
            <a:chOff x="15770678" y="2163900"/>
            <a:chExt cx="2264914" cy="1282304"/>
          </a:xfrm>
        </p:grpSpPr>
        <p:grpSp>
          <p:nvGrpSpPr>
            <p:cNvPr id="209" name="Group 208">
              <a:extLst>
                <a:ext uri="{FF2B5EF4-FFF2-40B4-BE49-F238E27FC236}">
                  <a16:creationId xmlns:a16="http://schemas.microsoft.com/office/drawing/2014/main" id="{FE1D0279-BB41-4CD1-5188-0153305D6B09}"/>
                </a:ext>
              </a:extLst>
            </p:cNvPr>
            <p:cNvGrpSpPr>
              <a:grpSpLocks noChangeAspect="1"/>
            </p:cNvGrpSpPr>
            <p:nvPr/>
          </p:nvGrpSpPr>
          <p:grpSpPr>
            <a:xfrm>
              <a:off x="15770678" y="2163900"/>
              <a:ext cx="988946" cy="890848"/>
              <a:chOff x="14506031" y="2481651"/>
              <a:chExt cx="2373469" cy="2138036"/>
            </a:xfrm>
          </p:grpSpPr>
          <p:sp>
            <p:nvSpPr>
              <p:cNvPr id="213" name="Hexagon 212">
                <a:extLst>
                  <a:ext uri="{FF2B5EF4-FFF2-40B4-BE49-F238E27FC236}">
                    <a16:creationId xmlns:a16="http://schemas.microsoft.com/office/drawing/2014/main" id="{794CCD4A-410C-4F0E-A2A0-D93302DB3426}"/>
                  </a:ext>
                </a:extLst>
              </p:cNvPr>
              <p:cNvSpPr>
                <a:spLocks noChangeAspect="1"/>
              </p:cNvSpPr>
              <p:nvPr/>
            </p:nvSpPr>
            <p:spPr bwMode="auto">
              <a:xfrm rot="16200000">
                <a:off x="14623748" y="2363934"/>
                <a:ext cx="2138036" cy="2373469"/>
              </a:xfrm>
              <a:prstGeom prst="hexagon">
                <a:avLst/>
              </a:prstGeom>
              <a:solidFill>
                <a:srgbClr val="D9FBFB"/>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algn="ctr" defTabSz="914218" fontAlgn="base">
                  <a:spcBef>
                    <a:spcPct val="0"/>
                  </a:spcBef>
                  <a:spcAft>
                    <a:spcPct val="0"/>
                  </a:spcAft>
                  <a:defRPr/>
                </a:pPr>
                <a:endParaRPr lang="en-US" sz="2800" dirty="0">
                  <a:solidFill>
                    <a:srgbClr val="000000"/>
                  </a:solidFill>
                  <a:latin typeface="IBM Plex Sans Text" panose="020B0503050203000203" pitchFamily="34" charset="0"/>
                  <a:sym typeface="Helvetica Neue"/>
                </a:endParaRPr>
              </a:p>
            </p:txBody>
          </p:sp>
          <p:pic>
            <p:nvPicPr>
              <p:cNvPr id="214" name="Graphic 213">
                <a:extLst>
                  <a:ext uri="{FF2B5EF4-FFF2-40B4-BE49-F238E27FC236}">
                    <a16:creationId xmlns:a16="http://schemas.microsoft.com/office/drawing/2014/main" id="{9B227E6E-47C4-B4B8-5807-69A3648AEB41}"/>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5093832" y="2793579"/>
                <a:ext cx="1197864" cy="1197864"/>
              </a:xfrm>
              <a:prstGeom prst="rect">
                <a:avLst/>
              </a:prstGeom>
            </p:spPr>
          </p:pic>
        </p:grpSp>
        <p:sp>
          <p:nvSpPr>
            <p:cNvPr id="211" name="TextBox 210">
              <a:extLst>
                <a:ext uri="{FF2B5EF4-FFF2-40B4-BE49-F238E27FC236}">
                  <a16:creationId xmlns:a16="http://schemas.microsoft.com/office/drawing/2014/main" id="{9B3ED3FE-187E-FF40-39A1-D88146483A77}"/>
                </a:ext>
              </a:extLst>
            </p:cNvPr>
            <p:cNvSpPr txBox="1"/>
            <p:nvPr/>
          </p:nvSpPr>
          <p:spPr>
            <a:xfrm>
              <a:off x="15855328" y="3163859"/>
              <a:ext cx="2180264" cy="28234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a:spAutoFit/>
            </a:bodyPr>
            <a:lstStyle/>
            <a:p>
              <a:pPr defTabSz="1829014">
                <a:defRPr/>
              </a:pPr>
              <a:r>
                <a:rPr lang="en-US" sz="2800" dirty="0">
                  <a:solidFill>
                    <a:srgbClr val="000000"/>
                  </a:solidFill>
                  <a:latin typeface="IBM Plex Sans" panose="020B0503050203000203" pitchFamily="34" charset="0"/>
                  <a:sym typeface="Helvetica Neue"/>
                </a:rPr>
                <a:t>Builders</a:t>
              </a:r>
              <a:endParaRPr lang="en-US" sz="2800" dirty="0">
                <a:solidFill>
                  <a:srgbClr val="000000"/>
                </a:solidFill>
                <a:latin typeface="IBM Plex Sans Light"/>
                <a:sym typeface="Helvetica Neue"/>
              </a:endParaRPr>
            </a:p>
          </p:txBody>
        </p:sp>
      </p:grpSp>
      <p:sp>
        <p:nvSpPr>
          <p:cNvPr id="150" name="Freeform 149">
            <a:extLst>
              <a:ext uri="{FF2B5EF4-FFF2-40B4-BE49-F238E27FC236}">
                <a16:creationId xmlns:a16="http://schemas.microsoft.com/office/drawing/2014/main" id="{025AA89A-D4B4-CE47-C462-E65C37B031F6}"/>
              </a:ext>
            </a:extLst>
          </p:cNvPr>
          <p:cNvSpPr/>
          <p:nvPr/>
        </p:nvSpPr>
        <p:spPr>
          <a:xfrm>
            <a:off x="11699462" y="6361804"/>
            <a:ext cx="304368" cy="304760"/>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sp>
        <p:nvSpPr>
          <p:cNvPr id="153" name="Freeform 152">
            <a:extLst>
              <a:ext uri="{FF2B5EF4-FFF2-40B4-BE49-F238E27FC236}">
                <a16:creationId xmlns:a16="http://schemas.microsoft.com/office/drawing/2014/main" id="{3F7C2C6F-D6FF-176F-5A11-C7344AC13A8B}"/>
              </a:ext>
            </a:extLst>
          </p:cNvPr>
          <p:cNvSpPr/>
          <p:nvPr/>
        </p:nvSpPr>
        <p:spPr>
          <a:xfrm>
            <a:off x="11699462" y="4382124"/>
            <a:ext cx="304368" cy="304760"/>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sp>
        <p:nvSpPr>
          <p:cNvPr id="156" name="Freeform 155">
            <a:extLst>
              <a:ext uri="{FF2B5EF4-FFF2-40B4-BE49-F238E27FC236}">
                <a16:creationId xmlns:a16="http://schemas.microsoft.com/office/drawing/2014/main" id="{BDEC1202-E2B6-360B-1602-68EDF7BDF85B}"/>
              </a:ext>
            </a:extLst>
          </p:cNvPr>
          <p:cNvSpPr/>
          <p:nvPr/>
        </p:nvSpPr>
        <p:spPr>
          <a:xfrm>
            <a:off x="11699462" y="8341486"/>
            <a:ext cx="304368" cy="304760"/>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sp>
        <p:nvSpPr>
          <p:cNvPr id="158" name="Freeform 157">
            <a:extLst>
              <a:ext uri="{FF2B5EF4-FFF2-40B4-BE49-F238E27FC236}">
                <a16:creationId xmlns:a16="http://schemas.microsoft.com/office/drawing/2014/main" id="{A7C96E63-EED2-6C7D-9C12-98ABDC55752B}"/>
              </a:ext>
            </a:extLst>
          </p:cNvPr>
          <p:cNvSpPr/>
          <p:nvPr/>
        </p:nvSpPr>
        <p:spPr>
          <a:xfrm rot="10800000">
            <a:off x="9644974" y="10324948"/>
            <a:ext cx="304368" cy="304760"/>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grpSp>
        <p:nvGrpSpPr>
          <p:cNvPr id="243" name="Group 242">
            <a:extLst>
              <a:ext uri="{FF2B5EF4-FFF2-40B4-BE49-F238E27FC236}">
                <a16:creationId xmlns:a16="http://schemas.microsoft.com/office/drawing/2014/main" id="{CFC90A0D-4FF8-F248-2FD7-EF010ED0C8C7}"/>
              </a:ext>
            </a:extLst>
          </p:cNvPr>
          <p:cNvGrpSpPr/>
          <p:nvPr/>
        </p:nvGrpSpPr>
        <p:grpSpPr>
          <a:xfrm>
            <a:off x="2598213" y="2316076"/>
            <a:ext cx="13350556" cy="10307373"/>
            <a:chOff x="12525100" y="4117965"/>
            <a:chExt cx="10277856" cy="8983795"/>
          </a:xfrm>
        </p:grpSpPr>
        <p:sp>
          <p:nvSpPr>
            <p:cNvPr id="142" name="Rectangle 141">
              <a:extLst>
                <a:ext uri="{FF2B5EF4-FFF2-40B4-BE49-F238E27FC236}">
                  <a16:creationId xmlns:a16="http://schemas.microsoft.com/office/drawing/2014/main" id="{A6AA274A-D2F3-8CF3-13C5-E41EAA1FD5C8}"/>
                </a:ext>
              </a:extLst>
            </p:cNvPr>
            <p:cNvSpPr/>
            <p:nvPr/>
          </p:nvSpPr>
          <p:spPr bwMode="auto">
            <a:xfrm>
              <a:off x="12525100" y="4117965"/>
              <a:ext cx="10277856" cy="8983795"/>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8" fontAlgn="base">
                <a:spcBef>
                  <a:spcPct val="0"/>
                </a:spcBef>
                <a:spcAft>
                  <a:spcPct val="0"/>
                </a:spcAft>
                <a:defRPr/>
              </a:pPr>
              <a:endParaRPr lang="en-US" sz="1400" dirty="0">
                <a:solidFill>
                  <a:srgbClr val="FFFFFF"/>
                </a:solidFill>
                <a:latin typeface="IBM Plex Sans Light"/>
                <a:sym typeface="Helvetica Neue"/>
              </a:endParaRPr>
            </a:p>
          </p:txBody>
        </p:sp>
        <p:grpSp>
          <p:nvGrpSpPr>
            <p:cNvPr id="239" name="Group 238">
              <a:extLst>
                <a:ext uri="{FF2B5EF4-FFF2-40B4-BE49-F238E27FC236}">
                  <a16:creationId xmlns:a16="http://schemas.microsoft.com/office/drawing/2014/main" id="{026E2705-F2DA-B03D-194D-67804A471562}"/>
                </a:ext>
              </a:extLst>
            </p:cNvPr>
            <p:cNvGrpSpPr/>
            <p:nvPr/>
          </p:nvGrpSpPr>
          <p:grpSpPr>
            <a:xfrm>
              <a:off x="15057732" y="6551939"/>
              <a:ext cx="7305795" cy="1755648"/>
              <a:chOff x="15057732" y="6551939"/>
              <a:chExt cx="7305795" cy="1755648"/>
            </a:xfrm>
          </p:grpSpPr>
          <p:sp>
            <p:nvSpPr>
              <p:cNvPr id="147" name="Rectangle 146">
                <a:extLst>
                  <a:ext uri="{FF2B5EF4-FFF2-40B4-BE49-F238E27FC236}">
                    <a16:creationId xmlns:a16="http://schemas.microsoft.com/office/drawing/2014/main" id="{C7E64EAE-DE84-A839-AE2B-4506F79FE147}"/>
                  </a:ext>
                </a:extLst>
              </p:cNvPr>
              <p:cNvSpPr/>
              <p:nvPr/>
            </p:nvSpPr>
            <p:spPr bwMode="auto">
              <a:xfrm>
                <a:off x="15057732" y="6551939"/>
                <a:ext cx="7305795" cy="1755648"/>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570" tIns="228570" rIns="228570" bIns="228570" numCol="1" rtlCol="0" anchor="t" anchorCtr="0" compatLnSpc="1">
                <a:prstTxWarp prst="textNoShape">
                  <a:avLst/>
                </a:prstTxWarp>
              </a:bodyPr>
              <a:lstStyle/>
              <a:p>
                <a:pPr defTabSz="914218" fontAlgn="base">
                  <a:spcBef>
                    <a:spcPct val="0"/>
                  </a:spcBef>
                  <a:spcAft>
                    <a:spcPct val="0"/>
                  </a:spcAft>
                  <a:defRPr/>
                </a:pPr>
                <a:r>
                  <a:rPr lang="en-US" sz="2000" dirty="0">
                    <a:solidFill>
                      <a:srgbClr val="0F62FE"/>
                    </a:solidFill>
                    <a:latin typeface="IBM Plex Sans" panose="020B0503050203000203" pitchFamily="34" charset="0"/>
                    <a:sym typeface="Helvetica Neue"/>
                  </a:rPr>
                  <a:t>       Skills catalog </a:t>
                </a:r>
              </a:p>
              <a:p>
                <a:pPr defTabSz="914218" fontAlgn="base">
                  <a:spcBef>
                    <a:spcPct val="0"/>
                  </a:spcBef>
                  <a:spcAft>
                    <a:spcPct val="0"/>
                  </a:spcAft>
                  <a:defRPr/>
                </a:pPr>
                <a:endParaRPr lang="en-US" sz="2000" dirty="0">
                  <a:solidFill>
                    <a:srgbClr val="0F62FE"/>
                  </a:solidFill>
                  <a:latin typeface="IBM Plex Sans" panose="020B0503050203000203" pitchFamily="34" charset="0"/>
                  <a:sym typeface="Helvetica Neue"/>
                </a:endParaRPr>
              </a:p>
              <a:p>
                <a:pPr defTabSz="914218" fontAlgn="base">
                  <a:spcBef>
                    <a:spcPct val="0"/>
                  </a:spcBef>
                  <a:spcAft>
                    <a:spcPct val="0"/>
                  </a:spcAft>
                  <a:defRPr/>
                </a:pPr>
                <a:r>
                  <a:rPr lang="en-US" sz="2000" dirty="0">
                    <a:solidFill>
                      <a:sysClr val="windowText" lastClr="000000"/>
                    </a:solidFill>
                    <a:latin typeface="IBM Plex Sans Light" panose="020B0403050203000203" pitchFamily="34" charset="0"/>
                    <a:sym typeface="Helvetica Neue"/>
                  </a:rPr>
                  <a:t>Invoke 1000s of pre-built skills for HR, Finance, Procurement, and sales.</a:t>
                </a:r>
                <a:br>
                  <a:rPr lang="en-US" sz="2000" dirty="0">
                    <a:solidFill>
                      <a:sysClr val="windowText" lastClr="000000"/>
                    </a:solidFill>
                    <a:latin typeface="IBM Plex Sans Light" panose="020B0403050203000203" pitchFamily="34" charset="0"/>
                    <a:sym typeface="Helvetica Neue"/>
                  </a:rPr>
                </a:br>
                <a:r>
                  <a:rPr lang="en-US" sz="2000" dirty="0">
                    <a:solidFill>
                      <a:prstClr val="black"/>
                    </a:solidFill>
                    <a:latin typeface="IBM Plex Sans Light" panose="020B0403050203000203" pitchFamily="34" charset="0"/>
                    <a:sym typeface="Helvetica Neue"/>
                  </a:rPr>
                  <a:t>CP4BA SaaS or On-Premise Capabilities are discovered when connected.</a:t>
                </a:r>
              </a:p>
              <a:p>
                <a:pPr defTabSz="914218" fontAlgn="base">
                  <a:spcBef>
                    <a:spcPts val="1600"/>
                  </a:spcBef>
                  <a:spcAft>
                    <a:spcPct val="0"/>
                  </a:spcAft>
                  <a:defRPr/>
                </a:pPr>
                <a:endParaRPr lang="en-US" sz="2000" dirty="0">
                  <a:solidFill>
                    <a:prstClr val="black"/>
                  </a:solidFill>
                  <a:latin typeface="IBM Plex Sans Light" panose="020B0403050203000203" pitchFamily="34" charset="0"/>
                  <a:sym typeface="Helvetica Neue"/>
                </a:endParaRPr>
              </a:p>
            </p:txBody>
          </p:sp>
          <p:sp>
            <p:nvSpPr>
              <p:cNvPr id="149" name="Freeform 148">
                <a:extLst>
                  <a:ext uri="{FF2B5EF4-FFF2-40B4-BE49-F238E27FC236}">
                    <a16:creationId xmlns:a16="http://schemas.microsoft.com/office/drawing/2014/main" id="{01ECE5A0-B517-0415-E11B-6575D9EC84BB}"/>
                  </a:ext>
                </a:extLst>
              </p:cNvPr>
              <p:cNvSpPr/>
              <p:nvPr/>
            </p:nvSpPr>
            <p:spPr>
              <a:xfrm>
                <a:off x="15261718" y="6767763"/>
                <a:ext cx="266357" cy="266700"/>
              </a:xfrm>
              <a:custGeom>
                <a:avLst/>
                <a:gdLst>
                  <a:gd name="connsiteX0" fmla="*/ 200978 w 266700"/>
                  <a:gd name="connsiteY0" fmla="*/ 133350 h 266700"/>
                  <a:gd name="connsiteX1" fmla="*/ 260985 w 266700"/>
                  <a:gd name="connsiteY1" fmla="*/ 73343 h 266700"/>
                  <a:gd name="connsiteX2" fmla="*/ 260985 w 266700"/>
                  <a:gd name="connsiteY2" fmla="*/ 46673 h 266700"/>
                  <a:gd name="connsiteX3" fmla="*/ 220980 w 266700"/>
                  <a:gd name="connsiteY3" fmla="*/ 6668 h 266700"/>
                  <a:gd name="connsiteX4" fmla="*/ 194310 w 266700"/>
                  <a:gd name="connsiteY4" fmla="*/ 6668 h 266700"/>
                  <a:gd name="connsiteX5" fmla="*/ 133350 w 266700"/>
                  <a:gd name="connsiteY5" fmla="*/ 65723 h 266700"/>
                  <a:gd name="connsiteX6" fmla="*/ 73343 w 266700"/>
                  <a:gd name="connsiteY6" fmla="*/ 5715 h 266700"/>
                  <a:gd name="connsiteX7" fmla="*/ 46673 w 266700"/>
                  <a:gd name="connsiteY7" fmla="*/ 5715 h 266700"/>
                  <a:gd name="connsiteX8" fmla="*/ 5715 w 266700"/>
                  <a:gd name="connsiteY8" fmla="*/ 45720 h 266700"/>
                  <a:gd name="connsiteX9" fmla="*/ 5715 w 266700"/>
                  <a:gd name="connsiteY9" fmla="*/ 72390 h 266700"/>
                  <a:gd name="connsiteX10" fmla="*/ 65723 w 266700"/>
                  <a:gd name="connsiteY10" fmla="*/ 133350 h 266700"/>
                  <a:gd name="connsiteX11" fmla="*/ 0 w 266700"/>
                  <a:gd name="connsiteY11" fmla="*/ 199073 h 266700"/>
                  <a:gd name="connsiteX12" fmla="*/ 0 w 266700"/>
                  <a:gd name="connsiteY12" fmla="*/ 266700 h 266700"/>
                  <a:gd name="connsiteX13" fmla="*/ 67628 w 266700"/>
                  <a:gd name="connsiteY13" fmla="*/ 266700 h 266700"/>
                  <a:gd name="connsiteX14" fmla="*/ 133350 w 266700"/>
                  <a:gd name="connsiteY14" fmla="*/ 200978 h 266700"/>
                  <a:gd name="connsiteX15" fmla="*/ 193358 w 266700"/>
                  <a:gd name="connsiteY15" fmla="*/ 260985 h 266700"/>
                  <a:gd name="connsiteX16" fmla="*/ 220028 w 266700"/>
                  <a:gd name="connsiteY16" fmla="*/ 260985 h 266700"/>
                  <a:gd name="connsiteX17" fmla="*/ 260033 w 266700"/>
                  <a:gd name="connsiteY17" fmla="*/ 220980 h 266700"/>
                  <a:gd name="connsiteX18" fmla="*/ 260033 w 266700"/>
                  <a:gd name="connsiteY18" fmla="*/ 194310 h 266700"/>
                  <a:gd name="connsiteX19" fmla="*/ 200978 w 266700"/>
                  <a:gd name="connsiteY19" fmla="*/ 133350 h 266700"/>
                  <a:gd name="connsiteX20" fmla="*/ 207645 w 266700"/>
                  <a:gd name="connsiteY20" fmla="*/ 19050 h 266700"/>
                  <a:gd name="connsiteX21" fmla="*/ 247650 w 266700"/>
                  <a:gd name="connsiteY21" fmla="*/ 59055 h 266700"/>
                  <a:gd name="connsiteX22" fmla="*/ 187643 w 266700"/>
                  <a:gd name="connsiteY22" fmla="*/ 119063 h 266700"/>
                  <a:gd name="connsiteX23" fmla="*/ 147638 w 266700"/>
                  <a:gd name="connsiteY23" fmla="*/ 79058 h 266700"/>
                  <a:gd name="connsiteX24" fmla="*/ 207645 w 266700"/>
                  <a:gd name="connsiteY24" fmla="*/ 19050 h 266700"/>
                  <a:gd name="connsiteX25" fmla="*/ 59055 w 266700"/>
                  <a:gd name="connsiteY25" fmla="*/ 247650 h 266700"/>
                  <a:gd name="connsiteX26" fmla="*/ 19050 w 266700"/>
                  <a:gd name="connsiteY26" fmla="*/ 247650 h 266700"/>
                  <a:gd name="connsiteX27" fmla="*/ 19050 w 266700"/>
                  <a:gd name="connsiteY27" fmla="*/ 207645 h 266700"/>
                  <a:gd name="connsiteX28" fmla="*/ 79058 w 266700"/>
                  <a:gd name="connsiteY28" fmla="*/ 147638 h 266700"/>
                  <a:gd name="connsiteX29" fmla="*/ 119063 w 266700"/>
                  <a:gd name="connsiteY29" fmla="*/ 187643 h 266700"/>
                  <a:gd name="connsiteX30" fmla="*/ 59055 w 266700"/>
                  <a:gd name="connsiteY30" fmla="*/ 247650 h 266700"/>
                  <a:gd name="connsiteX31" fmla="*/ 207645 w 266700"/>
                  <a:gd name="connsiteY31" fmla="*/ 247650 h 266700"/>
                  <a:gd name="connsiteX32" fmla="*/ 19050 w 266700"/>
                  <a:gd name="connsiteY32" fmla="*/ 59055 h 266700"/>
                  <a:gd name="connsiteX33" fmla="*/ 59055 w 266700"/>
                  <a:gd name="connsiteY33" fmla="*/ 19050 h 266700"/>
                  <a:gd name="connsiteX34" fmla="*/ 92393 w 266700"/>
                  <a:gd name="connsiteY34" fmla="*/ 52388 h 266700"/>
                  <a:gd name="connsiteX35" fmla="*/ 72390 w 266700"/>
                  <a:gd name="connsiteY35" fmla="*/ 72390 h 266700"/>
                  <a:gd name="connsiteX36" fmla="*/ 85725 w 266700"/>
                  <a:gd name="connsiteY36" fmla="*/ 85725 h 266700"/>
                  <a:gd name="connsiteX37" fmla="*/ 105728 w 266700"/>
                  <a:gd name="connsiteY37" fmla="*/ 65723 h 266700"/>
                  <a:gd name="connsiteX38" fmla="*/ 145733 w 266700"/>
                  <a:gd name="connsiteY38" fmla="*/ 105728 h 266700"/>
                  <a:gd name="connsiteX39" fmla="*/ 125730 w 266700"/>
                  <a:gd name="connsiteY39" fmla="*/ 125730 h 266700"/>
                  <a:gd name="connsiteX40" fmla="*/ 139065 w 266700"/>
                  <a:gd name="connsiteY40" fmla="*/ 139065 h 266700"/>
                  <a:gd name="connsiteX41" fmla="*/ 159068 w 266700"/>
                  <a:gd name="connsiteY41" fmla="*/ 119063 h 266700"/>
                  <a:gd name="connsiteX42" fmla="*/ 199073 w 266700"/>
                  <a:gd name="connsiteY42" fmla="*/ 159068 h 266700"/>
                  <a:gd name="connsiteX43" fmla="*/ 180975 w 266700"/>
                  <a:gd name="connsiteY43" fmla="*/ 180023 h 266700"/>
                  <a:gd name="connsiteX44" fmla="*/ 194310 w 266700"/>
                  <a:gd name="connsiteY44" fmla="*/ 193358 h 266700"/>
                  <a:gd name="connsiteX45" fmla="*/ 214313 w 266700"/>
                  <a:gd name="connsiteY45" fmla="*/ 173355 h 266700"/>
                  <a:gd name="connsiteX46" fmla="*/ 247650 w 266700"/>
                  <a:gd name="connsiteY46" fmla="*/ 206693 h 266700"/>
                  <a:gd name="connsiteX47" fmla="*/ 207645 w 266700"/>
                  <a:gd name="connsiteY47" fmla="*/ 2476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66700" h="266700">
                    <a:moveTo>
                      <a:pt x="200978" y="133350"/>
                    </a:moveTo>
                    <a:lnTo>
                      <a:pt x="260985" y="73343"/>
                    </a:lnTo>
                    <a:cubicBezTo>
                      <a:pt x="268605" y="65723"/>
                      <a:pt x="268605" y="54293"/>
                      <a:pt x="260985" y="46673"/>
                    </a:cubicBezTo>
                    <a:lnTo>
                      <a:pt x="220980" y="6668"/>
                    </a:lnTo>
                    <a:cubicBezTo>
                      <a:pt x="213360" y="-952"/>
                      <a:pt x="201930" y="-952"/>
                      <a:pt x="194310" y="6668"/>
                    </a:cubicBezTo>
                    <a:lnTo>
                      <a:pt x="133350" y="65723"/>
                    </a:lnTo>
                    <a:lnTo>
                      <a:pt x="73343" y="5715"/>
                    </a:lnTo>
                    <a:cubicBezTo>
                      <a:pt x="65723" y="-1905"/>
                      <a:pt x="54293" y="-1905"/>
                      <a:pt x="46673" y="5715"/>
                    </a:cubicBezTo>
                    <a:lnTo>
                      <a:pt x="5715" y="45720"/>
                    </a:lnTo>
                    <a:cubicBezTo>
                      <a:pt x="-1905" y="53340"/>
                      <a:pt x="-1905" y="64770"/>
                      <a:pt x="5715" y="72390"/>
                    </a:cubicBezTo>
                    <a:lnTo>
                      <a:pt x="65723" y="133350"/>
                    </a:lnTo>
                    <a:lnTo>
                      <a:pt x="0" y="199073"/>
                    </a:lnTo>
                    <a:lnTo>
                      <a:pt x="0" y="266700"/>
                    </a:lnTo>
                    <a:lnTo>
                      <a:pt x="67628" y="266700"/>
                    </a:lnTo>
                    <a:lnTo>
                      <a:pt x="133350" y="200978"/>
                    </a:lnTo>
                    <a:lnTo>
                      <a:pt x="193358" y="260985"/>
                    </a:lnTo>
                    <a:cubicBezTo>
                      <a:pt x="200978" y="268605"/>
                      <a:pt x="212408" y="268605"/>
                      <a:pt x="220028" y="260985"/>
                    </a:cubicBezTo>
                    <a:lnTo>
                      <a:pt x="260033" y="220980"/>
                    </a:lnTo>
                    <a:cubicBezTo>
                      <a:pt x="267653" y="213360"/>
                      <a:pt x="267653" y="201930"/>
                      <a:pt x="260033" y="194310"/>
                    </a:cubicBezTo>
                    <a:lnTo>
                      <a:pt x="200978" y="133350"/>
                    </a:lnTo>
                    <a:close/>
                    <a:moveTo>
                      <a:pt x="207645" y="19050"/>
                    </a:moveTo>
                    <a:lnTo>
                      <a:pt x="247650" y="59055"/>
                    </a:lnTo>
                    <a:lnTo>
                      <a:pt x="187643" y="119063"/>
                    </a:lnTo>
                    <a:lnTo>
                      <a:pt x="147638" y="79058"/>
                    </a:lnTo>
                    <a:lnTo>
                      <a:pt x="207645" y="19050"/>
                    </a:lnTo>
                    <a:close/>
                    <a:moveTo>
                      <a:pt x="59055" y="247650"/>
                    </a:moveTo>
                    <a:lnTo>
                      <a:pt x="19050" y="247650"/>
                    </a:lnTo>
                    <a:lnTo>
                      <a:pt x="19050" y="207645"/>
                    </a:lnTo>
                    <a:lnTo>
                      <a:pt x="79058" y="147638"/>
                    </a:lnTo>
                    <a:lnTo>
                      <a:pt x="119063" y="187643"/>
                    </a:lnTo>
                    <a:lnTo>
                      <a:pt x="59055" y="247650"/>
                    </a:lnTo>
                    <a:close/>
                    <a:moveTo>
                      <a:pt x="207645" y="247650"/>
                    </a:moveTo>
                    <a:lnTo>
                      <a:pt x="19050" y="59055"/>
                    </a:lnTo>
                    <a:lnTo>
                      <a:pt x="59055" y="19050"/>
                    </a:lnTo>
                    <a:lnTo>
                      <a:pt x="92393" y="52388"/>
                    </a:lnTo>
                    <a:lnTo>
                      <a:pt x="72390" y="72390"/>
                    </a:lnTo>
                    <a:lnTo>
                      <a:pt x="85725" y="85725"/>
                    </a:lnTo>
                    <a:lnTo>
                      <a:pt x="105728" y="65723"/>
                    </a:lnTo>
                    <a:lnTo>
                      <a:pt x="145733" y="105728"/>
                    </a:lnTo>
                    <a:lnTo>
                      <a:pt x="125730" y="125730"/>
                    </a:lnTo>
                    <a:lnTo>
                      <a:pt x="139065" y="139065"/>
                    </a:lnTo>
                    <a:lnTo>
                      <a:pt x="159068" y="119063"/>
                    </a:lnTo>
                    <a:lnTo>
                      <a:pt x="199073" y="159068"/>
                    </a:lnTo>
                    <a:lnTo>
                      <a:pt x="180975" y="180023"/>
                    </a:lnTo>
                    <a:lnTo>
                      <a:pt x="194310" y="193358"/>
                    </a:lnTo>
                    <a:lnTo>
                      <a:pt x="214313" y="173355"/>
                    </a:lnTo>
                    <a:lnTo>
                      <a:pt x="247650" y="206693"/>
                    </a:lnTo>
                    <a:lnTo>
                      <a:pt x="207645" y="247650"/>
                    </a:ln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grpSp>
        <p:grpSp>
          <p:nvGrpSpPr>
            <p:cNvPr id="238" name="Group 237">
              <a:extLst>
                <a:ext uri="{FF2B5EF4-FFF2-40B4-BE49-F238E27FC236}">
                  <a16:creationId xmlns:a16="http://schemas.microsoft.com/office/drawing/2014/main" id="{1F423FF9-5E6D-D442-AE99-0B19285A1B4E}"/>
                </a:ext>
              </a:extLst>
            </p:cNvPr>
            <p:cNvGrpSpPr/>
            <p:nvPr/>
          </p:nvGrpSpPr>
          <p:grpSpPr>
            <a:xfrm>
              <a:off x="15057732" y="4572000"/>
              <a:ext cx="7305795" cy="1755648"/>
              <a:chOff x="15057732" y="4572000"/>
              <a:chExt cx="7305795" cy="1755648"/>
            </a:xfrm>
          </p:grpSpPr>
          <p:sp>
            <p:nvSpPr>
              <p:cNvPr id="146" name="Rectangle 145">
                <a:extLst>
                  <a:ext uri="{FF2B5EF4-FFF2-40B4-BE49-F238E27FC236}">
                    <a16:creationId xmlns:a16="http://schemas.microsoft.com/office/drawing/2014/main" id="{D5EBFB5A-8A59-311B-1D45-C65A4270D2FD}"/>
                  </a:ext>
                </a:extLst>
              </p:cNvPr>
              <p:cNvSpPr/>
              <p:nvPr/>
            </p:nvSpPr>
            <p:spPr bwMode="auto">
              <a:xfrm>
                <a:off x="15057732" y="4572000"/>
                <a:ext cx="7305795" cy="1755648"/>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570" tIns="228570" rIns="228570" bIns="228570" numCol="1" rtlCol="0" anchor="t" anchorCtr="0" compatLnSpc="1">
                <a:prstTxWarp prst="textNoShape">
                  <a:avLst/>
                </a:prstTxWarp>
              </a:bodyPr>
              <a:lstStyle/>
              <a:p>
                <a:pPr defTabSz="914218" fontAlgn="base">
                  <a:spcBef>
                    <a:spcPct val="0"/>
                  </a:spcBef>
                  <a:spcAft>
                    <a:spcPct val="0"/>
                  </a:spcAft>
                  <a:defRPr/>
                </a:pPr>
                <a:r>
                  <a:rPr lang="en-US" sz="2000" dirty="0">
                    <a:solidFill>
                      <a:srgbClr val="0F62FE"/>
                    </a:solidFill>
                    <a:latin typeface="IBM Plex Sans"/>
                    <a:sym typeface="Helvetica Neue"/>
                  </a:rPr>
                  <a:t>       AI Assistant builder</a:t>
                </a:r>
                <a:endParaRPr lang="en-US" sz="2000" dirty="0">
                  <a:solidFill>
                    <a:sysClr val="windowText" lastClr="000000"/>
                  </a:solidFill>
                  <a:latin typeface="IBM Plex Sans"/>
                  <a:sym typeface="Helvetica Neue"/>
                </a:endParaRPr>
              </a:p>
              <a:p>
                <a:pPr defTabSz="914218" fontAlgn="base">
                  <a:spcBef>
                    <a:spcPts val="1600"/>
                  </a:spcBef>
                  <a:spcAft>
                    <a:spcPct val="0"/>
                  </a:spcAft>
                  <a:defRPr/>
                </a:pPr>
                <a:r>
                  <a:rPr lang="en-US" sz="2000" dirty="0">
                    <a:solidFill>
                      <a:sysClr val="windowText" lastClr="000000"/>
                    </a:solidFill>
                    <a:latin typeface="IBM Plex Sans Light"/>
                    <a:sym typeface="Helvetica Neue"/>
                  </a:rPr>
                  <a:t>Design and build custom AI Assistants that guide users through </a:t>
                </a:r>
                <a:br>
                  <a:rPr lang="en-US" sz="2000" dirty="0">
                    <a:solidFill>
                      <a:srgbClr val="FFFFFF"/>
                    </a:solidFill>
                    <a:latin typeface="IBM Plex Sans Light" panose="020B0403050203000203" pitchFamily="34" charset="0"/>
                    <a:sym typeface="Helvetica Neue"/>
                  </a:rPr>
                </a:br>
                <a:r>
                  <a:rPr lang="en-US" sz="2000" dirty="0">
                    <a:solidFill>
                      <a:sysClr val="windowText" lastClr="000000"/>
                    </a:solidFill>
                    <a:latin typeface="IBM Plex Sans Light"/>
                    <a:sym typeface="Helvetica Neue"/>
                  </a:rPr>
                  <a:t>complex Actions they are trying to take. Custom Assistants leverage LLMs to dynamically invoke Skills from the Catalog and from existing automations.</a:t>
                </a:r>
              </a:p>
            </p:txBody>
          </p:sp>
          <p:grpSp>
            <p:nvGrpSpPr>
              <p:cNvPr id="151" name="Group 150">
                <a:extLst>
                  <a:ext uri="{FF2B5EF4-FFF2-40B4-BE49-F238E27FC236}">
                    <a16:creationId xmlns:a16="http://schemas.microsoft.com/office/drawing/2014/main" id="{CD025BBF-FDB5-BBF2-C416-2033F673A1EE}"/>
                  </a:ext>
                </a:extLst>
              </p:cNvPr>
              <p:cNvGrpSpPr/>
              <p:nvPr/>
            </p:nvGrpSpPr>
            <p:grpSpPr>
              <a:xfrm>
                <a:off x="15261719" y="4806876"/>
                <a:ext cx="266357" cy="247650"/>
                <a:chOff x="15709736" y="4349675"/>
                <a:chExt cx="266700" cy="247650"/>
              </a:xfrm>
            </p:grpSpPr>
            <p:sp>
              <p:nvSpPr>
                <p:cNvPr id="203" name="Freeform 202">
                  <a:extLst>
                    <a:ext uri="{FF2B5EF4-FFF2-40B4-BE49-F238E27FC236}">
                      <a16:creationId xmlns:a16="http://schemas.microsoft.com/office/drawing/2014/main" id="{466E1B96-93B4-9BD9-0865-E1D4E99B369E}"/>
                    </a:ext>
                  </a:extLst>
                </p:cNvPr>
                <p:cNvSpPr/>
                <p:nvPr/>
              </p:nvSpPr>
              <p:spPr>
                <a:xfrm>
                  <a:off x="15709736" y="4349675"/>
                  <a:ext cx="266700" cy="247650"/>
                </a:xfrm>
                <a:custGeom>
                  <a:avLst/>
                  <a:gdLst>
                    <a:gd name="connsiteX0" fmla="*/ 149924 w 266700"/>
                    <a:gd name="connsiteY0" fmla="*/ 247650 h 247650"/>
                    <a:gd name="connsiteX1" fmla="*/ 133350 w 266700"/>
                    <a:gd name="connsiteY1" fmla="*/ 238125 h 247650"/>
                    <a:gd name="connsiteX2" fmla="*/ 171450 w 266700"/>
                    <a:gd name="connsiteY2" fmla="*/ 171450 h 247650"/>
                    <a:gd name="connsiteX3" fmla="*/ 228600 w 266700"/>
                    <a:gd name="connsiteY3" fmla="*/ 171450 h 247650"/>
                    <a:gd name="connsiteX4" fmla="*/ 247650 w 266700"/>
                    <a:gd name="connsiteY4" fmla="*/ 152400 h 247650"/>
                    <a:gd name="connsiteX5" fmla="*/ 247650 w 266700"/>
                    <a:gd name="connsiteY5" fmla="*/ 38100 h 247650"/>
                    <a:gd name="connsiteX6" fmla="*/ 228600 w 266700"/>
                    <a:gd name="connsiteY6" fmla="*/ 19050 h 247650"/>
                    <a:gd name="connsiteX7" fmla="*/ 38100 w 266700"/>
                    <a:gd name="connsiteY7" fmla="*/ 19050 h 247650"/>
                    <a:gd name="connsiteX8" fmla="*/ 19050 w 266700"/>
                    <a:gd name="connsiteY8" fmla="*/ 38100 h 247650"/>
                    <a:gd name="connsiteX9" fmla="*/ 19050 w 266700"/>
                    <a:gd name="connsiteY9" fmla="*/ 152400 h 247650"/>
                    <a:gd name="connsiteX10" fmla="*/ 38100 w 266700"/>
                    <a:gd name="connsiteY10" fmla="*/ 171450 h 247650"/>
                    <a:gd name="connsiteX11" fmla="*/ 123825 w 266700"/>
                    <a:gd name="connsiteY11" fmla="*/ 171450 h 247650"/>
                    <a:gd name="connsiteX12" fmla="*/ 123825 w 266700"/>
                    <a:gd name="connsiteY12" fmla="*/ 190500 h 247650"/>
                    <a:gd name="connsiteX13" fmla="*/ 38100 w 266700"/>
                    <a:gd name="connsiteY13" fmla="*/ 190500 h 247650"/>
                    <a:gd name="connsiteX14" fmla="*/ 0 w 266700"/>
                    <a:gd name="connsiteY14" fmla="*/ 152400 h 247650"/>
                    <a:gd name="connsiteX15" fmla="*/ 0 w 266700"/>
                    <a:gd name="connsiteY15" fmla="*/ 38100 h 247650"/>
                    <a:gd name="connsiteX16" fmla="*/ 38100 w 266700"/>
                    <a:gd name="connsiteY16" fmla="*/ 0 h 247650"/>
                    <a:gd name="connsiteX17" fmla="*/ 228600 w 266700"/>
                    <a:gd name="connsiteY17" fmla="*/ 0 h 247650"/>
                    <a:gd name="connsiteX18" fmla="*/ 266700 w 266700"/>
                    <a:gd name="connsiteY18" fmla="*/ 38100 h 247650"/>
                    <a:gd name="connsiteX19" fmla="*/ 266700 w 266700"/>
                    <a:gd name="connsiteY19" fmla="*/ 152400 h 247650"/>
                    <a:gd name="connsiteX20" fmla="*/ 228600 w 266700"/>
                    <a:gd name="connsiteY20" fmla="*/ 190500 h 247650"/>
                    <a:gd name="connsiteX21" fmla="*/ 182499 w 266700"/>
                    <a:gd name="connsiteY21" fmla="*/ 19050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6700" h="247650">
                      <a:moveTo>
                        <a:pt x="149924" y="247650"/>
                      </a:moveTo>
                      <a:lnTo>
                        <a:pt x="133350" y="238125"/>
                      </a:lnTo>
                      <a:lnTo>
                        <a:pt x="171450" y="171450"/>
                      </a:lnTo>
                      <a:lnTo>
                        <a:pt x="228600" y="171450"/>
                      </a:lnTo>
                      <a:cubicBezTo>
                        <a:pt x="239121" y="171450"/>
                        <a:pt x="247650" y="162921"/>
                        <a:pt x="247650" y="152400"/>
                      </a:cubicBezTo>
                      <a:lnTo>
                        <a:pt x="247650" y="38100"/>
                      </a:lnTo>
                      <a:cubicBezTo>
                        <a:pt x="247650" y="27579"/>
                        <a:pt x="239121" y="19050"/>
                        <a:pt x="228600" y="19050"/>
                      </a:cubicBezTo>
                      <a:lnTo>
                        <a:pt x="38100" y="19050"/>
                      </a:lnTo>
                      <a:cubicBezTo>
                        <a:pt x="27579" y="19050"/>
                        <a:pt x="19050" y="27579"/>
                        <a:pt x="19050" y="38100"/>
                      </a:cubicBezTo>
                      <a:lnTo>
                        <a:pt x="19050" y="152400"/>
                      </a:lnTo>
                      <a:cubicBezTo>
                        <a:pt x="19050" y="162921"/>
                        <a:pt x="27579" y="171450"/>
                        <a:pt x="38100" y="171450"/>
                      </a:cubicBezTo>
                      <a:lnTo>
                        <a:pt x="123825" y="171450"/>
                      </a:lnTo>
                      <a:lnTo>
                        <a:pt x="123825" y="190500"/>
                      </a:lnTo>
                      <a:lnTo>
                        <a:pt x="38100" y="190500"/>
                      </a:lnTo>
                      <a:cubicBezTo>
                        <a:pt x="17058" y="190500"/>
                        <a:pt x="0" y="173442"/>
                        <a:pt x="0" y="152400"/>
                      </a:cubicBezTo>
                      <a:lnTo>
                        <a:pt x="0" y="38100"/>
                      </a:lnTo>
                      <a:cubicBezTo>
                        <a:pt x="0" y="17058"/>
                        <a:pt x="17058" y="0"/>
                        <a:pt x="38100" y="0"/>
                      </a:cubicBezTo>
                      <a:lnTo>
                        <a:pt x="228600" y="0"/>
                      </a:lnTo>
                      <a:cubicBezTo>
                        <a:pt x="249642" y="0"/>
                        <a:pt x="266700" y="17058"/>
                        <a:pt x="266700" y="38100"/>
                      </a:cubicBezTo>
                      <a:lnTo>
                        <a:pt x="266700" y="152400"/>
                      </a:lnTo>
                      <a:cubicBezTo>
                        <a:pt x="266700" y="173442"/>
                        <a:pt x="249642" y="190500"/>
                        <a:pt x="228600" y="190500"/>
                      </a:cubicBezTo>
                      <a:lnTo>
                        <a:pt x="182499" y="190500"/>
                      </a:ln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sp>
              <p:nvSpPr>
                <p:cNvPr id="204" name="Freeform 203">
                  <a:extLst>
                    <a:ext uri="{FF2B5EF4-FFF2-40B4-BE49-F238E27FC236}">
                      <a16:creationId xmlns:a16="http://schemas.microsoft.com/office/drawing/2014/main" id="{3BEF1AD1-E160-6052-988A-BA7256872CE4}"/>
                    </a:ext>
                  </a:extLst>
                </p:cNvPr>
                <p:cNvSpPr/>
                <p:nvPr/>
              </p:nvSpPr>
              <p:spPr>
                <a:xfrm>
                  <a:off x="15766886" y="4406825"/>
                  <a:ext cx="152400" cy="19050"/>
                </a:xfrm>
                <a:custGeom>
                  <a:avLst/>
                  <a:gdLst>
                    <a:gd name="connsiteX0" fmla="*/ 0 w 152400"/>
                    <a:gd name="connsiteY0" fmla="*/ 0 h 19050"/>
                    <a:gd name="connsiteX1" fmla="*/ 152400 w 152400"/>
                    <a:gd name="connsiteY1" fmla="*/ 0 h 19050"/>
                    <a:gd name="connsiteX2" fmla="*/ 152400 w 152400"/>
                    <a:gd name="connsiteY2" fmla="*/ 19050 h 19050"/>
                    <a:gd name="connsiteX3" fmla="*/ 0 w 1524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52400" h="19050">
                      <a:moveTo>
                        <a:pt x="0" y="0"/>
                      </a:moveTo>
                      <a:lnTo>
                        <a:pt x="152400" y="0"/>
                      </a:lnTo>
                      <a:lnTo>
                        <a:pt x="152400" y="19050"/>
                      </a:lnTo>
                      <a:lnTo>
                        <a:pt x="0" y="19050"/>
                      </a:ln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sp>
              <p:nvSpPr>
                <p:cNvPr id="205" name="Freeform 204">
                  <a:extLst>
                    <a:ext uri="{FF2B5EF4-FFF2-40B4-BE49-F238E27FC236}">
                      <a16:creationId xmlns:a16="http://schemas.microsoft.com/office/drawing/2014/main" id="{416CBB03-F08C-FA87-1BCB-0E2A3FF9308D}"/>
                    </a:ext>
                  </a:extLst>
                </p:cNvPr>
                <p:cNvSpPr/>
                <p:nvPr/>
              </p:nvSpPr>
              <p:spPr>
                <a:xfrm>
                  <a:off x="15766886" y="446397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grpSp>
        </p:grpSp>
        <p:grpSp>
          <p:nvGrpSpPr>
            <p:cNvPr id="240" name="Group 239">
              <a:extLst>
                <a:ext uri="{FF2B5EF4-FFF2-40B4-BE49-F238E27FC236}">
                  <a16:creationId xmlns:a16="http://schemas.microsoft.com/office/drawing/2014/main" id="{D11BC626-EC73-871D-D371-88090FB77638}"/>
                </a:ext>
              </a:extLst>
            </p:cNvPr>
            <p:cNvGrpSpPr/>
            <p:nvPr/>
          </p:nvGrpSpPr>
          <p:grpSpPr>
            <a:xfrm>
              <a:off x="15057732" y="8531879"/>
              <a:ext cx="7305795" cy="1755648"/>
              <a:chOff x="15057732" y="8531879"/>
              <a:chExt cx="7305795" cy="1755648"/>
            </a:xfrm>
          </p:grpSpPr>
          <p:sp>
            <p:nvSpPr>
              <p:cNvPr id="145" name="Rectangle 144">
                <a:extLst>
                  <a:ext uri="{FF2B5EF4-FFF2-40B4-BE49-F238E27FC236}">
                    <a16:creationId xmlns:a16="http://schemas.microsoft.com/office/drawing/2014/main" id="{6D0703D7-23C6-FA43-DAF7-BF0B8EC8AD62}"/>
                  </a:ext>
                </a:extLst>
              </p:cNvPr>
              <p:cNvSpPr/>
              <p:nvPr/>
            </p:nvSpPr>
            <p:spPr bwMode="auto">
              <a:xfrm>
                <a:off x="15057732" y="8531879"/>
                <a:ext cx="7305795" cy="1755648"/>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570" tIns="228570" rIns="228570" bIns="228570" numCol="1" rtlCol="0" anchor="t" anchorCtr="0" compatLnSpc="1">
                <a:prstTxWarp prst="textNoShape">
                  <a:avLst/>
                </a:prstTxWarp>
              </a:bodyPr>
              <a:lstStyle/>
              <a:p>
                <a:pPr defTabSz="914218" fontAlgn="base">
                  <a:spcBef>
                    <a:spcPct val="0"/>
                  </a:spcBef>
                  <a:spcAft>
                    <a:spcPct val="0"/>
                  </a:spcAft>
                  <a:defRPr/>
                </a:pPr>
                <a:r>
                  <a:rPr lang="en-US" sz="2000" dirty="0">
                    <a:solidFill>
                      <a:srgbClr val="0F62FE"/>
                    </a:solidFill>
                    <a:latin typeface="IBM Plex Sans" panose="020B0503050203000203" pitchFamily="34" charset="0"/>
                    <a:sym typeface="Helvetica Neue"/>
                  </a:rPr>
                  <a:t>        Automation builder </a:t>
                </a:r>
              </a:p>
              <a:p>
                <a:pPr defTabSz="914218" fontAlgn="base">
                  <a:spcBef>
                    <a:spcPct val="0"/>
                  </a:spcBef>
                  <a:spcAft>
                    <a:spcPct val="0"/>
                  </a:spcAft>
                  <a:defRPr/>
                </a:pPr>
                <a:endParaRPr lang="en-US" sz="2000" dirty="0">
                  <a:solidFill>
                    <a:srgbClr val="0F62FE"/>
                  </a:solidFill>
                  <a:latin typeface="IBM Plex Sans" panose="020B0503050203000203" pitchFamily="34" charset="0"/>
                  <a:sym typeface="Helvetica Neue"/>
                </a:endParaRPr>
              </a:p>
              <a:p>
                <a:pPr defTabSz="914218" fontAlgn="base">
                  <a:spcBef>
                    <a:spcPct val="0"/>
                  </a:spcBef>
                  <a:spcAft>
                    <a:spcPct val="0"/>
                  </a:spcAft>
                  <a:defRPr/>
                </a:pPr>
                <a:r>
                  <a:rPr lang="en-US" sz="2000" dirty="0">
                    <a:solidFill>
                      <a:sysClr val="windowText" lastClr="000000"/>
                    </a:solidFill>
                    <a:latin typeface="IBM Plex Sans Light" panose="020B0403050203000203" pitchFamily="34" charset="0"/>
                    <a:sym typeface="Helvetica Neue"/>
                  </a:rPr>
                  <a:t>Create and manage low-code automations that combine automated decisions, tasks, </a:t>
                </a:r>
                <a:r>
                  <a:rPr lang="en-US" sz="2000" dirty="0" err="1">
                    <a:solidFill>
                      <a:sysClr val="windowText" lastClr="000000"/>
                    </a:solidFill>
                    <a:latin typeface="IBM Plex Sans Light" panose="020B0403050203000203" pitchFamily="34" charset="0"/>
                    <a:sym typeface="Helvetica Neue"/>
                  </a:rPr>
                  <a:t>GenAI</a:t>
                </a:r>
                <a:r>
                  <a:rPr lang="en-US" sz="2000" dirty="0">
                    <a:solidFill>
                      <a:sysClr val="windowText" lastClr="000000"/>
                    </a:solidFill>
                    <a:latin typeface="IBM Plex Sans Light" panose="020B0403050203000203" pitchFamily="34" charset="0"/>
                    <a:sym typeface="Helvetica Neue"/>
                  </a:rPr>
                  <a:t> services, and workflows in a single authoring experience to power AI assistants</a:t>
                </a:r>
              </a:p>
            </p:txBody>
          </p:sp>
          <p:grpSp>
            <p:nvGrpSpPr>
              <p:cNvPr id="155" name="Group 154">
                <a:extLst>
                  <a:ext uri="{FF2B5EF4-FFF2-40B4-BE49-F238E27FC236}">
                    <a16:creationId xmlns:a16="http://schemas.microsoft.com/office/drawing/2014/main" id="{1E554D90-1706-4077-74B8-B0A4A19CFFAB}"/>
                  </a:ext>
                </a:extLst>
              </p:cNvPr>
              <p:cNvGrpSpPr/>
              <p:nvPr/>
            </p:nvGrpSpPr>
            <p:grpSpPr>
              <a:xfrm>
                <a:off x="15242694" y="8747704"/>
                <a:ext cx="304408" cy="266700"/>
                <a:chOff x="15690686" y="8290504"/>
                <a:chExt cx="304800" cy="266700"/>
              </a:xfrm>
            </p:grpSpPr>
            <p:sp>
              <p:nvSpPr>
                <p:cNvPr id="182" name="Freeform 181">
                  <a:extLst>
                    <a:ext uri="{FF2B5EF4-FFF2-40B4-BE49-F238E27FC236}">
                      <a16:creationId xmlns:a16="http://schemas.microsoft.com/office/drawing/2014/main" id="{7DBAC46D-A0BA-AE66-D81E-04E6FAC1A06A}"/>
                    </a:ext>
                  </a:extLst>
                </p:cNvPr>
                <p:cNvSpPr/>
                <p:nvPr/>
              </p:nvSpPr>
              <p:spPr>
                <a:xfrm>
                  <a:off x="15690686" y="8385754"/>
                  <a:ext cx="180975" cy="142875"/>
                </a:xfrm>
                <a:custGeom>
                  <a:avLst/>
                  <a:gdLst>
                    <a:gd name="connsiteX0" fmla="*/ 47625 w 180975"/>
                    <a:gd name="connsiteY0" fmla="*/ 123825 h 142875"/>
                    <a:gd name="connsiteX1" fmla="*/ 47625 w 180975"/>
                    <a:gd name="connsiteY1" fmla="*/ 36463 h 142875"/>
                    <a:gd name="connsiteX2" fmla="*/ 13469 w 180975"/>
                    <a:gd name="connsiteY2" fmla="*/ 70619 h 142875"/>
                    <a:gd name="connsiteX3" fmla="*/ 0 w 180975"/>
                    <a:gd name="connsiteY3" fmla="*/ 57150 h 142875"/>
                    <a:gd name="connsiteX4" fmla="*/ 57150 w 180975"/>
                    <a:gd name="connsiteY4" fmla="*/ 0 h 142875"/>
                    <a:gd name="connsiteX5" fmla="*/ 114300 w 180975"/>
                    <a:gd name="connsiteY5" fmla="*/ 57150 h 142875"/>
                    <a:gd name="connsiteX6" fmla="*/ 100831 w 180975"/>
                    <a:gd name="connsiteY6" fmla="*/ 70619 h 142875"/>
                    <a:gd name="connsiteX7" fmla="*/ 66675 w 180975"/>
                    <a:gd name="connsiteY7" fmla="*/ 36463 h 142875"/>
                    <a:gd name="connsiteX8" fmla="*/ 66675 w 180975"/>
                    <a:gd name="connsiteY8" fmla="*/ 123825 h 142875"/>
                    <a:gd name="connsiteX9" fmla="*/ 180975 w 180975"/>
                    <a:gd name="connsiteY9" fmla="*/ 123825 h 142875"/>
                    <a:gd name="connsiteX10" fmla="*/ 180975 w 180975"/>
                    <a:gd name="connsiteY10" fmla="*/ 142875 h 142875"/>
                    <a:gd name="connsiteX11" fmla="*/ 66675 w 180975"/>
                    <a:gd name="connsiteY11" fmla="*/ 142875 h 142875"/>
                    <a:gd name="connsiteX12" fmla="*/ 47625 w 180975"/>
                    <a:gd name="connsiteY12" fmla="*/ 12382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975" h="142875">
                      <a:moveTo>
                        <a:pt x="47625" y="123825"/>
                      </a:moveTo>
                      <a:lnTo>
                        <a:pt x="47625" y="36463"/>
                      </a:lnTo>
                      <a:lnTo>
                        <a:pt x="13469" y="70619"/>
                      </a:lnTo>
                      <a:lnTo>
                        <a:pt x="0" y="57150"/>
                      </a:lnTo>
                      <a:lnTo>
                        <a:pt x="57150" y="0"/>
                      </a:lnTo>
                      <a:lnTo>
                        <a:pt x="114300" y="57150"/>
                      </a:lnTo>
                      <a:lnTo>
                        <a:pt x="100831" y="70619"/>
                      </a:lnTo>
                      <a:lnTo>
                        <a:pt x="66675" y="36463"/>
                      </a:lnTo>
                      <a:lnTo>
                        <a:pt x="66675" y="123825"/>
                      </a:lnTo>
                      <a:lnTo>
                        <a:pt x="180975" y="123825"/>
                      </a:lnTo>
                      <a:lnTo>
                        <a:pt x="180975" y="142875"/>
                      </a:lnTo>
                      <a:lnTo>
                        <a:pt x="66675" y="142875"/>
                      </a:lnTo>
                      <a:cubicBezTo>
                        <a:pt x="56159" y="142863"/>
                        <a:pt x="47638" y="134341"/>
                        <a:pt x="47625" y="123825"/>
                      </a:cubicBez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sp>
              <p:nvSpPr>
                <p:cNvPr id="183" name="Freeform 182">
                  <a:extLst>
                    <a:ext uri="{FF2B5EF4-FFF2-40B4-BE49-F238E27FC236}">
                      <a16:creationId xmlns:a16="http://schemas.microsoft.com/office/drawing/2014/main" id="{23274842-F9FF-C1F5-883E-0E6947AE4AF0}"/>
                    </a:ext>
                  </a:extLst>
                </p:cNvPr>
                <p:cNvSpPr/>
                <p:nvPr/>
              </p:nvSpPr>
              <p:spPr>
                <a:xfrm>
                  <a:off x="15900236" y="8481004"/>
                  <a:ext cx="76200" cy="76200"/>
                </a:xfrm>
                <a:custGeom>
                  <a:avLst/>
                  <a:gdLst>
                    <a:gd name="connsiteX0" fmla="*/ 19050 w 76200"/>
                    <a:gd name="connsiteY0" fmla="*/ 0 h 76200"/>
                    <a:gd name="connsiteX1" fmla="*/ 57150 w 76200"/>
                    <a:gd name="connsiteY1" fmla="*/ 0 h 76200"/>
                    <a:gd name="connsiteX2" fmla="*/ 76200 w 76200"/>
                    <a:gd name="connsiteY2" fmla="*/ 19050 h 76200"/>
                    <a:gd name="connsiteX3" fmla="*/ 76200 w 76200"/>
                    <a:gd name="connsiteY3" fmla="*/ 57150 h 76200"/>
                    <a:gd name="connsiteX4" fmla="*/ 57150 w 76200"/>
                    <a:gd name="connsiteY4" fmla="*/ 76200 h 76200"/>
                    <a:gd name="connsiteX5" fmla="*/ 19050 w 76200"/>
                    <a:gd name="connsiteY5" fmla="*/ 76200 h 76200"/>
                    <a:gd name="connsiteX6" fmla="*/ 0 w 76200"/>
                    <a:gd name="connsiteY6" fmla="*/ 57150 h 76200"/>
                    <a:gd name="connsiteX7" fmla="*/ 0 w 76200"/>
                    <a:gd name="connsiteY7" fmla="*/ 19050 h 76200"/>
                    <a:gd name="connsiteX8" fmla="*/ 19050 w 76200"/>
                    <a:gd name="connsiteY8" fmla="*/ 0 h 76200"/>
                    <a:gd name="connsiteX9" fmla="*/ 57150 w 76200"/>
                    <a:gd name="connsiteY9" fmla="*/ 57150 h 76200"/>
                    <a:gd name="connsiteX10" fmla="*/ 57150 w 76200"/>
                    <a:gd name="connsiteY10" fmla="*/ 19050 h 76200"/>
                    <a:gd name="connsiteX11" fmla="*/ 19036 w 76200"/>
                    <a:gd name="connsiteY11" fmla="*/ 19050 h 76200"/>
                    <a:gd name="connsiteX12" fmla="*/ 19050 w 76200"/>
                    <a:gd name="connsiteY12" fmla="*/ 571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200" h="76200">
                      <a:moveTo>
                        <a:pt x="19050" y="0"/>
                      </a:moveTo>
                      <a:lnTo>
                        <a:pt x="57150" y="0"/>
                      </a:lnTo>
                      <a:cubicBezTo>
                        <a:pt x="67667" y="10"/>
                        <a:pt x="76190" y="8533"/>
                        <a:pt x="76200" y="19050"/>
                      </a:cubicBezTo>
                      <a:lnTo>
                        <a:pt x="76200" y="57150"/>
                      </a:lnTo>
                      <a:cubicBezTo>
                        <a:pt x="76190" y="67667"/>
                        <a:pt x="67667" y="76190"/>
                        <a:pt x="57150" y="76200"/>
                      </a:cubicBezTo>
                      <a:lnTo>
                        <a:pt x="19050" y="76200"/>
                      </a:lnTo>
                      <a:cubicBezTo>
                        <a:pt x="8533" y="76190"/>
                        <a:pt x="10" y="67667"/>
                        <a:pt x="0" y="57150"/>
                      </a:cubicBezTo>
                      <a:lnTo>
                        <a:pt x="0" y="19050"/>
                      </a:lnTo>
                      <a:cubicBezTo>
                        <a:pt x="10" y="8533"/>
                        <a:pt x="8533" y="10"/>
                        <a:pt x="19050" y="0"/>
                      </a:cubicBezTo>
                      <a:close/>
                      <a:moveTo>
                        <a:pt x="57150" y="57150"/>
                      </a:moveTo>
                      <a:lnTo>
                        <a:pt x="57150" y="19050"/>
                      </a:lnTo>
                      <a:lnTo>
                        <a:pt x="19036" y="19050"/>
                      </a:lnTo>
                      <a:lnTo>
                        <a:pt x="19050" y="57150"/>
                      </a:ln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sp>
              <p:nvSpPr>
                <p:cNvPr id="184" name="Freeform 183">
                  <a:extLst>
                    <a:ext uri="{FF2B5EF4-FFF2-40B4-BE49-F238E27FC236}">
                      <a16:creationId xmlns:a16="http://schemas.microsoft.com/office/drawing/2014/main" id="{40167518-613A-1792-0EF4-D7456326532C}"/>
                    </a:ext>
                  </a:extLst>
                </p:cNvPr>
                <p:cNvSpPr/>
                <p:nvPr/>
              </p:nvSpPr>
              <p:spPr>
                <a:xfrm>
                  <a:off x="15814511" y="8309554"/>
                  <a:ext cx="180975" cy="142875"/>
                </a:xfrm>
                <a:custGeom>
                  <a:avLst/>
                  <a:gdLst>
                    <a:gd name="connsiteX0" fmla="*/ 133350 w 180975"/>
                    <a:gd name="connsiteY0" fmla="*/ 19050 h 142875"/>
                    <a:gd name="connsiteX1" fmla="*/ 133350 w 180975"/>
                    <a:gd name="connsiteY1" fmla="*/ 106412 h 142875"/>
                    <a:gd name="connsiteX2" fmla="*/ 167506 w 180975"/>
                    <a:gd name="connsiteY2" fmla="*/ 72256 h 142875"/>
                    <a:gd name="connsiteX3" fmla="*/ 180975 w 180975"/>
                    <a:gd name="connsiteY3" fmla="*/ 85725 h 142875"/>
                    <a:gd name="connsiteX4" fmla="*/ 123825 w 180975"/>
                    <a:gd name="connsiteY4" fmla="*/ 142875 h 142875"/>
                    <a:gd name="connsiteX5" fmla="*/ 66675 w 180975"/>
                    <a:gd name="connsiteY5" fmla="*/ 85725 h 142875"/>
                    <a:gd name="connsiteX6" fmla="*/ 80144 w 180975"/>
                    <a:gd name="connsiteY6" fmla="*/ 72256 h 142875"/>
                    <a:gd name="connsiteX7" fmla="*/ 114300 w 180975"/>
                    <a:gd name="connsiteY7" fmla="*/ 106412 h 142875"/>
                    <a:gd name="connsiteX8" fmla="*/ 114300 w 180975"/>
                    <a:gd name="connsiteY8" fmla="*/ 19050 h 142875"/>
                    <a:gd name="connsiteX9" fmla="*/ 0 w 180975"/>
                    <a:gd name="connsiteY9" fmla="*/ 19050 h 142875"/>
                    <a:gd name="connsiteX10" fmla="*/ 0 w 180975"/>
                    <a:gd name="connsiteY10" fmla="*/ 0 h 142875"/>
                    <a:gd name="connsiteX11" fmla="*/ 114300 w 180975"/>
                    <a:gd name="connsiteY11" fmla="*/ 0 h 142875"/>
                    <a:gd name="connsiteX12" fmla="*/ 133350 w 180975"/>
                    <a:gd name="connsiteY12" fmla="*/ 1905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975" h="142875">
                      <a:moveTo>
                        <a:pt x="133350" y="19050"/>
                      </a:moveTo>
                      <a:lnTo>
                        <a:pt x="133350" y="106412"/>
                      </a:lnTo>
                      <a:lnTo>
                        <a:pt x="167506" y="72256"/>
                      </a:lnTo>
                      <a:lnTo>
                        <a:pt x="180975" y="85725"/>
                      </a:lnTo>
                      <a:lnTo>
                        <a:pt x="123825" y="142875"/>
                      </a:lnTo>
                      <a:lnTo>
                        <a:pt x="66675" y="85725"/>
                      </a:lnTo>
                      <a:lnTo>
                        <a:pt x="80144" y="72256"/>
                      </a:lnTo>
                      <a:lnTo>
                        <a:pt x="114300" y="106412"/>
                      </a:lnTo>
                      <a:lnTo>
                        <a:pt x="114300" y="19050"/>
                      </a:lnTo>
                      <a:lnTo>
                        <a:pt x="0" y="19050"/>
                      </a:lnTo>
                      <a:lnTo>
                        <a:pt x="0" y="0"/>
                      </a:lnTo>
                      <a:lnTo>
                        <a:pt x="114300" y="0"/>
                      </a:lnTo>
                      <a:cubicBezTo>
                        <a:pt x="124816" y="13"/>
                        <a:pt x="133338" y="8534"/>
                        <a:pt x="133350" y="19050"/>
                      </a:cubicBez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sp>
              <p:nvSpPr>
                <p:cNvPr id="185" name="Freeform 184">
                  <a:extLst>
                    <a:ext uri="{FF2B5EF4-FFF2-40B4-BE49-F238E27FC236}">
                      <a16:creationId xmlns:a16="http://schemas.microsoft.com/office/drawing/2014/main" id="{A928BB17-10B7-2033-ADE1-10EDCA2813A0}"/>
                    </a:ext>
                  </a:extLst>
                </p:cNvPr>
                <p:cNvSpPr/>
                <p:nvPr/>
              </p:nvSpPr>
              <p:spPr>
                <a:xfrm>
                  <a:off x="15709736" y="8328604"/>
                  <a:ext cx="57150" cy="19050"/>
                </a:xfrm>
                <a:custGeom>
                  <a:avLst/>
                  <a:gdLst>
                    <a:gd name="connsiteX0" fmla="*/ 0 w 57150"/>
                    <a:gd name="connsiteY0" fmla="*/ 0 h 19050"/>
                    <a:gd name="connsiteX1" fmla="*/ 57150 w 57150"/>
                    <a:gd name="connsiteY1" fmla="*/ 0 h 19050"/>
                    <a:gd name="connsiteX2" fmla="*/ 57150 w 57150"/>
                    <a:gd name="connsiteY2" fmla="*/ 19050 h 19050"/>
                    <a:gd name="connsiteX3" fmla="*/ 0 w 571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7150" h="19050">
                      <a:moveTo>
                        <a:pt x="0" y="0"/>
                      </a:moveTo>
                      <a:lnTo>
                        <a:pt x="57150" y="0"/>
                      </a:lnTo>
                      <a:lnTo>
                        <a:pt x="57150" y="19050"/>
                      </a:lnTo>
                      <a:lnTo>
                        <a:pt x="0" y="19050"/>
                      </a:ln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sp>
              <p:nvSpPr>
                <p:cNvPr id="201" name="Freeform 200">
                  <a:extLst>
                    <a:ext uri="{FF2B5EF4-FFF2-40B4-BE49-F238E27FC236}">
                      <a16:creationId xmlns:a16="http://schemas.microsoft.com/office/drawing/2014/main" id="{184F0108-6DB0-8C87-457F-CE4ED21FD22C}"/>
                    </a:ext>
                  </a:extLst>
                </p:cNvPr>
                <p:cNvSpPr/>
                <p:nvPr/>
              </p:nvSpPr>
              <p:spPr>
                <a:xfrm>
                  <a:off x="15709736" y="8290504"/>
                  <a:ext cx="76200" cy="19050"/>
                </a:xfrm>
                <a:custGeom>
                  <a:avLst/>
                  <a:gdLst>
                    <a:gd name="connsiteX0" fmla="*/ 0 w 76200"/>
                    <a:gd name="connsiteY0" fmla="*/ 0 h 19050"/>
                    <a:gd name="connsiteX1" fmla="*/ 76200 w 76200"/>
                    <a:gd name="connsiteY1" fmla="*/ 0 h 19050"/>
                    <a:gd name="connsiteX2" fmla="*/ 76200 w 76200"/>
                    <a:gd name="connsiteY2" fmla="*/ 19050 h 19050"/>
                    <a:gd name="connsiteX3" fmla="*/ 0 w 762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76200" h="19050">
                      <a:moveTo>
                        <a:pt x="0" y="0"/>
                      </a:moveTo>
                      <a:lnTo>
                        <a:pt x="76200" y="0"/>
                      </a:lnTo>
                      <a:lnTo>
                        <a:pt x="76200" y="19050"/>
                      </a:lnTo>
                      <a:lnTo>
                        <a:pt x="0" y="19050"/>
                      </a:ln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grpSp>
        </p:grpSp>
        <p:grpSp>
          <p:nvGrpSpPr>
            <p:cNvPr id="241" name="Group 240">
              <a:extLst>
                <a:ext uri="{FF2B5EF4-FFF2-40B4-BE49-F238E27FC236}">
                  <a16:creationId xmlns:a16="http://schemas.microsoft.com/office/drawing/2014/main" id="{4A346B2D-F87A-E6AC-CFF5-CBE31A462703}"/>
                </a:ext>
              </a:extLst>
            </p:cNvPr>
            <p:cNvGrpSpPr/>
            <p:nvPr/>
          </p:nvGrpSpPr>
          <p:grpSpPr>
            <a:xfrm>
              <a:off x="13002977" y="10515599"/>
              <a:ext cx="9360550" cy="1966653"/>
              <a:chOff x="13002977" y="10515599"/>
              <a:chExt cx="9360550" cy="1966653"/>
            </a:xfrm>
          </p:grpSpPr>
          <p:sp>
            <p:nvSpPr>
              <p:cNvPr id="148" name="Rectangle 147">
                <a:extLst>
                  <a:ext uri="{FF2B5EF4-FFF2-40B4-BE49-F238E27FC236}">
                    <a16:creationId xmlns:a16="http://schemas.microsoft.com/office/drawing/2014/main" id="{D2C833DA-E955-1252-D743-2CF68C2F7328}"/>
                  </a:ext>
                </a:extLst>
              </p:cNvPr>
              <p:cNvSpPr/>
              <p:nvPr/>
            </p:nvSpPr>
            <p:spPr bwMode="auto">
              <a:xfrm>
                <a:off x="13002977" y="10515599"/>
                <a:ext cx="9360550" cy="1966653"/>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570" tIns="228570" rIns="228570" bIns="228570" numCol="1" rtlCol="0" anchor="t" anchorCtr="0" compatLnSpc="1">
                <a:prstTxWarp prst="textNoShape">
                  <a:avLst/>
                </a:prstTxWarp>
              </a:bodyPr>
              <a:lstStyle/>
              <a:p>
                <a:pPr defTabSz="914218" fontAlgn="base">
                  <a:spcBef>
                    <a:spcPct val="0"/>
                  </a:spcBef>
                  <a:spcAft>
                    <a:spcPct val="0"/>
                  </a:spcAft>
                  <a:defRPr/>
                </a:pPr>
                <a:r>
                  <a:rPr lang="en-US" sz="2000" dirty="0">
                    <a:solidFill>
                      <a:srgbClr val="0F62FE"/>
                    </a:solidFill>
                    <a:latin typeface="IBM Plex Sans" panose="020B0503050203000203" pitchFamily="34" charset="0"/>
                    <a:sym typeface="Helvetica Neue"/>
                  </a:rPr>
                  <a:t>       Enterprise readiness</a:t>
                </a:r>
                <a:endParaRPr lang="en-US" sz="2000" dirty="0">
                  <a:solidFill>
                    <a:sysClr val="windowText" lastClr="000000"/>
                  </a:solidFill>
                  <a:latin typeface="IBM Plex Sans Light"/>
                  <a:sym typeface="Helvetica Neue"/>
                </a:endParaRPr>
              </a:p>
              <a:p>
                <a:pPr defTabSz="812618">
                  <a:spcBef>
                    <a:spcPts val="1600"/>
                  </a:spcBef>
                  <a:defRPr/>
                </a:pPr>
                <a:r>
                  <a:rPr lang="en-US" sz="2000" dirty="0">
                    <a:solidFill>
                      <a:prstClr val="black"/>
                    </a:solidFill>
                    <a:latin typeface="IBM Plex Sans Light" panose="020B0403050203000203" pitchFamily="34" charset="0"/>
                    <a:sym typeface="Helvetica Neue"/>
                  </a:rPr>
                  <a:t>Built-in lifecycle and catalog management, analytics, access and federated controls, security and compliance.</a:t>
                </a:r>
              </a:p>
            </p:txBody>
          </p:sp>
          <p:sp>
            <p:nvSpPr>
              <p:cNvPr id="157" name="Freeform 156">
                <a:extLst>
                  <a:ext uri="{FF2B5EF4-FFF2-40B4-BE49-F238E27FC236}">
                    <a16:creationId xmlns:a16="http://schemas.microsoft.com/office/drawing/2014/main" id="{20A6E793-9761-F4FA-4043-2696510EB19E}"/>
                  </a:ext>
                </a:extLst>
              </p:cNvPr>
              <p:cNvSpPr/>
              <p:nvPr/>
            </p:nvSpPr>
            <p:spPr>
              <a:xfrm>
                <a:off x="13254272" y="10731420"/>
                <a:ext cx="180864" cy="266703"/>
              </a:xfrm>
              <a:custGeom>
                <a:avLst/>
                <a:gdLst>
                  <a:gd name="connsiteX0" fmla="*/ 44166 w 181097"/>
                  <a:gd name="connsiteY0" fmla="*/ 265941 h 266703"/>
                  <a:gd name="connsiteX1" fmla="*/ 38451 w 181097"/>
                  <a:gd name="connsiteY1" fmla="*/ 255750 h 266703"/>
                  <a:gd name="connsiteX2" fmla="*/ 55787 w 181097"/>
                  <a:gd name="connsiteY2" fmla="*/ 142878 h 266703"/>
                  <a:gd name="connsiteX3" fmla="*/ 9781 w 181097"/>
                  <a:gd name="connsiteY3" fmla="*/ 142878 h 266703"/>
                  <a:gd name="connsiteX4" fmla="*/ 3 w 181097"/>
                  <a:gd name="connsiteY4" fmla="*/ 133613 h 266703"/>
                  <a:gd name="connsiteX5" fmla="*/ 256 w 181097"/>
                  <a:gd name="connsiteY5" fmla="*/ 131163 h 266703"/>
                  <a:gd name="connsiteX6" fmla="*/ 28831 w 181097"/>
                  <a:gd name="connsiteY6" fmla="*/ 7338 h 266703"/>
                  <a:gd name="connsiteX7" fmla="*/ 38356 w 181097"/>
                  <a:gd name="connsiteY7" fmla="*/ 3 h 266703"/>
                  <a:gd name="connsiteX8" fmla="*/ 133606 w 181097"/>
                  <a:gd name="connsiteY8" fmla="*/ 3 h 266703"/>
                  <a:gd name="connsiteX9" fmla="*/ 141036 w 181097"/>
                  <a:gd name="connsiteY9" fmla="*/ 3528 h 266703"/>
                  <a:gd name="connsiteX10" fmla="*/ 142941 w 181097"/>
                  <a:gd name="connsiteY10" fmla="*/ 11624 h 266703"/>
                  <a:gd name="connsiteX11" fmla="*/ 126462 w 181097"/>
                  <a:gd name="connsiteY11" fmla="*/ 85728 h 266703"/>
                  <a:gd name="connsiteX12" fmla="*/ 171706 w 181097"/>
                  <a:gd name="connsiteY12" fmla="*/ 85728 h 266703"/>
                  <a:gd name="connsiteX13" fmla="*/ 180279 w 181097"/>
                  <a:gd name="connsiteY13" fmla="*/ 91062 h 266703"/>
                  <a:gd name="connsiteX14" fmla="*/ 179231 w 181097"/>
                  <a:gd name="connsiteY14" fmla="*/ 100587 h 266703"/>
                  <a:gd name="connsiteX15" fmla="*/ 55406 w 181097"/>
                  <a:gd name="connsiteY15" fmla="*/ 262512 h 266703"/>
                  <a:gd name="connsiteX16" fmla="*/ 47881 w 181097"/>
                  <a:gd name="connsiteY16" fmla="*/ 266703 h 266703"/>
                  <a:gd name="connsiteX17" fmla="*/ 44166 w 181097"/>
                  <a:gd name="connsiteY17" fmla="*/ 265941 h 266703"/>
                  <a:gd name="connsiteX18" fmla="*/ 102650 w 181097"/>
                  <a:gd name="connsiteY18" fmla="*/ 104778 h 266703"/>
                  <a:gd name="connsiteX19" fmla="*/ 121700 w 181097"/>
                  <a:gd name="connsiteY19" fmla="*/ 19053 h 266703"/>
                  <a:gd name="connsiteX20" fmla="*/ 45976 w 181097"/>
                  <a:gd name="connsiteY20" fmla="*/ 19053 h 266703"/>
                  <a:gd name="connsiteX21" fmla="*/ 21783 w 181097"/>
                  <a:gd name="connsiteY21" fmla="*/ 123828 h 266703"/>
                  <a:gd name="connsiteX22" fmla="*/ 78075 w 181097"/>
                  <a:gd name="connsiteY22" fmla="*/ 123828 h 266703"/>
                  <a:gd name="connsiteX23" fmla="*/ 62931 w 181097"/>
                  <a:gd name="connsiteY23" fmla="*/ 221745 h 266703"/>
                  <a:gd name="connsiteX24" fmla="*/ 152656 w 181097"/>
                  <a:gd name="connsiteY24" fmla="*/ 104778 h 26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1097" h="266703">
                    <a:moveTo>
                      <a:pt x="44166" y="265941"/>
                    </a:moveTo>
                    <a:cubicBezTo>
                      <a:pt x="40156" y="264249"/>
                      <a:pt x="37804" y="260054"/>
                      <a:pt x="38451" y="255750"/>
                    </a:cubicBezTo>
                    <a:lnTo>
                      <a:pt x="55787" y="142878"/>
                    </a:lnTo>
                    <a:lnTo>
                      <a:pt x="9781" y="142878"/>
                    </a:lnTo>
                    <a:cubicBezTo>
                      <a:pt x="4523" y="143020"/>
                      <a:pt x="145" y="138871"/>
                      <a:pt x="3" y="133613"/>
                    </a:cubicBezTo>
                    <a:cubicBezTo>
                      <a:pt x="-19" y="132789"/>
                      <a:pt x="66" y="131965"/>
                      <a:pt x="256" y="131163"/>
                    </a:cubicBezTo>
                    <a:lnTo>
                      <a:pt x="28831" y="7338"/>
                    </a:lnTo>
                    <a:cubicBezTo>
                      <a:pt x="29867" y="2945"/>
                      <a:pt x="33844" y="-117"/>
                      <a:pt x="38356" y="3"/>
                    </a:cubicBezTo>
                    <a:lnTo>
                      <a:pt x="133606" y="3"/>
                    </a:lnTo>
                    <a:cubicBezTo>
                      <a:pt x="136488" y="-6"/>
                      <a:pt x="139220" y="1289"/>
                      <a:pt x="141036" y="3528"/>
                    </a:cubicBezTo>
                    <a:cubicBezTo>
                      <a:pt x="142878" y="5792"/>
                      <a:pt x="143580" y="8776"/>
                      <a:pt x="142941" y="11624"/>
                    </a:cubicBezTo>
                    <a:lnTo>
                      <a:pt x="126462" y="85728"/>
                    </a:lnTo>
                    <a:lnTo>
                      <a:pt x="171706" y="85728"/>
                    </a:lnTo>
                    <a:cubicBezTo>
                      <a:pt x="175349" y="85721"/>
                      <a:pt x="178676" y="87792"/>
                      <a:pt x="180279" y="91062"/>
                    </a:cubicBezTo>
                    <a:cubicBezTo>
                      <a:pt x="181668" y="94195"/>
                      <a:pt x="181268" y="97832"/>
                      <a:pt x="179231" y="100587"/>
                    </a:cubicBezTo>
                    <a:lnTo>
                      <a:pt x="55406" y="262512"/>
                    </a:lnTo>
                    <a:cubicBezTo>
                      <a:pt x="53709" y="265029"/>
                      <a:pt x="50914" y="266585"/>
                      <a:pt x="47881" y="266703"/>
                    </a:cubicBezTo>
                    <a:cubicBezTo>
                      <a:pt x="46607" y="266680"/>
                      <a:pt x="45348" y="266422"/>
                      <a:pt x="44166" y="265941"/>
                    </a:cubicBezTo>
                    <a:close/>
                    <a:moveTo>
                      <a:pt x="102650" y="104778"/>
                    </a:moveTo>
                    <a:lnTo>
                      <a:pt x="121700" y="19053"/>
                    </a:lnTo>
                    <a:lnTo>
                      <a:pt x="45976" y="19053"/>
                    </a:lnTo>
                    <a:lnTo>
                      <a:pt x="21783" y="123828"/>
                    </a:lnTo>
                    <a:lnTo>
                      <a:pt x="78075" y="123828"/>
                    </a:lnTo>
                    <a:lnTo>
                      <a:pt x="62931" y="221745"/>
                    </a:lnTo>
                    <a:lnTo>
                      <a:pt x="152656" y="104778"/>
                    </a:ln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grpSp>
        <p:grpSp>
          <p:nvGrpSpPr>
            <p:cNvPr id="237" name="Group 236">
              <a:extLst>
                <a:ext uri="{FF2B5EF4-FFF2-40B4-BE49-F238E27FC236}">
                  <a16:creationId xmlns:a16="http://schemas.microsoft.com/office/drawing/2014/main" id="{484AB15F-D2EF-DC36-2E7C-BED914282C0B}"/>
                </a:ext>
              </a:extLst>
            </p:cNvPr>
            <p:cNvGrpSpPr/>
            <p:nvPr/>
          </p:nvGrpSpPr>
          <p:grpSpPr>
            <a:xfrm>
              <a:off x="13002976" y="4572000"/>
              <a:ext cx="1826449" cy="5715000"/>
              <a:chOff x="13002976" y="4572000"/>
              <a:chExt cx="1826449" cy="5715000"/>
            </a:xfrm>
          </p:grpSpPr>
          <p:sp>
            <p:nvSpPr>
              <p:cNvPr id="144" name="Rectangle 143">
                <a:extLst>
                  <a:ext uri="{FF2B5EF4-FFF2-40B4-BE49-F238E27FC236}">
                    <a16:creationId xmlns:a16="http://schemas.microsoft.com/office/drawing/2014/main" id="{8A01851F-F60C-EF78-BEB5-18ABDC06090B}"/>
                  </a:ext>
                </a:extLst>
              </p:cNvPr>
              <p:cNvSpPr/>
              <p:nvPr/>
            </p:nvSpPr>
            <p:spPr bwMode="auto">
              <a:xfrm>
                <a:off x="13002976" y="4572000"/>
                <a:ext cx="1826449" cy="5715000"/>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570" tIns="228570" rIns="182856" bIns="228570" numCol="1" rtlCol="0" anchor="t" anchorCtr="0" compatLnSpc="1">
                <a:prstTxWarp prst="textNoShape">
                  <a:avLst/>
                </a:prstTxWarp>
              </a:bodyPr>
              <a:lstStyle/>
              <a:p>
                <a:pPr defTabSz="914218" fontAlgn="base">
                  <a:spcBef>
                    <a:spcPct val="0"/>
                  </a:spcBef>
                  <a:spcAft>
                    <a:spcPct val="0"/>
                  </a:spcAft>
                  <a:defRPr/>
                </a:pPr>
                <a:r>
                  <a:rPr lang="en-US" sz="2000" dirty="0">
                    <a:solidFill>
                      <a:srgbClr val="0F62FE"/>
                    </a:solidFill>
                    <a:latin typeface="IBM Plex Sans" panose="020B0503050203000203" pitchFamily="34" charset="0"/>
                    <a:sym typeface="Helvetica Neue"/>
                  </a:rPr>
                  <a:t>       Self-training</a:t>
                </a:r>
              </a:p>
              <a:p>
                <a:pPr defTabSz="914218" fontAlgn="base">
                  <a:spcBef>
                    <a:spcPts val="1600"/>
                  </a:spcBef>
                  <a:spcAft>
                    <a:spcPct val="0"/>
                  </a:spcAft>
                  <a:defRPr/>
                </a:pPr>
                <a:r>
                  <a:rPr lang="en-US" sz="2000" dirty="0">
                    <a:solidFill>
                      <a:sysClr val="windowText" lastClr="000000"/>
                    </a:solidFill>
                    <a:latin typeface="IBM Plex Sans Light" panose="020B0403050203000203" pitchFamily="34" charset="0"/>
                    <a:sym typeface="Helvetica Neue"/>
                  </a:rPr>
                  <a:t>Auto improve flows based on user interactions </a:t>
                </a:r>
              </a:p>
            </p:txBody>
          </p:sp>
          <p:sp>
            <p:nvSpPr>
              <p:cNvPr id="159" name="Freeform 158">
                <a:extLst>
                  <a:ext uri="{FF2B5EF4-FFF2-40B4-BE49-F238E27FC236}">
                    <a16:creationId xmlns:a16="http://schemas.microsoft.com/office/drawing/2014/main" id="{DC27E188-8AD5-64C5-E991-0BE07293CF50}"/>
                  </a:ext>
                </a:extLst>
              </p:cNvPr>
              <p:cNvSpPr/>
              <p:nvPr/>
            </p:nvSpPr>
            <p:spPr>
              <a:xfrm>
                <a:off x="13200113" y="4787825"/>
                <a:ext cx="280054" cy="266700"/>
              </a:xfrm>
              <a:custGeom>
                <a:avLst/>
                <a:gdLst>
                  <a:gd name="connsiteX0" fmla="*/ 140208 w 280415"/>
                  <a:gd name="connsiteY0" fmla="*/ 43053 h 266700"/>
                  <a:gd name="connsiteX1" fmla="*/ 166497 w 280415"/>
                  <a:gd name="connsiteY1" fmla="*/ 96203 h 266700"/>
                  <a:gd name="connsiteX2" fmla="*/ 170879 w 280415"/>
                  <a:gd name="connsiteY2" fmla="*/ 105728 h 266700"/>
                  <a:gd name="connsiteX3" fmla="*/ 180404 w 280415"/>
                  <a:gd name="connsiteY3" fmla="*/ 107156 h 266700"/>
                  <a:gd name="connsiteX4" fmla="*/ 239078 w 280415"/>
                  <a:gd name="connsiteY4" fmla="*/ 115634 h 266700"/>
                  <a:gd name="connsiteX5" fmla="*/ 197358 w 280415"/>
                  <a:gd name="connsiteY5" fmla="*/ 156591 h 266700"/>
                  <a:gd name="connsiteX6" fmla="*/ 190214 w 280415"/>
                  <a:gd name="connsiteY6" fmla="*/ 163544 h 266700"/>
                  <a:gd name="connsiteX7" fmla="*/ 191929 w 280415"/>
                  <a:gd name="connsiteY7" fmla="*/ 173069 h 266700"/>
                  <a:gd name="connsiteX8" fmla="*/ 201930 w 280415"/>
                  <a:gd name="connsiteY8" fmla="*/ 231458 h 266700"/>
                  <a:gd name="connsiteX9" fmla="*/ 149447 w 280415"/>
                  <a:gd name="connsiteY9" fmla="*/ 203930 h 266700"/>
                  <a:gd name="connsiteX10" fmla="*/ 140208 w 280415"/>
                  <a:gd name="connsiteY10" fmla="*/ 200025 h 266700"/>
                  <a:gd name="connsiteX11" fmla="*/ 131350 w 280415"/>
                  <a:gd name="connsiteY11" fmla="*/ 204692 h 266700"/>
                  <a:gd name="connsiteX12" fmla="*/ 78867 w 280415"/>
                  <a:gd name="connsiteY12" fmla="*/ 231839 h 266700"/>
                  <a:gd name="connsiteX13" fmla="*/ 88392 w 280415"/>
                  <a:gd name="connsiteY13" fmla="*/ 173450 h 266700"/>
                  <a:gd name="connsiteX14" fmla="*/ 90107 w 280415"/>
                  <a:gd name="connsiteY14" fmla="*/ 163925 h 266700"/>
                  <a:gd name="connsiteX15" fmla="*/ 83058 w 280415"/>
                  <a:gd name="connsiteY15" fmla="*/ 156591 h 266700"/>
                  <a:gd name="connsiteX16" fmla="*/ 40958 w 280415"/>
                  <a:gd name="connsiteY16" fmla="*/ 115157 h 266700"/>
                  <a:gd name="connsiteX17" fmla="*/ 99632 w 280415"/>
                  <a:gd name="connsiteY17" fmla="*/ 106680 h 266700"/>
                  <a:gd name="connsiteX18" fmla="*/ 109157 w 280415"/>
                  <a:gd name="connsiteY18" fmla="*/ 105251 h 266700"/>
                  <a:gd name="connsiteX19" fmla="*/ 113538 w 280415"/>
                  <a:gd name="connsiteY19" fmla="*/ 95726 h 266700"/>
                  <a:gd name="connsiteX20" fmla="*/ 140208 w 280415"/>
                  <a:gd name="connsiteY20" fmla="*/ 43053 h 266700"/>
                  <a:gd name="connsiteX21" fmla="*/ 140208 w 280415"/>
                  <a:gd name="connsiteY21" fmla="*/ 0 h 266700"/>
                  <a:gd name="connsiteX22" fmla="*/ 96869 w 280415"/>
                  <a:gd name="connsiteY22" fmla="*/ 87821 h 266700"/>
                  <a:gd name="connsiteX23" fmla="*/ 0 w 280415"/>
                  <a:gd name="connsiteY23" fmla="*/ 101822 h 266700"/>
                  <a:gd name="connsiteX24" fmla="*/ 70104 w 280415"/>
                  <a:gd name="connsiteY24" fmla="*/ 170212 h 266700"/>
                  <a:gd name="connsiteX25" fmla="*/ 53531 w 280415"/>
                  <a:gd name="connsiteY25" fmla="*/ 266700 h 266700"/>
                  <a:gd name="connsiteX26" fmla="*/ 140208 w 280415"/>
                  <a:gd name="connsiteY26" fmla="*/ 221171 h 266700"/>
                  <a:gd name="connsiteX27" fmla="*/ 226886 w 280415"/>
                  <a:gd name="connsiteY27" fmla="*/ 266700 h 266700"/>
                  <a:gd name="connsiteX28" fmla="*/ 210312 w 280415"/>
                  <a:gd name="connsiteY28" fmla="*/ 170212 h 266700"/>
                  <a:gd name="connsiteX29" fmla="*/ 280416 w 280415"/>
                  <a:gd name="connsiteY29" fmla="*/ 101918 h 266700"/>
                  <a:gd name="connsiteX30" fmla="*/ 183547 w 280415"/>
                  <a:gd name="connsiteY30" fmla="*/ 87821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80415" h="266700">
                    <a:moveTo>
                      <a:pt x="140208" y="43053"/>
                    </a:moveTo>
                    <a:lnTo>
                      <a:pt x="166497" y="96203"/>
                    </a:lnTo>
                    <a:lnTo>
                      <a:pt x="170879" y="105728"/>
                    </a:lnTo>
                    <a:lnTo>
                      <a:pt x="180404" y="107156"/>
                    </a:lnTo>
                    <a:lnTo>
                      <a:pt x="239078" y="115634"/>
                    </a:lnTo>
                    <a:lnTo>
                      <a:pt x="197358" y="156591"/>
                    </a:lnTo>
                    <a:lnTo>
                      <a:pt x="190214" y="163544"/>
                    </a:lnTo>
                    <a:lnTo>
                      <a:pt x="191929" y="173069"/>
                    </a:lnTo>
                    <a:lnTo>
                      <a:pt x="201930" y="231458"/>
                    </a:lnTo>
                    <a:lnTo>
                      <a:pt x="149447" y="203930"/>
                    </a:lnTo>
                    <a:lnTo>
                      <a:pt x="140208" y="200025"/>
                    </a:lnTo>
                    <a:lnTo>
                      <a:pt x="131350" y="204692"/>
                    </a:lnTo>
                    <a:lnTo>
                      <a:pt x="78867" y="231839"/>
                    </a:lnTo>
                    <a:lnTo>
                      <a:pt x="88392" y="173450"/>
                    </a:lnTo>
                    <a:lnTo>
                      <a:pt x="90107" y="163925"/>
                    </a:lnTo>
                    <a:lnTo>
                      <a:pt x="83058" y="156591"/>
                    </a:lnTo>
                    <a:lnTo>
                      <a:pt x="40958" y="115157"/>
                    </a:lnTo>
                    <a:lnTo>
                      <a:pt x="99632" y="106680"/>
                    </a:lnTo>
                    <a:lnTo>
                      <a:pt x="109157" y="105251"/>
                    </a:lnTo>
                    <a:lnTo>
                      <a:pt x="113538" y="95726"/>
                    </a:lnTo>
                    <a:lnTo>
                      <a:pt x="140208" y="43053"/>
                    </a:lnTo>
                    <a:moveTo>
                      <a:pt x="140208" y="0"/>
                    </a:moveTo>
                    <a:lnTo>
                      <a:pt x="96869" y="87821"/>
                    </a:lnTo>
                    <a:lnTo>
                      <a:pt x="0" y="101822"/>
                    </a:lnTo>
                    <a:lnTo>
                      <a:pt x="70104" y="170212"/>
                    </a:lnTo>
                    <a:lnTo>
                      <a:pt x="53531" y="266700"/>
                    </a:lnTo>
                    <a:lnTo>
                      <a:pt x="140208" y="221171"/>
                    </a:lnTo>
                    <a:lnTo>
                      <a:pt x="226886" y="266700"/>
                    </a:lnTo>
                    <a:lnTo>
                      <a:pt x="210312" y="170212"/>
                    </a:lnTo>
                    <a:lnTo>
                      <a:pt x="280416" y="101918"/>
                    </a:lnTo>
                    <a:lnTo>
                      <a:pt x="183547" y="87821"/>
                    </a:ln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grpSp>
      </p:grpSp>
      <p:sp>
        <p:nvSpPr>
          <p:cNvPr id="181" name="Freeform 180">
            <a:extLst>
              <a:ext uri="{FF2B5EF4-FFF2-40B4-BE49-F238E27FC236}">
                <a16:creationId xmlns:a16="http://schemas.microsoft.com/office/drawing/2014/main" id="{87D113A6-EEE8-6103-D634-5960C2E69070}"/>
              </a:ext>
            </a:extLst>
          </p:cNvPr>
          <p:cNvSpPr/>
          <p:nvPr/>
        </p:nvSpPr>
        <p:spPr>
          <a:xfrm>
            <a:off x="9644974" y="4382124"/>
            <a:ext cx="304368" cy="304760"/>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sp>
        <p:nvSpPr>
          <p:cNvPr id="4" name="TextBox 3">
            <a:extLst>
              <a:ext uri="{FF2B5EF4-FFF2-40B4-BE49-F238E27FC236}">
                <a16:creationId xmlns:a16="http://schemas.microsoft.com/office/drawing/2014/main" id="{E41FAF93-9C62-4AC3-218F-472AEEBCC460}"/>
              </a:ext>
            </a:extLst>
          </p:cNvPr>
          <p:cNvSpPr txBox="1"/>
          <p:nvPr/>
        </p:nvSpPr>
        <p:spPr>
          <a:xfrm>
            <a:off x="580608" y="578528"/>
            <a:ext cx="23063618" cy="830677"/>
          </a:xfrm>
          <a:prstGeom prst="rect">
            <a:avLst/>
          </a:prstGeom>
          <a:noFill/>
        </p:spPr>
        <p:txBody>
          <a:bodyPr wrap="square" lIns="0" tIns="0" rIns="0" bIns="0" anchor="t">
            <a:spAutoFit/>
          </a:bodyPr>
          <a:lstStyle/>
          <a:p>
            <a:pPr defTabSz="2437910">
              <a:buClr>
                <a:srgbClr val="000000"/>
              </a:buClr>
              <a:defRPr/>
            </a:pPr>
            <a:r>
              <a:rPr lang="en-US" sz="5398" kern="0" dirty="0">
                <a:solidFill>
                  <a:srgbClr val="000000"/>
                </a:solidFill>
                <a:latin typeface="IBM Plex Sans Light"/>
                <a:cs typeface="Arial"/>
                <a:sym typeface="Arial"/>
              </a:rPr>
              <a:t>One platform to build Gen AI + Automation assistants</a:t>
            </a:r>
            <a:endParaRPr lang="en-US" sz="5398" i="1" kern="0" dirty="0">
              <a:solidFill>
                <a:srgbClr val="0F62FE"/>
              </a:solidFill>
              <a:latin typeface="IBM Plex Sans Light" panose="020B0403050203000203" pitchFamily="34" charset="0"/>
              <a:cs typeface="Arial"/>
              <a:sym typeface="Arial"/>
            </a:endParaRPr>
          </a:p>
        </p:txBody>
      </p:sp>
      <p:sp>
        <p:nvSpPr>
          <p:cNvPr id="5" name="Rectangle 4">
            <a:extLst>
              <a:ext uri="{FF2B5EF4-FFF2-40B4-BE49-F238E27FC236}">
                <a16:creationId xmlns:a16="http://schemas.microsoft.com/office/drawing/2014/main" id="{816F833C-BA7C-4574-252D-C32589ECED7B}"/>
              </a:ext>
            </a:extLst>
          </p:cNvPr>
          <p:cNvSpPr/>
          <p:nvPr/>
        </p:nvSpPr>
        <p:spPr bwMode="auto">
          <a:xfrm>
            <a:off x="16504268" y="2329448"/>
            <a:ext cx="7466871" cy="1822157"/>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127" fontAlgn="base">
              <a:spcBef>
                <a:spcPct val="0"/>
              </a:spcBef>
              <a:spcAft>
                <a:spcPct val="0"/>
              </a:spcAft>
              <a:defRPr/>
            </a:pPr>
            <a:endParaRPr lang="en-US" sz="1400" dirty="0">
              <a:solidFill>
                <a:srgbClr val="FFFFFF"/>
              </a:solidFill>
              <a:latin typeface="IBM Plex Sans Light"/>
              <a:sym typeface="Helvetica Neue"/>
            </a:endParaRPr>
          </a:p>
        </p:txBody>
      </p:sp>
      <p:sp>
        <p:nvSpPr>
          <p:cNvPr id="7" name="Rectangle 6">
            <a:extLst>
              <a:ext uri="{FF2B5EF4-FFF2-40B4-BE49-F238E27FC236}">
                <a16:creationId xmlns:a16="http://schemas.microsoft.com/office/drawing/2014/main" id="{21FF3337-BDB8-6721-685A-54293CDDC730}"/>
              </a:ext>
            </a:extLst>
          </p:cNvPr>
          <p:cNvSpPr/>
          <p:nvPr/>
        </p:nvSpPr>
        <p:spPr bwMode="auto">
          <a:xfrm>
            <a:off x="16504268" y="4468828"/>
            <a:ext cx="7466871" cy="4461264"/>
          </a:xfrm>
          <a:prstGeom prst="rect">
            <a:avLst/>
          </a:prstGeom>
          <a:solidFill>
            <a:schemeClr val="accent2">
              <a:lumMod val="20000"/>
              <a:lumOff val="80000"/>
            </a:schemeClr>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127" fontAlgn="base">
              <a:spcBef>
                <a:spcPct val="0"/>
              </a:spcBef>
              <a:spcAft>
                <a:spcPct val="0"/>
              </a:spcAft>
              <a:defRPr/>
            </a:pPr>
            <a:endParaRPr lang="en-US" sz="1400" dirty="0">
              <a:solidFill>
                <a:srgbClr val="FFFFFF"/>
              </a:solidFill>
              <a:latin typeface="IBM Plex Sans Light"/>
              <a:sym typeface="Helvetica Neue"/>
            </a:endParaRPr>
          </a:p>
        </p:txBody>
      </p:sp>
      <p:sp>
        <p:nvSpPr>
          <p:cNvPr id="8" name="Rounded Rectangle 7">
            <a:extLst>
              <a:ext uri="{FF2B5EF4-FFF2-40B4-BE49-F238E27FC236}">
                <a16:creationId xmlns:a16="http://schemas.microsoft.com/office/drawing/2014/main" id="{2C57B7F7-7B28-56E5-8A9A-FB0226E6A4E7}"/>
              </a:ext>
            </a:extLst>
          </p:cNvPr>
          <p:cNvSpPr/>
          <p:nvPr/>
        </p:nvSpPr>
        <p:spPr bwMode="auto">
          <a:xfrm>
            <a:off x="16492944" y="9496501"/>
            <a:ext cx="7313296" cy="3114042"/>
          </a:xfrm>
          <a:prstGeom prst="roundRect">
            <a:avLst>
              <a:gd name="adj" fmla="val 11527"/>
            </a:avLst>
          </a:prstGeom>
          <a:no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1961" tIns="71961" rIns="71961" bIns="71961" numCol="1" rtlCol="0" anchor="t" anchorCtr="0" compatLnSpc="1">
            <a:prstTxWarp prst="textNoShape">
              <a:avLst/>
            </a:prstTxWarp>
          </a:bodyPr>
          <a:lstStyle/>
          <a:p>
            <a:pPr defTabSz="1827909" fontAlgn="base">
              <a:lnSpc>
                <a:spcPct val="90000"/>
              </a:lnSpc>
              <a:spcBef>
                <a:spcPct val="0"/>
              </a:spcBef>
              <a:spcAft>
                <a:spcPct val="0"/>
              </a:spcAft>
              <a:defRPr/>
            </a:pPr>
            <a:endParaRPr lang="en-US" dirty="0">
              <a:solidFill>
                <a:srgbClr val="FFFFFF"/>
              </a:solidFill>
              <a:latin typeface="IBM Plex Sans Light"/>
              <a:sym typeface="Helvetica Neue"/>
            </a:endParaRPr>
          </a:p>
        </p:txBody>
      </p:sp>
      <p:pic>
        <p:nvPicPr>
          <p:cNvPr id="10" name="Graphic 9">
            <a:extLst>
              <a:ext uri="{FF2B5EF4-FFF2-40B4-BE49-F238E27FC236}">
                <a16:creationId xmlns:a16="http://schemas.microsoft.com/office/drawing/2014/main" id="{54D9BD6D-7FBF-488E-BE07-E2A161083A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185569" y="10006844"/>
            <a:ext cx="917277" cy="866653"/>
          </a:xfrm>
          <a:prstGeom prst="rect">
            <a:avLst/>
          </a:prstGeom>
        </p:spPr>
      </p:pic>
      <p:sp>
        <p:nvSpPr>
          <p:cNvPr id="11" name="Rectangle 10">
            <a:extLst>
              <a:ext uri="{FF2B5EF4-FFF2-40B4-BE49-F238E27FC236}">
                <a16:creationId xmlns:a16="http://schemas.microsoft.com/office/drawing/2014/main" id="{5F1E0925-1092-5A15-4641-9BF63812F568}"/>
              </a:ext>
            </a:extLst>
          </p:cNvPr>
          <p:cNvSpPr/>
          <p:nvPr/>
        </p:nvSpPr>
        <p:spPr>
          <a:xfrm>
            <a:off x="16483100" y="11261441"/>
            <a:ext cx="2275864" cy="1046236"/>
          </a:xfrm>
          <a:prstGeom prst="rect">
            <a:avLst/>
          </a:prstGeom>
        </p:spPr>
        <p:txBody>
          <a:bodyPr wrap="square" lIns="182784" tIns="91394" rIns="182784" bIns="91394" anchor="t">
            <a:spAutoFit/>
          </a:bodyPr>
          <a:lstStyle/>
          <a:p>
            <a:pPr algn="ctr" defTabSz="1371265" fontAlgn="base">
              <a:spcBef>
                <a:spcPts val="4600"/>
              </a:spcBef>
              <a:spcAft>
                <a:spcPct val="0"/>
              </a:spcAft>
              <a:buClr>
                <a:srgbClr val="6D6E70"/>
              </a:buClr>
              <a:buSzPct val="90000"/>
              <a:tabLst>
                <a:tab pos="5594796" algn="l"/>
              </a:tabLst>
              <a:defRPr/>
            </a:pPr>
            <a:r>
              <a:rPr lang="en-US" sz="2800" dirty="0">
                <a:solidFill>
                  <a:srgbClr val="000000"/>
                </a:solidFill>
                <a:latin typeface="IBM Plex Sans Light"/>
                <a:sym typeface="Helvetica Neue"/>
              </a:rPr>
              <a:t>3</a:t>
            </a:r>
            <a:r>
              <a:rPr lang="en-US" sz="2800" baseline="30000" dirty="0">
                <a:solidFill>
                  <a:srgbClr val="000000"/>
                </a:solidFill>
                <a:latin typeface="IBM Plex Sans Light"/>
                <a:sym typeface="Helvetica Neue"/>
              </a:rPr>
              <a:t>rd</a:t>
            </a:r>
            <a:r>
              <a:rPr lang="en-US" sz="2800" dirty="0">
                <a:solidFill>
                  <a:srgbClr val="000000"/>
                </a:solidFill>
                <a:latin typeface="IBM Plex Sans Light"/>
                <a:sym typeface="Helvetica Neue"/>
              </a:rPr>
              <a:t> Party Systems</a:t>
            </a:r>
          </a:p>
        </p:txBody>
      </p:sp>
      <p:pic>
        <p:nvPicPr>
          <p:cNvPr id="12" name="Picture 20" descr="Gmail - Apps on Google Play">
            <a:extLst>
              <a:ext uri="{FF2B5EF4-FFF2-40B4-BE49-F238E27FC236}">
                <a16:creationId xmlns:a16="http://schemas.microsoft.com/office/drawing/2014/main" id="{BE809C25-E72E-70C8-27A7-87E172CE8831}"/>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l="8886" t="16721" r="5999" b="16187"/>
          <a:stretch/>
        </p:blipFill>
        <p:spPr bwMode="auto">
          <a:xfrm>
            <a:off x="22027165" y="9530569"/>
            <a:ext cx="981974" cy="73132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6">
            <a:extLst>
              <a:ext uri="{FF2B5EF4-FFF2-40B4-BE49-F238E27FC236}">
                <a16:creationId xmlns:a16="http://schemas.microsoft.com/office/drawing/2014/main" id="{2EA639B9-13F7-BD38-5FD0-0D3FFB721EA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797059" y="11818829"/>
            <a:ext cx="1442186" cy="73132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8">
            <a:extLst>
              <a:ext uri="{FF2B5EF4-FFF2-40B4-BE49-F238E27FC236}">
                <a16:creationId xmlns:a16="http://schemas.microsoft.com/office/drawing/2014/main" id="{E1E536CA-2582-7498-4F2E-83AE51A59A7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080300" y="9599407"/>
            <a:ext cx="2149208" cy="54849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2" descr="Workday Enterprise Management Cloud | Finance, HR, Planning, Spend">
            <a:extLst>
              <a:ext uri="{FF2B5EF4-FFF2-40B4-BE49-F238E27FC236}">
                <a16:creationId xmlns:a16="http://schemas.microsoft.com/office/drawing/2014/main" id="{3F68F6DE-8A45-9A89-C96A-3EFF12572732}"/>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3813" t="30385" r="23635" b="28149"/>
          <a:stretch/>
        </p:blipFill>
        <p:spPr bwMode="auto">
          <a:xfrm>
            <a:off x="19217636" y="10793550"/>
            <a:ext cx="1874536" cy="73132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8" descr="Top Oracle Fusion HCM Courses Online - Wolf Careers">
            <a:extLst>
              <a:ext uri="{FF2B5EF4-FFF2-40B4-BE49-F238E27FC236}">
                <a16:creationId xmlns:a16="http://schemas.microsoft.com/office/drawing/2014/main" id="{A5D6B35F-4372-9FA6-5B0D-864DDD06BA2D}"/>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815" r="5837"/>
          <a:stretch/>
        </p:blipFill>
        <p:spPr bwMode="auto">
          <a:xfrm>
            <a:off x="18986459" y="11861083"/>
            <a:ext cx="2336898" cy="731329"/>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002C88BF-2BF0-5D13-3570-E14CDC819B1A}"/>
              </a:ext>
            </a:extLst>
          </p:cNvPr>
          <p:cNvGrpSpPr/>
          <p:nvPr/>
        </p:nvGrpSpPr>
        <p:grpSpPr>
          <a:xfrm>
            <a:off x="19710745" y="6829330"/>
            <a:ext cx="1267241" cy="1200518"/>
            <a:chOff x="10834410" y="1670438"/>
            <a:chExt cx="905132" cy="986693"/>
          </a:xfrm>
        </p:grpSpPr>
        <p:sp>
          <p:nvSpPr>
            <p:cNvPr id="18" name="Retângulo 20">
              <a:extLst>
                <a:ext uri="{FF2B5EF4-FFF2-40B4-BE49-F238E27FC236}">
                  <a16:creationId xmlns:a16="http://schemas.microsoft.com/office/drawing/2014/main" id="{0D02A964-4E9A-2B26-9F06-ECEFCCD47BAE}"/>
                </a:ext>
              </a:extLst>
            </p:cNvPr>
            <p:cNvSpPr/>
            <p:nvPr/>
          </p:nvSpPr>
          <p:spPr bwMode="auto">
            <a:xfrm>
              <a:off x="10834410" y="1670438"/>
              <a:ext cx="905132" cy="986693"/>
            </a:xfrm>
            <a:prstGeom prst="rect">
              <a:avLst/>
            </a:prstGeom>
            <a:solidFill>
              <a:schemeClr val="bg1"/>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7553" tIns="487553" rIns="487553" bIns="487553" numCol="1" rtlCol="0" anchor="ctr" anchorCtr="0" compatLnSpc="1">
              <a:prstTxWarp prst="textNoShape">
                <a:avLst/>
              </a:prstTxWarp>
            </a:bodyPr>
            <a:lstStyle/>
            <a:p>
              <a:pPr defTabSz="4875396" fontAlgn="base">
                <a:spcBef>
                  <a:spcPct val="50000"/>
                </a:spcBef>
                <a:spcAft>
                  <a:spcPct val="0"/>
                </a:spcAft>
                <a:buClr>
                  <a:srgbClr val="000000"/>
                </a:buClr>
                <a:defRPr/>
              </a:pPr>
              <a:endParaRPr lang="en-US" altLang="en-US" dirty="0">
                <a:solidFill>
                  <a:srgbClr val="000000"/>
                </a:solidFill>
                <a:latin typeface="Arial" panose="020B0604020202020204" pitchFamily="34" charset="0"/>
                <a:ea typeface="ＭＳ Ｐゴシック" charset="-128"/>
                <a:cs typeface="Arial" panose="020B0604020202020204" pitchFamily="34" charset="0"/>
                <a:sym typeface="Helvetica Neue"/>
              </a:endParaRPr>
            </a:p>
          </p:txBody>
        </p:sp>
        <p:pic>
          <p:nvPicPr>
            <p:cNvPr id="19" name="Graphic 18">
              <a:extLst>
                <a:ext uri="{FF2B5EF4-FFF2-40B4-BE49-F238E27FC236}">
                  <a16:creationId xmlns:a16="http://schemas.microsoft.com/office/drawing/2014/main" id="{9D23C572-871B-A47A-75C3-6037C705637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924923" y="1801732"/>
              <a:ext cx="724106" cy="724107"/>
            </a:xfrm>
            <a:prstGeom prst="rect">
              <a:avLst/>
            </a:prstGeom>
          </p:spPr>
        </p:pic>
      </p:grpSp>
      <p:grpSp>
        <p:nvGrpSpPr>
          <p:cNvPr id="28" name="Group 27">
            <a:extLst>
              <a:ext uri="{FF2B5EF4-FFF2-40B4-BE49-F238E27FC236}">
                <a16:creationId xmlns:a16="http://schemas.microsoft.com/office/drawing/2014/main" id="{7F42B986-85F7-76D9-67D5-FC0905948CBD}"/>
              </a:ext>
            </a:extLst>
          </p:cNvPr>
          <p:cNvGrpSpPr/>
          <p:nvPr/>
        </p:nvGrpSpPr>
        <p:grpSpPr>
          <a:xfrm>
            <a:off x="17017219" y="2669458"/>
            <a:ext cx="1924092" cy="1200513"/>
            <a:chOff x="18274234" y="8856882"/>
            <a:chExt cx="1110691" cy="1110691"/>
          </a:xfrm>
        </p:grpSpPr>
        <p:sp>
          <p:nvSpPr>
            <p:cNvPr id="29" name="Retângulo 22">
              <a:extLst>
                <a:ext uri="{FF2B5EF4-FFF2-40B4-BE49-F238E27FC236}">
                  <a16:creationId xmlns:a16="http://schemas.microsoft.com/office/drawing/2014/main" id="{F43C3FC7-000B-0221-8F25-7EE94A417D2D}"/>
                </a:ext>
              </a:extLst>
            </p:cNvPr>
            <p:cNvSpPr/>
            <p:nvPr/>
          </p:nvSpPr>
          <p:spPr bwMode="auto">
            <a:xfrm>
              <a:off x="18463819" y="8856882"/>
              <a:ext cx="731520" cy="1110691"/>
            </a:xfrm>
            <a:prstGeom prst="rect">
              <a:avLst/>
            </a:prstGeom>
            <a:solidFill>
              <a:schemeClr val="bg1"/>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7553" tIns="487553" rIns="487553" bIns="487553" numCol="1" rtlCol="0" anchor="ctr" anchorCtr="0" compatLnSpc="1">
              <a:prstTxWarp prst="textNoShape">
                <a:avLst/>
              </a:prstTxWarp>
            </a:bodyPr>
            <a:lstStyle/>
            <a:p>
              <a:pPr defTabSz="4875396" fontAlgn="base">
                <a:spcBef>
                  <a:spcPct val="50000"/>
                </a:spcBef>
                <a:spcAft>
                  <a:spcPct val="0"/>
                </a:spcAft>
                <a:buClr>
                  <a:srgbClr val="000000"/>
                </a:buClr>
                <a:defRPr/>
              </a:pPr>
              <a:endParaRPr lang="en-US" altLang="en-US" dirty="0">
                <a:solidFill>
                  <a:srgbClr val="000000"/>
                </a:solidFill>
                <a:latin typeface="Arial" panose="020B0604020202020204" pitchFamily="34" charset="0"/>
                <a:ea typeface="ＭＳ Ｐゴシック" charset="-128"/>
                <a:cs typeface="Arial" panose="020B0604020202020204" pitchFamily="34" charset="0"/>
                <a:sym typeface="Helvetica Neue"/>
              </a:endParaRPr>
            </a:p>
          </p:txBody>
        </p:sp>
        <p:pic>
          <p:nvPicPr>
            <p:cNvPr id="30" name="Picture 59">
              <a:extLst>
                <a:ext uri="{FF2B5EF4-FFF2-40B4-BE49-F238E27FC236}">
                  <a16:creationId xmlns:a16="http://schemas.microsoft.com/office/drawing/2014/main" id="{D263B048-19B2-B7BA-E19E-0B7D66C5976B}"/>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18274234" y="8856882"/>
              <a:ext cx="1110691" cy="1110691"/>
            </a:xfrm>
            <a:prstGeom prst="rect">
              <a:avLst/>
            </a:prstGeom>
          </p:spPr>
        </p:pic>
      </p:grpSp>
      <p:grpSp>
        <p:nvGrpSpPr>
          <p:cNvPr id="38" name="Group 37">
            <a:extLst>
              <a:ext uri="{FF2B5EF4-FFF2-40B4-BE49-F238E27FC236}">
                <a16:creationId xmlns:a16="http://schemas.microsoft.com/office/drawing/2014/main" id="{D961780F-97E0-10E5-0D15-E0FBC251FBF7}"/>
              </a:ext>
            </a:extLst>
          </p:cNvPr>
          <p:cNvGrpSpPr/>
          <p:nvPr/>
        </p:nvGrpSpPr>
        <p:grpSpPr>
          <a:xfrm>
            <a:off x="17016149" y="4728316"/>
            <a:ext cx="1267241" cy="1200518"/>
            <a:chOff x="5759168" y="2955983"/>
            <a:chExt cx="914400" cy="914400"/>
          </a:xfrm>
        </p:grpSpPr>
        <p:sp>
          <p:nvSpPr>
            <p:cNvPr id="54" name="Retângulo 25">
              <a:extLst>
                <a:ext uri="{FF2B5EF4-FFF2-40B4-BE49-F238E27FC236}">
                  <a16:creationId xmlns:a16="http://schemas.microsoft.com/office/drawing/2014/main" id="{A119B19D-2A71-0833-E15F-30D5B001FEE5}"/>
                </a:ext>
              </a:extLst>
            </p:cNvPr>
            <p:cNvSpPr/>
            <p:nvPr/>
          </p:nvSpPr>
          <p:spPr bwMode="auto">
            <a:xfrm>
              <a:off x="5759168" y="2955983"/>
              <a:ext cx="914400" cy="914400"/>
            </a:xfrm>
            <a:prstGeom prst="rect">
              <a:avLst/>
            </a:prstGeom>
            <a:solidFill>
              <a:schemeClr val="bg1"/>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7553" tIns="487553" rIns="487553" bIns="487553" numCol="1" rtlCol="0" anchor="ctr" anchorCtr="0" compatLnSpc="1">
              <a:prstTxWarp prst="textNoShape">
                <a:avLst/>
              </a:prstTxWarp>
            </a:bodyPr>
            <a:lstStyle/>
            <a:p>
              <a:pPr defTabSz="4875396" fontAlgn="base">
                <a:spcBef>
                  <a:spcPct val="50000"/>
                </a:spcBef>
                <a:spcAft>
                  <a:spcPct val="0"/>
                </a:spcAft>
                <a:buClr>
                  <a:srgbClr val="000000"/>
                </a:buClr>
                <a:defRPr/>
              </a:pPr>
              <a:endParaRPr lang="en-US" altLang="en-US" dirty="0">
                <a:solidFill>
                  <a:srgbClr val="000000"/>
                </a:solidFill>
                <a:latin typeface="Arial" panose="020B0604020202020204" pitchFamily="34" charset="0"/>
                <a:ea typeface="ＭＳ Ｐゴシック"/>
                <a:cs typeface="Arial" panose="020B0604020202020204" pitchFamily="34" charset="0"/>
                <a:sym typeface="Helvetica Neue"/>
              </a:endParaRPr>
            </a:p>
          </p:txBody>
        </p:sp>
        <p:pic>
          <p:nvPicPr>
            <p:cNvPr id="60" name="Graphic 59">
              <a:extLst>
                <a:ext uri="{FF2B5EF4-FFF2-40B4-BE49-F238E27FC236}">
                  <a16:creationId xmlns:a16="http://schemas.microsoft.com/office/drawing/2014/main" id="{876AEBAB-A92B-B484-F2E3-6646F5DD36C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850608" y="3047423"/>
              <a:ext cx="731520" cy="731520"/>
            </a:xfrm>
            <a:prstGeom prst="rect">
              <a:avLst/>
            </a:prstGeom>
          </p:spPr>
        </p:pic>
      </p:grpSp>
      <p:grpSp>
        <p:nvGrpSpPr>
          <p:cNvPr id="61" name="Group 60">
            <a:extLst>
              <a:ext uri="{FF2B5EF4-FFF2-40B4-BE49-F238E27FC236}">
                <a16:creationId xmlns:a16="http://schemas.microsoft.com/office/drawing/2014/main" id="{6D8C106F-E0B0-137E-7F72-343542A28F84}"/>
              </a:ext>
            </a:extLst>
          </p:cNvPr>
          <p:cNvGrpSpPr/>
          <p:nvPr/>
        </p:nvGrpSpPr>
        <p:grpSpPr>
          <a:xfrm>
            <a:off x="17060682" y="6829330"/>
            <a:ext cx="1267241" cy="1200518"/>
            <a:chOff x="11931055" y="1670437"/>
            <a:chExt cx="914400" cy="914400"/>
          </a:xfrm>
        </p:grpSpPr>
        <p:sp>
          <p:nvSpPr>
            <p:cNvPr id="63" name="Retângulo 26">
              <a:extLst>
                <a:ext uri="{FF2B5EF4-FFF2-40B4-BE49-F238E27FC236}">
                  <a16:creationId xmlns:a16="http://schemas.microsoft.com/office/drawing/2014/main" id="{835E8D6F-60DF-D8CB-4768-930F404DDABB}"/>
                </a:ext>
              </a:extLst>
            </p:cNvPr>
            <p:cNvSpPr/>
            <p:nvPr/>
          </p:nvSpPr>
          <p:spPr bwMode="auto">
            <a:xfrm>
              <a:off x="11931055" y="1670437"/>
              <a:ext cx="914400" cy="914400"/>
            </a:xfrm>
            <a:prstGeom prst="rect">
              <a:avLst/>
            </a:prstGeom>
            <a:solidFill>
              <a:schemeClr val="bg1"/>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7553" tIns="487553" rIns="487553" bIns="487553" numCol="1" rtlCol="0" anchor="ctr" anchorCtr="0" compatLnSpc="1">
              <a:prstTxWarp prst="textNoShape">
                <a:avLst/>
              </a:prstTxWarp>
            </a:bodyPr>
            <a:lstStyle/>
            <a:p>
              <a:pPr defTabSz="4875396" fontAlgn="base">
                <a:spcBef>
                  <a:spcPct val="50000"/>
                </a:spcBef>
                <a:spcAft>
                  <a:spcPct val="0"/>
                </a:spcAft>
                <a:buClr>
                  <a:srgbClr val="000000"/>
                </a:buClr>
                <a:defRPr/>
              </a:pPr>
              <a:endParaRPr lang="en-US" altLang="en-US" dirty="0">
                <a:solidFill>
                  <a:srgbClr val="000000"/>
                </a:solidFill>
                <a:latin typeface="Arial" panose="020B0604020202020204" pitchFamily="34" charset="0"/>
                <a:ea typeface="ＭＳ Ｐゴシック" charset="-128"/>
                <a:cs typeface="Arial" panose="020B0604020202020204" pitchFamily="34" charset="0"/>
                <a:sym typeface="Helvetica Neue"/>
              </a:endParaRPr>
            </a:p>
          </p:txBody>
        </p:sp>
        <p:pic>
          <p:nvPicPr>
            <p:cNvPr id="128" name="Graphic 127">
              <a:extLst>
                <a:ext uri="{FF2B5EF4-FFF2-40B4-BE49-F238E27FC236}">
                  <a16:creationId xmlns:a16="http://schemas.microsoft.com/office/drawing/2014/main" id="{EE1781F4-B6C2-E949-0C8F-0F3D0FB4838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2022670" y="1762052"/>
              <a:ext cx="731170" cy="731170"/>
            </a:xfrm>
            <a:prstGeom prst="rect">
              <a:avLst/>
            </a:prstGeom>
          </p:spPr>
        </p:pic>
      </p:grpSp>
      <p:grpSp>
        <p:nvGrpSpPr>
          <p:cNvPr id="129" name="Group 128">
            <a:extLst>
              <a:ext uri="{FF2B5EF4-FFF2-40B4-BE49-F238E27FC236}">
                <a16:creationId xmlns:a16="http://schemas.microsoft.com/office/drawing/2014/main" id="{F081B56D-7558-05B4-AD4E-5428DB8490DC}"/>
              </a:ext>
            </a:extLst>
          </p:cNvPr>
          <p:cNvGrpSpPr/>
          <p:nvPr/>
        </p:nvGrpSpPr>
        <p:grpSpPr>
          <a:xfrm>
            <a:off x="22330776" y="6829330"/>
            <a:ext cx="1267241" cy="1200518"/>
            <a:chOff x="21586627" y="9767282"/>
            <a:chExt cx="731520" cy="914400"/>
          </a:xfrm>
        </p:grpSpPr>
        <p:sp>
          <p:nvSpPr>
            <p:cNvPr id="130" name="Retângulo 26">
              <a:extLst>
                <a:ext uri="{FF2B5EF4-FFF2-40B4-BE49-F238E27FC236}">
                  <a16:creationId xmlns:a16="http://schemas.microsoft.com/office/drawing/2014/main" id="{0075A587-4E81-1F63-749E-4106169EAF89}"/>
                </a:ext>
              </a:extLst>
            </p:cNvPr>
            <p:cNvSpPr/>
            <p:nvPr/>
          </p:nvSpPr>
          <p:spPr bwMode="auto">
            <a:xfrm>
              <a:off x="21586627" y="9767282"/>
              <a:ext cx="731520" cy="914400"/>
            </a:xfrm>
            <a:prstGeom prst="rect">
              <a:avLst/>
            </a:prstGeom>
            <a:solidFill>
              <a:schemeClr val="bg1"/>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7553" tIns="487553" rIns="487553" bIns="487553" numCol="1" rtlCol="0" anchor="ctr" anchorCtr="0" compatLnSpc="1">
              <a:prstTxWarp prst="textNoShape">
                <a:avLst/>
              </a:prstTxWarp>
            </a:bodyPr>
            <a:lstStyle/>
            <a:p>
              <a:pPr defTabSz="4875396" fontAlgn="base">
                <a:spcBef>
                  <a:spcPct val="50000"/>
                </a:spcBef>
                <a:spcAft>
                  <a:spcPct val="0"/>
                </a:spcAft>
                <a:buClr>
                  <a:srgbClr val="000000"/>
                </a:buClr>
                <a:defRPr/>
              </a:pPr>
              <a:endParaRPr lang="en-US" altLang="en-US" dirty="0">
                <a:solidFill>
                  <a:srgbClr val="000000"/>
                </a:solidFill>
                <a:latin typeface="Arial" panose="020B0604020202020204" pitchFamily="34" charset="0"/>
                <a:ea typeface="ＭＳ Ｐゴシック" charset="-128"/>
                <a:cs typeface="Arial" panose="020B0604020202020204" pitchFamily="34" charset="0"/>
                <a:sym typeface="Helvetica Neue"/>
              </a:endParaRPr>
            </a:p>
          </p:txBody>
        </p:sp>
        <p:pic>
          <p:nvPicPr>
            <p:cNvPr id="131" name="Graphic 130">
              <a:extLst>
                <a:ext uri="{FF2B5EF4-FFF2-40B4-BE49-F238E27FC236}">
                  <a16:creationId xmlns:a16="http://schemas.microsoft.com/office/drawing/2014/main" id="{E5FA8038-046E-75FB-8F37-3757EC5D5B13}"/>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1632347" y="9904442"/>
              <a:ext cx="640080" cy="640080"/>
            </a:xfrm>
            <a:prstGeom prst="rect">
              <a:avLst/>
            </a:prstGeom>
          </p:spPr>
        </p:pic>
      </p:grpSp>
      <p:sp>
        <p:nvSpPr>
          <p:cNvPr id="132" name="Rectangle 131">
            <a:extLst>
              <a:ext uri="{FF2B5EF4-FFF2-40B4-BE49-F238E27FC236}">
                <a16:creationId xmlns:a16="http://schemas.microsoft.com/office/drawing/2014/main" id="{6AFEABBC-3159-DD1A-888C-D48C23EC766E}"/>
              </a:ext>
            </a:extLst>
          </p:cNvPr>
          <p:cNvSpPr/>
          <p:nvPr/>
        </p:nvSpPr>
        <p:spPr>
          <a:xfrm>
            <a:off x="16573937" y="5949075"/>
            <a:ext cx="2347082" cy="492310"/>
          </a:xfrm>
          <a:prstGeom prst="rect">
            <a:avLst/>
          </a:prstGeom>
        </p:spPr>
        <p:txBody>
          <a:bodyPr wrap="square" lIns="182784" tIns="91394" rIns="182784" bIns="91394" anchor="t">
            <a:spAutoFit/>
          </a:bodyPr>
          <a:lstStyle/>
          <a:p>
            <a:pPr algn="ctr" defTabSz="1371265" fontAlgn="base">
              <a:spcBef>
                <a:spcPts val="4600"/>
              </a:spcBef>
              <a:spcAft>
                <a:spcPct val="0"/>
              </a:spcAft>
              <a:buClr>
                <a:srgbClr val="6D6E70"/>
              </a:buClr>
              <a:buSzPct val="90000"/>
              <a:tabLst>
                <a:tab pos="5594796" algn="l"/>
              </a:tabLst>
              <a:defRPr/>
            </a:pPr>
            <a:r>
              <a:rPr lang="en-US" sz="2000" dirty="0">
                <a:solidFill>
                  <a:srgbClr val="0F62FE"/>
                </a:solidFill>
                <a:latin typeface="IBM Plex Sans" panose="020B0503050203000203" pitchFamily="34" charset="0"/>
                <a:sym typeface="Helvetica Neue"/>
              </a:rPr>
              <a:t>Workflow</a:t>
            </a:r>
          </a:p>
        </p:txBody>
      </p:sp>
      <p:sp>
        <p:nvSpPr>
          <p:cNvPr id="133" name="Rectangle 132">
            <a:extLst>
              <a:ext uri="{FF2B5EF4-FFF2-40B4-BE49-F238E27FC236}">
                <a16:creationId xmlns:a16="http://schemas.microsoft.com/office/drawing/2014/main" id="{48B452C6-D9B8-DDD3-729A-04D644AC6A45}"/>
              </a:ext>
            </a:extLst>
          </p:cNvPr>
          <p:cNvSpPr/>
          <p:nvPr/>
        </p:nvSpPr>
        <p:spPr>
          <a:xfrm>
            <a:off x="19250933" y="8069965"/>
            <a:ext cx="2347082" cy="492310"/>
          </a:xfrm>
          <a:prstGeom prst="rect">
            <a:avLst/>
          </a:prstGeom>
        </p:spPr>
        <p:txBody>
          <a:bodyPr wrap="square" lIns="182784" tIns="91394" rIns="182784" bIns="91394" anchor="t">
            <a:spAutoFit/>
          </a:bodyPr>
          <a:lstStyle/>
          <a:p>
            <a:pPr algn="ctr" defTabSz="1371265" fontAlgn="base">
              <a:spcBef>
                <a:spcPts val="4600"/>
              </a:spcBef>
              <a:spcAft>
                <a:spcPct val="0"/>
              </a:spcAft>
              <a:buClr>
                <a:srgbClr val="6D6E70"/>
              </a:buClr>
              <a:buSzPct val="90000"/>
              <a:tabLst>
                <a:tab pos="5594796" algn="l"/>
              </a:tabLst>
              <a:defRPr/>
            </a:pPr>
            <a:r>
              <a:rPr lang="en-US" sz="2000" dirty="0">
                <a:solidFill>
                  <a:srgbClr val="0F62FE"/>
                </a:solidFill>
                <a:latin typeface="IBM Plex Sans" panose="020B0503050203000203" pitchFamily="34" charset="0"/>
                <a:sym typeface="Helvetica Neue"/>
              </a:rPr>
              <a:t>Process Mining</a:t>
            </a:r>
          </a:p>
        </p:txBody>
      </p:sp>
      <p:sp>
        <p:nvSpPr>
          <p:cNvPr id="135" name="Rectangle 134">
            <a:extLst>
              <a:ext uri="{FF2B5EF4-FFF2-40B4-BE49-F238E27FC236}">
                <a16:creationId xmlns:a16="http://schemas.microsoft.com/office/drawing/2014/main" id="{49DC1B9C-9053-0A8D-5337-4EB8C8BE5D85}"/>
              </a:ext>
            </a:extLst>
          </p:cNvPr>
          <p:cNvSpPr/>
          <p:nvPr/>
        </p:nvSpPr>
        <p:spPr>
          <a:xfrm>
            <a:off x="16480517" y="8069965"/>
            <a:ext cx="2481679" cy="800046"/>
          </a:xfrm>
          <a:prstGeom prst="rect">
            <a:avLst/>
          </a:prstGeom>
        </p:spPr>
        <p:txBody>
          <a:bodyPr wrap="square" lIns="182784" tIns="91394" rIns="182784" bIns="91394" anchor="t">
            <a:spAutoFit/>
          </a:bodyPr>
          <a:lstStyle/>
          <a:p>
            <a:pPr algn="ctr" defTabSz="1371265" fontAlgn="base">
              <a:spcBef>
                <a:spcPts val="4600"/>
              </a:spcBef>
              <a:spcAft>
                <a:spcPct val="0"/>
              </a:spcAft>
              <a:buClr>
                <a:srgbClr val="6D6E70"/>
              </a:buClr>
              <a:buSzPct val="90000"/>
              <a:tabLst>
                <a:tab pos="5594796" algn="l"/>
              </a:tabLst>
              <a:defRPr/>
            </a:pPr>
            <a:r>
              <a:rPr lang="en-US" sz="2000" dirty="0">
                <a:solidFill>
                  <a:srgbClr val="0F62FE"/>
                </a:solidFill>
                <a:latin typeface="IBM Plex Sans" panose="020B0503050203000203" pitchFamily="34" charset="0"/>
                <a:sym typeface="Helvetica Neue"/>
              </a:rPr>
              <a:t>Decision Management</a:t>
            </a:r>
          </a:p>
        </p:txBody>
      </p:sp>
      <p:sp>
        <p:nvSpPr>
          <p:cNvPr id="136" name="Rectangle 135">
            <a:extLst>
              <a:ext uri="{FF2B5EF4-FFF2-40B4-BE49-F238E27FC236}">
                <a16:creationId xmlns:a16="http://schemas.microsoft.com/office/drawing/2014/main" id="{33176EFB-8496-21E7-B1AA-335CE6F417FD}"/>
              </a:ext>
            </a:extLst>
          </p:cNvPr>
          <p:cNvSpPr/>
          <p:nvPr/>
        </p:nvSpPr>
        <p:spPr>
          <a:xfrm>
            <a:off x="21761618" y="5945221"/>
            <a:ext cx="2347082" cy="492310"/>
          </a:xfrm>
          <a:prstGeom prst="rect">
            <a:avLst/>
          </a:prstGeom>
        </p:spPr>
        <p:txBody>
          <a:bodyPr wrap="square" lIns="182784" tIns="91394" rIns="182784" bIns="91394" anchor="t">
            <a:spAutoFit/>
          </a:bodyPr>
          <a:lstStyle/>
          <a:p>
            <a:pPr algn="ctr" defTabSz="1371265" fontAlgn="base">
              <a:spcBef>
                <a:spcPts val="4600"/>
              </a:spcBef>
              <a:spcAft>
                <a:spcPct val="0"/>
              </a:spcAft>
              <a:buClr>
                <a:srgbClr val="6D6E70"/>
              </a:buClr>
              <a:buSzPct val="90000"/>
              <a:tabLst>
                <a:tab pos="5594796" algn="l"/>
              </a:tabLst>
              <a:defRPr/>
            </a:pPr>
            <a:r>
              <a:rPr lang="en-US" sz="2000" dirty="0">
                <a:solidFill>
                  <a:srgbClr val="0F62FE"/>
                </a:solidFill>
                <a:latin typeface="IBM Plex Sans" panose="020B0503050203000203" pitchFamily="34" charset="0"/>
                <a:sym typeface="Helvetica Neue"/>
              </a:rPr>
              <a:t>Content Services </a:t>
            </a:r>
          </a:p>
        </p:txBody>
      </p:sp>
      <p:sp>
        <p:nvSpPr>
          <p:cNvPr id="137" name="Rectangle 136">
            <a:extLst>
              <a:ext uri="{FF2B5EF4-FFF2-40B4-BE49-F238E27FC236}">
                <a16:creationId xmlns:a16="http://schemas.microsoft.com/office/drawing/2014/main" id="{1B02522F-04FF-52A0-F9A8-8F32CAC74821}"/>
              </a:ext>
            </a:extLst>
          </p:cNvPr>
          <p:cNvSpPr/>
          <p:nvPr/>
        </p:nvSpPr>
        <p:spPr>
          <a:xfrm>
            <a:off x="18714509" y="2678542"/>
            <a:ext cx="2347082" cy="1107783"/>
          </a:xfrm>
          <a:prstGeom prst="rect">
            <a:avLst/>
          </a:prstGeom>
        </p:spPr>
        <p:txBody>
          <a:bodyPr wrap="square" lIns="182784" tIns="91394" rIns="182784" bIns="91394" anchor="t">
            <a:spAutoFit/>
          </a:bodyPr>
          <a:lstStyle/>
          <a:p>
            <a:pPr algn="ctr" defTabSz="1371265" fontAlgn="base">
              <a:spcBef>
                <a:spcPts val="4600"/>
              </a:spcBef>
              <a:spcAft>
                <a:spcPct val="0"/>
              </a:spcAft>
              <a:buClr>
                <a:srgbClr val="6D6E70"/>
              </a:buClr>
              <a:buSzPct val="90000"/>
              <a:tabLst>
                <a:tab pos="5594796" algn="l"/>
              </a:tabLst>
              <a:defRPr/>
            </a:pPr>
            <a:r>
              <a:rPr lang="en-US" sz="2000" dirty="0">
                <a:solidFill>
                  <a:srgbClr val="0F62FE"/>
                </a:solidFill>
                <a:latin typeface="IBM Plex Sans" panose="020B0503050203000203" pitchFamily="34" charset="0"/>
                <a:sym typeface="Helvetica Neue"/>
              </a:rPr>
              <a:t>IBM Robotic Process Automation</a:t>
            </a:r>
          </a:p>
        </p:txBody>
      </p:sp>
      <p:sp>
        <p:nvSpPr>
          <p:cNvPr id="138" name="Rectangle 137">
            <a:extLst>
              <a:ext uri="{FF2B5EF4-FFF2-40B4-BE49-F238E27FC236}">
                <a16:creationId xmlns:a16="http://schemas.microsoft.com/office/drawing/2014/main" id="{72437BB6-9874-9077-2A3E-98207FE9CF92}"/>
              </a:ext>
            </a:extLst>
          </p:cNvPr>
          <p:cNvSpPr/>
          <p:nvPr/>
        </p:nvSpPr>
        <p:spPr>
          <a:xfrm>
            <a:off x="21816635" y="8069965"/>
            <a:ext cx="2347082" cy="800046"/>
          </a:xfrm>
          <a:prstGeom prst="rect">
            <a:avLst/>
          </a:prstGeom>
        </p:spPr>
        <p:txBody>
          <a:bodyPr wrap="square" lIns="182784" tIns="91394" rIns="182784" bIns="91394" anchor="t">
            <a:spAutoFit/>
          </a:bodyPr>
          <a:lstStyle/>
          <a:p>
            <a:pPr algn="ctr" defTabSz="1371265" fontAlgn="base">
              <a:spcBef>
                <a:spcPts val="4600"/>
              </a:spcBef>
              <a:spcAft>
                <a:spcPct val="0"/>
              </a:spcAft>
              <a:buClr>
                <a:srgbClr val="6D6E70"/>
              </a:buClr>
              <a:buSzPct val="90000"/>
              <a:tabLst>
                <a:tab pos="5594796" algn="l"/>
              </a:tabLst>
              <a:defRPr/>
            </a:pPr>
            <a:r>
              <a:rPr lang="en-US" sz="2000" dirty="0">
                <a:solidFill>
                  <a:srgbClr val="0F62FE"/>
                </a:solidFill>
                <a:latin typeface="IBM Plex Sans" panose="020B0503050203000203" pitchFamily="34" charset="0"/>
                <a:sym typeface="Helvetica Neue"/>
              </a:rPr>
              <a:t>Operational Intelligence</a:t>
            </a:r>
          </a:p>
        </p:txBody>
      </p:sp>
      <p:cxnSp>
        <p:nvCxnSpPr>
          <p:cNvPr id="139" name="Elbow Connector 99">
            <a:extLst>
              <a:ext uri="{FF2B5EF4-FFF2-40B4-BE49-F238E27FC236}">
                <a16:creationId xmlns:a16="http://schemas.microsoft.com/office/drawing/2014/main" id="{F4BC2724-19C0-7C39-668C-082B30A8BFB2}"/>
              </a:ext>
            </a:extLst>
          </p:cNvPr>
          <p:cNvCxnSpPr>
            <a:cxnSpLocks/>
            <a:stCxn id="5" idx="1"/>
          </p:cNvCxnSpPr>
          <p:nvPr/>
        </p:nvCxnSpPr>
        <p:spPr bwMode="auto">
          <a:xfrm rot="10800000" flipV="1">
            <a:off x="15056274" y="3240526"/>
            <a:ext cx="1447993" cy="3320349"/>
          </a:xfrm>
          <a:prstGeom prst="bentConnector3">
            <a:avLst>
              <a:gd name="adj1" fmla="val 50000"/>
            </a:avLst>
          </a:prstGeom>
          <a:ln w="19050">
            <a:solidFill>
              <a:schemeClr val="tx1"/>
            </a:solidFill>
            <a:prstDash val="dash"/>
            <a:headEnd type="triangle" w="lg" len="lg"/>
            <a:tailEnd type="triangle" w="lg" len="lg"/>
          </a:ln>
          <a:effectLst/>
        </p:spPr>
        <p:style>
          <a:lnRef idx="1">
            <a:schemeClr val="dk1"/>
          </a:lnRef>
          <a:fillRef idx="0">
            <a:schemeClr val="dk1"/>
          </a:fillRef>
          <a:effectRef idx="0">
            <a:schemeClr val="dk1"/>
          </a:effectRef>
          <a:fontRef idx="minor">
            <a:schemeClr val="tx1"/>
          </a:fontRef>
        </p:style>
      </p:cxnSp>
      <p:grpSp>
        <p:nvGrpSpPr>
          <p:cNvPr id="140" name="Group 139">
            <a:extLst>
              <a:ext uri="{FF2B5EF4-FFF2-40B4-BE49-F238E27FC236}">
                <a16:creationId xmlns:a16="http://schemas.microsoft.com/office/drawing/2014/main" id="{E8E50B53-916F-7884-9C32-52D8ACCB4488}"/>
              </a:ext>
            </a:extLst>
          </p:cNvPr>
          <p:cNvGrpSpPr/>
          <p:nvPr/>
        </p:nvGrpSpPr>
        <p:grpSpPr>
          <a:xfrm>
            <a:off x="22330776" y="4728316"/>
            <a:ext cx="1267241" cy="1200518"/>
            <a:chOff x="10636923" y="9774833"/>
            <a:chExt cx="914400" cy="914400"/>
          </a:xfrm>
        </p:grpSpPr>
        <p:sp>
          <p:nvSpPr>
            <p:cNvPr id="141" name="Retângulo 23">
              <a:extLst>
                <a:ext uri="{FF2B5EF4-FFF2-40B4-BE49-F238E27FC236}">
                  <a16:creationId xmlns:a16="http://schemas.microsoft.com/office/drawing/2014/main" id="{42855010-D1AE-7B23-1CF9-7853399E228B}"/>
                </a:ext>
              </a:extLst>
            </p:cNvPr>
            <p:cNvSpPr/>
            <p:nvPr/>
          </p:nvSpPr>
          <p:spPr bwMode="auto">
            <a:xfrm>
              <a:off x="10636923" y="9774833"/>
              <a:ext cx="914400" cy="914400"/>
            </a:xfrm>
            <a:prstGeom prst="rect">
              <a:avLst/>
            </a:prstGeom>
            <a:solidFill>
              <a:schemeClr val="bg1"/>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7553" tIns="487553" rIns="487553" bIns="487553" numCol="1" rtlCol="0" anchor="ctr" anchorCtr="0" compatLnSpc="1">
              <a:prstTxWarp prst="textNoShape">
                <a:avLst/>
              </a:prstTxWarp>
            </a:bodyPr>
            <a:lstStyle/>
            <a:p>
              <a:pPr defTabSz="4875396" fontAlgn="base">
                <a:spcBef>
                  <a:spcPct val="50000"/>
                </a:spcBef>
                <a:spcAft>
                  <a:spcPct val="0"/>
                </a:spcAft>
                <a:buClr>
                  <a:srgbClr val="000000"/>
                </a:buClr>
                <a:defRPr/>
              </a:pPr>
              <a:endParaRPr lang="en-US" altLang="en-US" dirty="0">
                <a:solidFill>
                  <a:srgbClr val="000000"/>
                </a:solidFill>
                <a:latin typeface="Arial" panose="020B0604020202020204" pitchFamily="34" charset="0"/>
                <a:ea typeface="ＭＳ Ｐゴシック" charset="-128"/>
                <a:cs typeface="Arial" panose="020B0604020202020204" pitchFamily="34" charset="0"/>
                <a:sym typeface="Helvetica Neue"/>
              </a:endParaRPr>
            </a:p>
          </p:txBody>
        </p:sp>
        <p:pic>
          <p:nvPicPr>
            <p:cNvPr id="143" name="Graphic 142">
              <a:extLst>
                <a:ext uri="{FF2B5EF4-FFF2-40B4-BE49-F238E27FC236}">
                  <a16:creationId xmlns:a16="http://schemas.microsoft.com/office/drawing/2014/main" id="{09E59389-380F-BCF1-DBE9-835602006A2F}"/>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745835" y="9883745"/>
              <a:ext cx="696577" cy="696577"/>
            </a:xfrm>
            <a:prstGeom prst="rect">
              <a:avLst/>
            </a:prstGeom>
          </p:spPr>
        </p:pic>
      </p:grpSp>
      <p:pic>
        <p:nvPicPr>
          <p:cNvPr id="152" name="Picture 2">
            <a:extLst>
              <a:ext uri="{FF2B5EF4-FFF2-40B4-BE49-F238E27FC236}">
                <a16:creationId xmlns:a16="http://schemas.microsoft.com/office/drawing/2014/main" id="{4CA816DA-7968-0573-68DB-AD42F01119B5}"/>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1778694" y="10791536"/>
            <a:ext cx="1478911" cy="731329"/>
          </a:xfrm>
          <a:prstGeom prst="rect">
            <a:avLst/>
          </a:prstGeom>
          <a:noFill/>
          <a:extLst>
            <a:ext uri="{909E8E84-426E-40DD-AFC4-6F175D3DCCD1}">
              <a14:hiddenFill xmlns:a14="http://schemas.microsoft.com/office/drawing/2010/main">
                <a:solidFill>
                  <a:srgbClr val="FFFFFF"/>
                </a:solidFill>
              </a14:hiddenFill>
            </a:ext>
          </a:extLst>
        </p:spPr>
      </p:pic>
      <p:cxnSp>
        <p:nvCxnSpPr>
          <p:cNvPr id="154" name="Straight Connector 153">
            <a:extLst>
              <a:ext uri="{FF2B5EF4-FFF2-40B4-BE49-F238E27FC236}">
                <a16:creationId xmlns:a16="http://schemas.microsoft.com/office/drawing/2014/main" id="{DAFB9849-FD4C-254C-3990-9605587B7AE8}"/>
              </a:ext>
            </a:extLst>
          </p:cNvPr>
          <p:cNvCxnSpPr>
            <a:cxnSpLocks/>
          </p:cNvCxnSpPr>
          <p:nvPr/>
        </p:nvCxnSpPr>
        <p:spPr bwMode="auto">
          <a:xfrm>
            <a:off x="18660241" y="9496503"/>
            <a:ext cx="0" cy="305365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Elbow Connector 99">
            <a:extLst>
              <a:ext uri="{FF2B5EF4-FFF2-40B4-BE49-F238E27FC236}">
                <a16:creationId xmlns:a16="http://schemas.microsoft.com/office/drawing/2014/main" id="{67F9EAE9-19B5-BC5B-BD10-45B7C92CDFFE}"/>
              </a:ext>
            </a:extLst>
          </p:cNvPr>
          <p:cNvCxnSpPr>
            <a:cxnSpLocks/>
            <a:stCxn id="8" idx="1"/>
          </p:cNvCxnSpPr>
          <p:nvPr/>
        </p:nvCxnSpPr>
        <p:spPr bwMode="auto">
          <a:xfrm rot="10800000">
            <a:off x="15056274" y="6560876"/>
            <a:ext cx="1436671" cy="4492648"/>
          </a:xfrm>
          <a:prstGeom prst="bentConnector3">
            <a:avLst>
              <a:gd name="adj1" fmla="val 50000"/>
            </a:avLst>
          </a:prstGeom>
          <a:ln w="19050">
            <a:solidFill>
              <a:schemeClr val="tx1"/>
            </a:solidFill>
            <a:prstDash val="dash"/>
            <a:headEnd type="triangle" w="lg" len="lg"/>
            <a:tailEnd type="triangle" w="lg" len="lg"/>
          </a:ln>
          <a:effectLst/>
        </p:spPr>
        <p:style>
          <a:lnRef idx="1">
            <a:schemeClr val="dk1"/>
          </a:lnRef>
          <a:fillRef idx="0">
            <a:schemeClr val="dk1"/>
          </a:fillRef>
          <a:effectRef idx="0">
            <a:schemeClr val="dk1"/>
          </a:effectRef>
          <a:fontRef idx="minor">
            <a:schemeClr val="tx1"/>
          </a:fontRef>
        </p:style>
      </p:cxnSp>
      <p:sp>
        <p:nvSpPr>
          <p:cNvPr id="161" name="TextBox 160">
            <a:extLst>
              <a:ext uri="{FF2B5EF4-FFF2-40B4-BE49-F238E27FC236}">
                <a16:creationId xmlns:a16="http://schemas.microsoft.com/office/drawing/2014/main" id="{13746FBE-E493-E2B4-EE8A-A66444F7D065}"/>
              </a:ext>
            </a:extLst>
          </p:cNvPr>
          <p:cNvSpPr txBox="1"/>
          <p:nvPr/>
        </p:nvSpPr>
        <p:spPr>
          <a:xfrm>
            <a:off x="18941311" y="4748650"/>
            <a:ext cx="3069156" cy="120017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3658392">
              <a:defRPr/>
            </a:pPr>
            <a:r>
              <a:rPr lang="en-US" dirty="0">
                <a:solidFill>
                  <a:prstClr val="black"/>
                </a:solidFill>
                <a:latin typeface="IBM Plex Sans Light" panose="020B0403050203000203" pitchFamily="34" charset="0"/>
                <a:sym typeface="Helvetica Neue"/>
              </a:rPr>
              <a:t>IBM Business</a:t>
            </a:r>
            <a:br>
              <a:rPr lang="en-US" dirty="0">
                <a:solidFill>
                  <a:prstClr val="black"/>
                </a:solidFill>
                <a:latin typeface="IBM Plex Sans Light" panose="020B0403050203000203" pitchFamily="34" charset="0"/>
                <a:sym typeface="Helvetica Neue"/>
              </a:rPr>
            </a:br>
            <a:r>
              <a:rPr lang="en-US" dirty="0">
                <a:solidFill>
                  <a:prstClr val="black"/>
                </a:solidFill>
                <a:latin typeface="IBM Plex Sans Light" panose="020B0403050203000203" pitchFamily="34" charset="0"/>
                <a:sym typeface="Helvetica Neue"/>
              </a:rPr>
              <a:t> Automation</a:t>
            </a:r>
            <a:endParaRPr lang="en-US" dirty="0">
              <a:solidFill>
                <a:srgbClr val="000000"/>
              </a:solidFill>
              <a:latin typeface="IBM Plex Sans Light"/>
              <a:sym typeface="Helvetica Neue"/>
            </a:endParaRPr>
          </a:p>
        </p:txBody>
      </p:sp>
      <p:cxnSp>
        <p:nvCxnSpPr>
          <p:cNvPr id="162" name="Elbow Connector 99">
            <a:extLst>
              <a:ext uri="{FF2B5EF4-FFF2-40B4-BE49-F238E27FC236}">
                <a16:creationId xmlns:a16="http://schemas.microsoft.com/office/drawing/2014/main" id="{CB322CE0-F585-0E10-D5C3-26238B8A8CCC}"/>
              </a:ext>
            </a:extLst>
          </p:cNvPr>
          <p:cNvCxnSpPr>
            <a:cxnSpLocks/>
            <a:stCxn id="7" idx="1"/>
          </p:cNvCxnSpPr>
          <p:nvPr/>
        </p:nvCxnSpPr>
        <p:spPr bwMode="auto">
          <a:xfrm rot="10800000">
            <a:off x="15056274" y="6560874"/>
            <a:ext cx="1447993" cy="138586"/>
          </a:xfrm>
          <a:prstGeom prst="bentConnector3">
            <a:avLst>
              <a:gd name="adj1" fmla="val 50000"/>
            </a:avLst>
          </a:prstGeom>
          <a:ln w="19050">
            <a:solidFill>
              <a:schemeClr val="tx1"/>
            </a:solidFill>
            <a:prstDash val="dash"/>
            <a:headEnd type="triangle" w="lg" len="lg"/>
            <a:tailEnd type="triangle" w="lg" len="lg"/>
          </a:ln>
          <a:effectLst/>
        </p:spPr>
        <p:style>
          <a:lnRef idx="1">
            <a:schemeClr val="dk1"/>
          </a:lnRef>
          <a:fillRef idx="0">
            <a:schemeClr val="dk1"/>
          </a:fillRef>
          <a:effectRef idx="0">
            <a:schemeClr val="dk1"/>
          </a:effectRef>
          <a:fontRef idx="minor">
            <a:schemeClr val="tx1"/>
          </a:fontRef>
        </p:style>
      </p:cxnSp>
      <p:sp>
        <p:nvSpPr>
          <p:cNvPr id="163" name="Rectangle 162">
            <a:extLst>
              <a:ext uri="{FF2B5EF4-FFF2-40B4-BE49-F238E27FC236}">
                <a16:creationId xmlns:a16="http://schemas.microsoft.com/office/drawing/2014/main" id="{534B519F-A4BC-DD38-6810-6874DD24AD2F}"/>
              </a:ext>
            </a:extLst>
          </p:cNvPr>
          <p:cNvSpPr/>
          <p:nvPr/>
        </p:nvSpPr>
        <p:spPr bwMode="auto">
          <a:xfrm>
            <a:off x="19533932" y="281460"/>
            <a:ext cx="420059" cy="397911"/>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327567" indent="-327567" defTabSz="914309" fontAlgn="base">
              <a:spcBef>
                <a:spcPct val="0"/>
              </a:spcBef>
              <a:spcAft>
                <a:spcPct val="0"/>
              </a:spcAft>
              <a:buFont typeface="Arial" panose="020B0604020202020204" pitchFamily="34" charset="0"/>
              <a:buChar char="•"/>
              <a:defRPr/>
            </a:pPr>
            <a:endParaRPr lang="en-US" sz="2000" dirty="0">
              <a:solidFill>
                <a:srgbClr val="FFFFFF"/>
              </a:solidFill>
              <a:latin typeface="IBM Plex Sans Light"/>
              <a:sym typeface="Helvetica Neue"/>
            </a:endParaRPr>
          </a:p>
        </p:txBody>
      </p:sp>
      <p:sp>
        <p:nvSpPr>
          <p:cNvPr id="164" name="TextBox 163">
            <a:extLst>
              <a:ext uri="{FF2B5EF4-FFF2-40B4-BE49-F238E27FC236}">
                <a16:creationId xmlns:a16="http://schemas.microsoft.com/office/drawing/2014/main" id="{617EED92-774B-0656-C639-DA484817554F}"/>
              </a:ext>
            </a:extLst>
          </p:cNvPr>
          <p:cNvSpPr txBox="1"/>
          <p:nvPr/>
        </p:nvSpPr>
        <p:spPr>
          <a:xfrm>
            <a:off x="20069208" y="280385"/>
            <a:ext cx="4681541" cy="40005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829196">
              <a:defRPr/>
            </a:pPr>
            <a:r>
              <a:rPr lang="en-US" sz="2000" dirty="0">
                <a:solidFill>
                  <a:srgbClr val="0F62FE"/>
                </a:solidFill>
                <a:latin typeface="IBM Plex Sans"/>
                <a:sym typeface="Helvetica Neue"/>
              </a:rPr>
              <a:t>Included in entitlements</a:t>
            </a:r>
            <a:endParaRPr lang="en-US" sz="2000" dirty="0">
              <a:solidFill>
                <a:srgbClr val="000000"/>
              </a:solidFill>
              <a:latin typeface="IBM Plex Sans Light"/>
              <a:sym typeface="Helvetica Neue"/>
            </a:endParaRPr>
          </a:p>
        </p:txBody>
      </p:sp>
      <p:sp>
        <p:nvSpPr>
          <p:cNvPr id="165" name="Rectangle 164">
            <a:extLst>
              <a:ext uri="{FF2B5EF4-FFF2-40B4-BE49-F238E27FC236}">
                <a16:creationId xmlns:a16="http://schemas.microsoft.com/office/drawing/2014/main" id="{11AFBCE4-C3DF-23DA-7EA2-C79CDCF4CD2F}"/>
              </a:ext>
            </a:extLst>
          </p:cNvPr>
          <p:cNvSpPr/>
          <p:nvPr/>
        </p:nvSpPr>
        <p:spPr bwMode="auto">
          <a:xfrm>
            <a:off x="19556052" y="810027"/>
            <a:ext cx="420059" cy="397911"/>
          </a:xfrm>
          <a:prstGeom prst="rect">
            <a:avLst/>
          </a:prstGeom>
          <a:solidFill>
            <a:srgbClr val="E8DB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327567" indent="-327567" defTabSz="914309" fontAlgn="base">
              <a:spcBef>
                <a:spcPct val="0"/>
              </a:spcBef>
              <a:spcAft>
                <a:spcPct val="0"/>
              </a:spcAft>
              <a:buFont typeface="Arial" panose="020B0604020202020204" pitchFamily="34" charset="0"/>
              <a:buChar char="•"/>
              <a:defRPr/>
            </a:pPr>
            <a:endParaRPr lang="en-US" sz="2000" dirty="0">
              <a:solidFill>
                <a:srgbClr val="FFFFFF"/>
              </a:solidFill>
              <a:latin typeface="IBM Plex Sans Light"/>
              <a:sym typeface="Helvetica Neue"/>
            </a:endParaRPr>
          </a:p>
        </p:txBody>
      </p:sp>
      <p:sp>
        <p:nvSpPr>
          <p:cNvPr id="166" name="TextBox 165">
            <a:extLst>
              <a:ext uri="{FF2B5EF4-FFF2-40B4-BE49-F238E27FC236}">
                <a16:creationId xmlns:a16="http://schemas.microsoft.com/office/drawing/2014/main" id="{62364A58-97FF-3C87-F5FB-D14EE784F399}"/>
              </a:ext>
            </a:extLst>
          </p:cNvPr>
          <p:cNvSpPr txBox="1"/>
          <p:nvPr/>
        </p:nvSpPr>
        <p:spPr>
          <a:xfrm>
            <a:off x="20091328" y="808951"/>
            <a:ext cx="4681541" cy="4001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829196">
              <a:defRPr/>
            </a:pPr>
            <a:r>
              <a:rPr lang="en-US" sz="2000" dirty="0">
                <a:solidFill>
                  <a:srgbClr val="0F62FE"/>
                </a:solidFill>
                <a:latin typeface="IBM Plex Sans"/>
                <a:sym typeface="Helvetica Neue"/>
              </a:rPr>
              <a:t>Facilitated integration</a:t>
            </a:r>
            <a:endParaRPr lang="en-US" sz="2000" dirty="0">
              <a:solidFill>
                <a:srgbClr val="000000"/>
              </a:solidFill>
              <a:latin typeface="IBM Plex Sans Light"/>
              <a:sym typeface="Helvetica Neue"/>
            </a:endParaRPr>
          </a:p>
        </p:txBody>
      </p:sp>
    </p:spTree>
    <p:extLst>
      <p:ext uri="{BB962C8B-B14F-4D97-AF65-F5344CB8AC3E}">
        <p14:creationId xmlns:p14="http://schemas.microsoft.com/office/powerpoint/2010/main" val="38750805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790337E6-2A6C-905C-A0FA-18582CE86251}"/>
              </a:ext>
            </a:extLst>
          </p:cNvPr>
          <p:cNvSpPr/>
          <p:nvPr/>
        </p:nvSpPr>
        <p:spPr bwMode="auto">
          <a:xfrm>
            <a:off x="11838377" y="306047"/>
            <a:ext cx="12166532" cy="12697458"/>
          </a:xfrm>
          <a:prstGeom prst="rect">
            <a:avLst/>
          </a:prstGeom>
          <a:solidFill>
            <a:schemeClr val="accent2">
              <a:lumMod val="20000"/>
              <a:lumOff val="8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82844" tIns="182844" rIns="182844" bIns="182844" numCol="1" rtlCol="0" anchor="t" anchorCtr="0" compatLnSpc="1">
            <a:prstTxWarp prst="textNoShape">
              <a:avLst/>
            </a:prstTxWarp>
          </a:bodyPr>
          <a:lstStyle/>
          <a:p>
            <a:pPr marL="0" marR="0" lvl="0" indent="0" algn="l" defTabSz="1828344"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IBM Plex Sans Light"/>
              <a:ea typeface="+mn-ea"/>
              <a:cs typeface="+mn-cs"/>
              <a:sym typeface="Helvetica"/>
            </a:endParaRPr>
          </a:p>
        </p:txBody>
      </p:sp>
      <p:sp>
        <p:nvSpPr>
          <p:cNvPr id="9" name="Oval 4">
            <a:extLst>
              <a:ext uri="{FF2B5EF4-FFF2-40B4-BE49-F238E27FC236}">
                <a16:creationId xmlns:a16="http://schemas.microsoft.com/office/drawing/2014/main" id="{CEE10E38-9C1E-EA68-F272-095535C46220}"/>
              </a:ext>
            </a:extLst>
          </p:cNvPr>
          <p:cNvSpPr txBox="1"/>
          <p:nvPr/>
        </p:nvSpPr>
        <p:spPr>
          <a:xfrm>
            <a:off x="12928373" y="7955485"/>
            <a:ext cx="9873592" cy="1828442"/>
          </a:xfrm>
          <a:prstGeom prst="rect">
            <a:avLst/>
          </a:prstGeom>
          <a:noFill/>
          <a:ln>
            <a:solidFill>
              <a:schemeClr val="accent1"/>
            </a:solidFill>
            <a:prstDash val="dash"/>
          </a:ln>
        </p:spPr>
        <p:style>
          <a:lnRef idx="0">
            <a:scrgbClr r="0" g="0" b="0"/>
          </a:lnRef>
          <a:fillRef idx="0">
            <a:scrgbClr r="0" g="0" b="0"/>
          </a:fillRef>
          <a:effectRef idx="0">
            <a:scrgbClr r="0" g="0" b="0"/>
          </a:effectRef>
          <a:fontRef idx="minor">
            <a:schemeClr val="lt1"/>
          </a:fontRef>
        </p:style>
        <p:txBody>
          <a:bodyPr spcFirstLastPara="0" vert="horz" wrap="square" lIns="30474" tIns="30474" rIns="30474" bIns="30474" numCol="1" spcCol="1270" anchor="ctr" anchorCtr="0">
            <a:noAutofit/>
          </a:bodyPr>
          <a:lstStyle/>
          <a:p>
            <a:pPr marL="0" marR="0" lvl="0" indent="0" algn="ctr" defTabSz="1066534" rtl="0" eaLnBrk="1" fontAlgn="auto" latinLnBrk="0" hangingPunct="1">
              <a:lnSpc>
                <a:spcPct val="90000"/>
              </a:lnSpc>
              <a:spcBef>
                <a:spcPct val="0"/>
              </a:spcBef>
              <a:spcAft>
                <a:spcPct val="35000"/>
              </a:spcAft>
              <a:buClrTx/>
              <a:buSzTx/>
              <a:buFontTx/>
              <a:buNone/>
              <a:tabLst/>
              <a:defRPr/>
            </a:pPr>
            <a:r>
              <a:rPr kumimoji="0" lang="en-US" sz="2800" b="0" i="0" u="none" strike="noStrike" kern="1200" cap="none" spc="0" normalizeH="0" baseline="0" noProof="0" dirty="0">
                <a:ln>
                  <a:noFill/>
                </a:ln>
                <a:solidFill>
                  <a:srgbClr val="7030A0"/>
                </a:solidFill>
                <a:effectLst/>
                <a:uLnTx/>
                <a:uFillTx/>
                <a:latin typeface="IBM Plex Sans Medm" panose="020B0503050203000203" pitchFamily="34" charset="0"/>
                <a:ea typeface="Calibri" panose="020F0502020204030204" pitchFamily="34" charset="0"/>
                <a:cs typeface="Times New Roman" panose="02020603050405020304" pitchFamily="18" charset="0"/>
                <a:sym typeface="Helvetica"/>
              </a:rPr>
              <a:t>Unleash new Business Value</a:t>
            </a:r>
          </a:p>
          <a:p>
            <a:pPr marL="0" marR="0" lvl="0" indent="0" algn="ctr" defTabSz="1066534" rtl="0" eaLnBrk="1" fontAlgn="auto" latinLnBrk="0" hangingPunct="1">
              <a:lnSpc>
                <a:spcPct val="90000"/>
              </a:lnSpc>
              <a:spcBef>
                <a:spcPct val="0"/>
              </a:spcBef>
              <a:spcAft>
                <a:spcPct val="35000"/>
              </a:spcAft>
              <a:buClrTx/>
              <a:buSzTx/>
              <a:buFontTx/>
              <a:buNone/>
              <a:tabLst/>
              <a:defRPr/>
            </a:pPr>
            <a:r>
              <a:rPr kumimoji="0" lang="en-IN" sz="2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Helvetica"/>
              </a:rPr>
              <a:t>Survey complex, diverse sources of data, detect, analyse, communicate and act upon insights seamlessly, in real-time</a:t>
            </a:r>
            <a:endParaRPr kumimoji="0" lang="en-US" sz="2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Helvetica"/>
            </a:endParaRPr>
          </a:p>
        </p:txBody>
      </p:sp>
      <p:sp>
        <p:nvSpPr>
          <p:cNvPr id="10" name="Oval 6">
            <a:extLst>
              <a:ext uri="{FF2B5EF4-FFF2-40B4-BE49-F238E27FC236}">
                <a16:creationId xmlns:a16="http://schemas.microsoft.com/office/drawing/2014/main" id="{784C5802-663F-681E-A91E-9BD1B8DA68C7}"/>
              </a:ext>
            </a:extLst>
          </p:cNvPr>
          <p:cNvSpPr txBox="1"/>
          <p:nvPr/>
        </p:nvSpPr>
        <p:spPr>
          <a:xfrm>
            <a:off x="12928373" y="10224885"/>
            <a:ext cx="9873592" cy="1828442"/>
          </a:xfrm>
          <a:prstGeom prst="rect">
            <a:avLst/>
          </a:prstGeom>
          <a:noFill/>
          <a:ln>
            <a:solidFill>
              <a:schemeClr val="accent1"/>
            </a:solidFill>
            <a:prstDash val="dash"/>
          </a:ln>
        </p:spPr>
        <p:style>
          <a:lnRef idx="0">
            <a:scrgbClr r="0" g="0" b="0"/>
          </a:lnRef>
          <a:fillRef idx="0">
            <a:scrgbClr r="0" g="0" b="0"/>
          </a:fillRef>
          <a:effectRef idx="0">
            <a:scrgbClr r="0" g="0" b="0"/>
          </a:effectRef>
          <a:fontRef idx="minor">
            <a:schemeClr val="lt1"/>
          </a:fontRef>
        </p:style>
        <p:txBody>
          <a:bodyPr spcFirstLastPara="0" vert="horz" wrap="square" lIns="30474" tIns="30474" rIns="30474" bIns="30474" numCol="1" spcCol="1270" anchor="ctr" anchorCtr="0">
            <a:noAutofit/>
          </a:bodyPr>
          <a:lstStyle/>
          <a:p>
            <a:pPr marL="0" marR="0" lvl="0" indent="0" algn="ctr" defTabSz="1066534" rtl="0" eaLnBrk="1" fontAlgn="auto" latinLnBrk="0" hangingPunct="1">
              <a:lnSpc>
                <a:spcPct val="90000"/>
              </a:lnSpc>
              <a:spcBef>
                <a:spcPct val="0"/>
              </a:spcBef>
              <a:spcAft>
                <a:spcPct val="35000"/>
              </a:spcAft>
              <a:buClrTx/>
              <a:buSzTx/>
              <a:buFontTx/>
              <a:buNone/>
              <a:tabLst/>
              <a:defRPr/>
            </a:pPr>
            <a:r>
              <a:rPr kumimoji="0" lang="en-US" sz="2800" b="0" i="0" u="none" strike="noStrike" kern="1200" cap="none" spc="0" normalizeH="0" baseline="0" noProof="0" dirty="0">
                <a:ln>
                  <a:noFill/>
                </a:ln>
                <a:solidFill>
                  <a:srgbClr val="7030A0"/>
                </a:solidFill>
                <a:effectLst/>
                <a:uLnTx/>
                <a:uFillTx/>
                <a:latin typeface="IBM Plex Sans Medm" panose="020B0503050203000203" pitchFamily="34" charset="0"/>
                <a:ea typeface="IBM Plex Sans" charset="0"/>
                <a:cs typeface="IBM Plex Sans" charset="0"/>
                <a:sym typeface="Helvetica"/>
              </a:rPr>
              <a:t>Improve Agility   </a:t>
            </a:r>
          </a:p>
          <a:p>
            <a:pPr marL="0" marR="0" lvl="0" indent="0" algn="ctr" defTabSz="1066534"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Helvetica Neue Light"/>
              </a:rPr>
              <a:t>Adopt flexible operating models to respond quickly to vendors and existing customers</a:t>
            </a:r>
            <a:endParaRPr kumimoji="0" lang="en-US" sz="2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Helvetica"/>
            </a:endParaRPr>
          </a:p>
        </p:txBody>
      </p:sp>
      <p:sp>
        <p:nvSpPr>
          <p:cNvPr id="11" name="Oval 8">
            <a:extLst>
              <a:ext uri="{FF2B5EF4-FFF2-40B4-BE49-F238E27FC236}">
                <a16:creationId xmlns:a16="http://schemas.microsoft.com/office/drawing/2014/main" id="{46393907-8D82-D974-0FF0-4F3FCDF215D8}"/>
              </a:ext>
            </a:extLst>
          </p:cNvPr>
          <p:cNvSpPr txBox="1"/>
          <p:nvPr/>
        </p:nvSpPr>
        <p:spPr>
          <a:xfrm>
            <a:off x="12928373" y="5686081"/>
            <a:ext cx="9873592" cy="1828442"/>
          </a:xfrm>
          <a:prstGeom prst="rect">
            <a:avLst/>
          </a:prstGeom>
          <a:noFill/>
          <a:ln>
            <a:solidFill>
              <a:schemeClr val="accent1"/>
            </a:solidFill>
            <a:prstDash val="dash"/>
          </a:ln>
        </p:spPr>
        <p:style>
          <a:lnRef idx="0">
            <a:scrgbClr r="0" g="0" b="0"/>
          </a:lnRef>
          <a:fillRef idx="0">
            <a:scrgbClr r="0" g="0" b="0"/>
          </a:fillRef>
          <a:effectRef idx="0">
            <a:scrgbClr r="0" g="0" b="0"/>
          </a:effectRef>
          <a:fontRef idx="minor">
            <a:schemeClr val="lt1"/>
          </a:fontRef>
        </p:style>
        <p:txBody>
          <a:bodyPr spcFirstLastPara="0" vert="horz" wrap="square" lIns="30474" tIns="30474" rIns="30474" bIns="30474" numCol="1" spcCol="1270" anchor="ctr" anchorCtr="0">
            <a:noAutofit/>
          </a:bodyPr>
          <a:lstStyle/>
          <a:p>
            <a:pPr marL="0" marR="0" lvl="0" indent="0" algn="ctr" defTabSz="1066534" rtl="0" eaLnBrk="1" fontAlgn="auto" latinLnBrk="0" hangingPunct="1">
              <a:lnSpc>
                <a:spcPct val="90000"/>
              </a:lnSpc>
              <a:spcBef>
                <a:spcPct val="0"/>
              </a:spcBef>
              <a:spcAft>
                <a:spcPct val="35000"/>
              </a:spcAft>
              <a:buClrTx/>
              <a:buSzTx/>
              <a:buFontTx/>
              <a:buNone/>
              <a:tabLst/>
              <a:defRPr/>
            </a:pPr>
            <a:r>
              <a:rPr kumimoji="0" lang="en-US" sz="2800" b="0" i="0" u="none" strike="noStrike" kern="1200" cap="none" spc="0" normalizeH="0" baseline="0" noProof="0" dirty="0">
                <a:ln>
                  <a:noFill/>
                </a:ln>
                <a:solidFill>
                  <a:srgbClr val="7030A0"/>
                </a:solidFill>
                <a:effectLst/>
                <a:uLnTx/>
                <a:uFillTx/>
                <a:latin typeface="IBM Plex Sans Medm" panose="020B0503050203000203" pitchFamily="34" charset="0"/>
                <a:ea typeface="Calibri" panose="020F0502020204030204" pitchFamily="34" charset="0"/>
                <a:cs typeface="Times New Roman" panose="02020603050405020304" pitchFamily="18" charset="0"/>
                <a:sym typeface="Helvetica"/>
              </a:rPr>
              <a:t>Enhance Experience</a:t>
            </a:r>
          </a:p>
          <a:p>
            <a:pPr marL="0" marR="0" lvl="0" indent="0" algn="ctr" defTabSz="1066534"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Helvetica Neue Light"/>
              </a:rPr>
              <a:t>Engage with internal teams quickly with low effort to focus on relationship building and high value </a:t>
            </a:r>
            <a:r>
              <a:rPr kumimoji="0" lang="en-US" sz="2400" b="0" i="0" u="none" strike="noStrike" kern="1200" cap="none" spc="0" normalizeH="0" baseline="0" noProof="0" dirty="0">
                <a:ln>
                  <a:noFill/>
                </a:ln>
                <a:solidFill>
                  <a:srgbClr val="000000"/>
                </a:solidFill>
                <a:effectLst/>
                <a:uLnTx/>
                <a:uFillTx/>
                <a:latin typeface="IBM Plex Sans Light" panose="020B0403050203000203" pitchFamily="34" charset="0"/>
                <a:ea typeface="Helvetica Neue Light"/>
                <a:cs typeface="Helvetica Neue Light"/>
                <a:sym typeface="Helvetica Neue Light"/>
              </a:rPr>
              <a:t>tasks.</a:t>
            </a:r>
            <a:endParaRPr kumimoji="0" lang="en-US" sz="2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Helvetica"/>
            </a:endParaRPr>
          </a:p>
        </p:txBody>
      </p:sp>
      <p:sp>
        <p:nvSpPr>
          <p:cNvPr id="12" name="Oval 10">
            <a:extLst>
              <a:ext uri="{FF2B5EF4-FFF2-40B4-BE49-F238E27FC236}">
                <a16:creationId xmlns:a16="http://schemas.microsoft.com/office/drawing/2014/main" id="{2AA10607-E131-A8FB-89AD-0E0C7E1C5954}"/>
              </a:ext>
            </a:extLst>
          </p:cNvPr>
          <p:cNvSpPr txBox="1"/>
          <p:nvPr/>
        </p:nvSpPr>
        <p:spPr>
          <a:xfrm>
            <a:off x="12928373" y="3416679"/>
            <a:ext cx="9873592" cy="1828442"/>
          </a:xfrm>
          <a:prstGeom prst="rect">
            <a:avLst/>
          </a:prstGeom>
          <a:noFill/>
          <a:ln>
            <a:solidFill>
              <a:schemeClr val="accent1"/>
            </a:solidFill>
            <a:prstDash val="dash"/>
          </a:ln>
        </p:spPr>
        <p:style>
          <a:lnRef idx="0">
            <a:scrgbClr r="0" g="0" b="0"/>
          </a:lnRef>
          <a:fillRef idx="0">
            <a:scrgbClr r="0" g="0" b="0"/>
          </a:fillRef>
          <a:effectRef idx="0">
            <a:scrgbClr r="0" g="0" b="0"/>
          </a:effectRef>
          <a:fontRef idx="minor">
            <a:schemeClr val="lt1"/>
          </a:fontRef>
        </p:style>
        <p:txBody>
          <a:bodyPr spcFirstLastPara="0" vert="horz" wrap="square" lIns="30474" tIns="30474" rIns="30474" bIns="30474" numCol="1" spcCol="1270" anchor="ctr" anchorCtr="0">
            <a:noAutofit/>
          </a:bodyPr>
          <a:lstStyle/>
          <a:p>
            <a:pPr marL="0" marR="0" lvl="0" indent="0" algn="ctr" defTabSz="1066534" rtl="0" eaLnBrk="1" fontAlgn="auto" latinLnBrk="0" hangingPunct="1">
              <a:lnSpc>
                <a:spcPct val="90000"/>
              </a:lnSpc>
              <a:spcBef>
                <a:spcPct val="0"/>
              </a:spcBef>
              <a:spcAft>
                <a:spcPct val="35000"/>
              </a:spcAft>
              <a:buClrTx/>
              <a:buSzTx/>
              <a:buFontTx/>
              <a:buNone/>
              <a:tabLst/>
              <a:defRPr/>
            </a:pPr>
            <a:r>
              <a:rPr kumimoji="0" lang="en-US" sz="2800" b="0" i="0" u="none" strike="noStrike" kern="1200" cap="none" spc="0" normalizeH="0" baseline="0" noProof="0" dirty="0">
                <a:ln>
                  <a:noFill/>
                </a:ln>
                <a:solidFill>
                  <a:srgbClr val="7030A0"/>
                </a:solidFill>
                <a:effectLst/>
                <a:uLnTx/>
                <a:uFillTx/>
                <a:latin typeface="IBM Plex Sans Medm" panose="020B0503050203000203" pitchFamily="34" charset="0"/>
                <a:ea typeface="IBM Plex Sans" charset="0"/>
                <a:cs typeface="IBM Plex Sans" charset="0"/>
                <a:sym typeface="Helvetica"/>
              </a:rPr>
              <a:t>Accelerate Growth            </a:t>
            </a:r>
          </a:p>
          <a:p>
            <a:pPr marL="0" marR="0" lvl="0" indent="0" algn="ctr" defTabSz="1066534"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Helvetica Neue Light"/>
              </a:rPr>
              <a:t>Accelerate innovation by embedding AI Assistants into workforce and  operations plans and organizational structures</a:t>
            </a:r>
            <a:endParaRPr kumimoji="0" lang="en-US" sz="2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Helvetica"/>
            </a:endParaRPr>
          </a:p>
        </p:txBody>
      </p:sp>
      <p:sp>
        <p:nvSpPr>
          <p:cNvPr id="16" name="Title 1">
            <a:extLst>
              <a:ext uri="{FF2B5EF4-FFF2-40B4-BE49-F238E27FC236}">
                <a16:creationId xmlns:a16="http://schemas.microsoft.com/office/drawing/2014/main" id="{AA275516-592F-43A3-DF11-46A84EC51313}"/>
              </a:ext>
            </a:extLst>
          </p:cNvPr>
          <p:cNvSpPr txBox="1">
            <a:spLocks/>
          </p:cNvSpPr>
          <p:nvPr/>
        </p:nvSpPr>
        <p:spPr>
          <a:xfrm>
            <a:off x="529679" y="370789"/>
            <a:ext cx="10775552" cy="1329334"/>
          </a:xfrm>
          <a:prstGeom prst="rect">
            <a:avLst/>
          </a:prstGeom>
        </p:spPr>
        <p:txBody>
          <a:bodyPr lIns="91428" tIns="45714" rIns="91428" bIns="45714" anchor="t"/>
          <a:lstStyle>
            <a:lvl1pPr algn="l" defTabSz="914340" rtl="0" eaLnBrk="1" latinLnBrk="0" hangingPunct="1">
              <a:lnSpc>
                <a:spcPct val="90000"/>
              </a:lnSpc>
              <a:spcBef>
                <a:spcPct val="0"/>
              </a:spcBef>
              <a:buNone/>
              <a:defRPr sz="3000" b="0" i="0" kern="1200">
                <a:solidFill>
                  <a:schemeClr val="tx1"/>
                </a:solidFill>
                <a:latin typeface="IBM Plex Sans" charset="0"/>
                <a:ea typeface="IBM Plex Sans" charset="0"/>
                <a:cs typeface="IBM Plex Sans" charset="0"/>
              </a:defRPr>
            </a:lvl1pPr>
          </a:lstStyle>
          <a:p>
            <a:pPr marL="0" marR="0" lvl="0" indent="0" algn="l" defTabSz="1828198" rtl="0" eaLnBrk="1" fontAlgn="auto" latinLnBrk="0" hangingPunct="1">
              <a:lnSpc>
                <a:spcPct val="90000"/>
              </a:lnSpc>
              <a:spcBef>
                <a:spcPct val="0"/>
              </a:spcBef>
              <a:spcAft>
                <a:spcPts val="0"/>
              </a:spcAft>
              <a:buClrTx/>
              <a:buSzTx/>
              <a:buFontTx/>
              <a:buNone/>
              <a:tabLst/>
              <a:defRPr/>
            </a:pPr>
            <a:r>
              <a:rPr lang="en-US" sz="4800" dirty="0">
                <a:latin typeface="+mj-lt"/>
              </a:rPr>
              <a:t>IBM watsonx Orchestrate patterns of use across the </a:t>
            </a:r>
            <a:r>
              <a:rPr lang="en-US" sz="4800" dirty="0">
                <a:solidFill>
                  <a:schemeClr val="accent1"/>
                </a:solidFill>
                <a:latin typeface="+mj-lt"/>
              </a:rPr>
              <a:t>enterprise</a:t>
            </a:r>
            <a:endParaRPr kumimoji="0" lang="en-US" altLang="zh-CN" sz="4800" b="0" i="0" u="none" strike="noStrike" kern="1200" cap="none" spc="0" normalizeH="0" baseline="0" noProof="0" dirty="0">
              <a:ln>
                <a:noFill/>
              </a:ln>
              <a:solidFill>
                <a:srgbClr val="000000"/>
              </a:solidFill>
              <a:effectLst/>
              <a:uLnTx/>
              <a:uFillTx/>
              <a:latin typeface="IBM Plex Sans Light"/>
              <a:ea typeface="+mj-ea"/>
              <a:cs typeface="+mj-cs"/>
              <a:sym typeface="Helvetica"/>
            </a:endParaRPr>
          </a:p>
        </p:txBody>
      </p:sp>
      <p:cxnSp>
        <p:nvCxnSpPr>
          <p:cNvPr id="17" name="Straight Connector 2">
            <a:extLst>
              <a:ext uri="{FF2B5EF4-FFF2-40B4-BE49-F238E27FC236}">
                <a16:creationId xmlns:a16="http://schemas.microsoft.com/office/drawing/2014/main" id="{64D54D6E-659A-D3F5-9203-DF008E3E6327}"/>
              </a:ext>
            </a:extLst>
          </p:cNvPr>
          <p:cNvCxnSpPr>
            <a:cxnSpLocks/>
          </p:cNvCxnSpPr>
          <p:nvPr/>
        </p:nvCxnSpPr>
        <p:spPr>
          <a:xfrm flipH="1">
            <a:off x="929471" y="7514522"/>
            <a:ext cx="9738728" cy="0"/>
          </a:xfrm>
          <a:prstGeom prst="line">
            <a:avLst/>
          </a:prstGeom>
          <a:ln w="12700">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pic>
        <p:nvPicPr>
          <p:cNvPr id="18" name="图片 46">
            <a:extLst>
              <a:ext uri="{FF2B5EF4-FFF2-40B4-BE49-F238E27FC236}">
                <a16:creationId xmlns:a16="http://schemas.microsoft.com/office/drawing/2014/main" id="{1CF9A5E9-515A-2409-022A-E1A42A11BD84}"/>
              </a:ext>
            </a:extLst>
          </p:cNvPr>
          <p:cNvPicPr>
            <a:picLocks noChangeAspect="1"/>
          </p:cNvPicPr>
          <p:nvPr/>
        </p:nvPicPr>
        <p:blipFill>
          <a:blip r:embed="rId3">
            <a:duotone>
              <a:prstClr val="black"/>
              <a:schemeClr val="accent2">
                <a:tint val="45000"/>
                <a:satMod val="400000"/>
              </a:schemeClr>
            </a:duotone>
          </a:blip>
          <a:stretch>
            <a:fillRect/>
          </a:stretch>
        </p:blipFill>
        <p:spPr>
          <a:xfrm>
            <a:off x="906180" y="2405911"/>
            <a:ext cx="654218" cy="654218"/>
          </a:xfrm>
          <a:prstGeom prst="rect">
            <a:avLst/>
          </a:prstGeom>
          <a:noFill/>
          <a:ln>
            <a:noFill/>
          </a:ln>
        </p:spPr>
      </p:pic>
      <p:pic>
        <p:nvPicPr>
          <p:cNvPr id="19" name="图片 11">
            <a:extLst>
              <a:ext uri="{FF2B5EF4-FFF2-40B4-BE49-F238E27FC236}">
                <a16:creationId xmlns:a16="http://schemas.microsoft.com/office/drawing/2014/main" id="{D79AC54F-563D-0266-F199-4B465CDFC8F4}"/>
              </a:ext>
            </a:extLst>
          </p:cNvPr>
          <p:cNvPicPr>
            <a:picLocks noChangeAspect="1"/>
          </p:cNvPicPr>
          <p:nvPr/>
        </p:nvPicPr>
        <p:blipFill>
          <a:blip r:embed="rId4">
            <a:duotone>
              <a:prstClr val="black"/>
              <a:schemeClr val="accent1">
                <a:tint val="45000"/>
                <a:satMod val="400000"/>
              </a:schemeClr>
            </a:duotone>
          </a:blip>
          <a:stretch>
            <a:fillRect/>
          </a:stretch>
        </p:blipFill>
        <p:spPr>
          <a:xfrm>
            <a:off x="867225" y="7784532"/>
            <a:ext cx="693172" cy="693172"/>
          </a:xfrm>
          <a:prstGeom prst="rect">
            <a:avLst/>
          </a:prstGeom>
          <a:noFill/>
          <a:ln>
            <a:noFill/>
          </a:ln>
        </p:spPr>
      </p:pic>
      <p:sp>
        <p:nvSpPr>
          <p:cNvPr id="22" name="Rectangle 21">
            <a:extLst>
              <a:ext uri="{FF2B5EF4-FFF2-40B4-BE49-F238E27FC236}">
                <a16:creationId xmlns:a16="http://schemas.microsoft.com/office/drawing/2014/main" id="{B51645D3-E0C7-35C8-EB0E-1C096ABF8A86}"/>
              </a:ext>
            </a:extLst>
          </p:cNvPr>
          <p:cNvSpPr/>
          <p:nvPr/>
        </p:nvSpPr>
        <p:spPr>
          <a:xfrm>
            <a:off x="759893" y="4202297"/>
            <a:ext cx="4815720" cy="1477328"/>
          </a:xfrm>
          <a:prstGeom prst="rect">
            <a:avLst/>
          </a:prstGeom>
        </p:spPr>
        <p:txBody>
          <a:bodyPr wrap="square" anchor="t">
            <a:spAutoFit/>
          </a:bodyPr>
          <a:lstStyle/>
          <a:p>
            <a:pPr marL="0" marR="0" lvl="0" indent="0" algn="l" defTabSz="1827186" rtl="0" eaLnBrk="1" fontAlgn="ctr" latinLnBrk="0" hangingPunct="1">
              <a:lnSpc>
                <a:spcPct val="100000"/>
              </a:lnSpc>
              <a:spcBef>
                <a:spcPts val="0"/>
              </a:spcBef>
              <a:spcAft>
                <a:spcPts val="0"/>
              </a:spcAft>
              <a:buClrTx/>
              <a:buSzTx/>
              <a:buFontTx/>
              <a:buNone/>
              <a:tabLst/>
              <a:defRPr/>
            </a:pPr>
            <a:r>
              <a:rPr kumimoji="0" lang="en-US" sz="30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sym typeface="Helvetica"/>
              </a:rPr>
              <a:t>Deeper </a:t>
            </a:r>
            <a:r>
              <a:rPr kumimoji="0" lang="en-US" sz="3000" b="0" i="0" u="none" strike="noStrike" kern="0" cap="none" spc="0" normalizeH="0" baseline="0" noProof="0" dirty="0">
                <a:ln>
                  <a:noFill/>
                </a:ln>
                <a:solidFill>
                  <a:srgbClr val="A56EFF"/>
                </a:solidFill>
                <a:effectLst/>
                <a:uLnTx/>
                <a:uFillTx/>
                <a:latin typeface="IBM Plex Sans Light" panose="020B0403050203000203" pitchFamily="34" charset="0"/>
                <a:ea typeface="+mn-ea"/>
                <a:cs typeface="+mn-cs"/>
                <a:sym typeface="Helvetica"/>
              </a:rPr>
              <a:t>insights</a:t>
            </a:r>
            <a:r>
              <a:rPr kumimoji="0" lang="en-US" sz="30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sym typeface="Helvetica"/>
              </a:rPr>
              <a:t> into the market and internal data you work with day-to-day</a:t>
            </a:r>
            <a:endParaRPr kumimoji="0" lang="en-US" sz="30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pic>
        <p:nvPicPr>
          <p:cNvPr id="25" name="Picture 24" descr="A logo of a cube with lines and dots&#10;&#10;Description automatically generated">
            <a:extLst>
              <a:ext uri="{FF2B5EF4-FFF2-40B4-BE49-F238E27FC236}">
                <a16:creationId xmlns:a16="http://schemas.microsoft.com/office/drawing/2014/main" id="{2171D6AF-6DE1-DA75-B138-718F9257557C}"/>
              </a:ext>
            </a:extLst>
          </p:cNvPr>
          <p:cNvPicPr>
            <a:picLocks noChangeAspect="1"/>
          </p:cNvPicPr>
          <p:nvPr/>
        </p:nvPicPr>
        <p:blipFill>
          <a:blip r:embed="rId5"/>
          <a:stretch>
            <a:fillRect/>
          </a:stretch>
        </p:blipFill>
        <p:spPr>
          <a:xfrm>
            <a:off x="16499483" y="1303593"/>
            <a:ext cx="2029380" cy="1876630"/>
          </a:xfrm>
          <a:prstGeom prst="rect">
            <a:avLst/>
          </a:prstGeom>
        </p:spPr>
      </p:pic>
      <p:sp>
        <p:nvSpPr>
          <p:cNvPr id="3" name="TextBox 2">
            <a:extLst>
              <a:ext uri="{FF2B5EF4-FFF2-40B4-BE49-F238E27FC236}">
                <a16:creationId xmlns:a16="http://schemas.microsoft.com/office/drawing/2014/main" id="{87674490-7F4E-C2BD-CAE5-783BA42616FF}"/>
              </a:ext>
            </a:extLst>
          </p:cNvPr>
          <p:cNvSpPr txBox="1"/>
          <p:nvPr/>
        </p:nvSpPr>
        <p:spPr>
          <a:xfrm>
            <a:off x="1869093" y="2351136"/>
            <a:ext cx="9154344" cy="769441"/>
          </a:xfrm>
          <a:prstGeom prst="rect">
            <a:avLst/>
          </a:prstGeom>
          <a:noFill/>
        </p:spPr>
        <p:txBody>
          <a:bodyPr wrap="square">
            <a:spAutoFit/>
          </a:bodyPr>
          <a:lstStyle/>
          <a:p>
            <a:pPr marL="0" marR="0" lvl="0" indent="0" algn="l" defTabSz="1828960" rtl="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A56EFF"/>
                </a:solidFill>
                <a:effectLst/>
                <a:uLnTx/>
                <a:uFillTx/>
                <a:latin typeface="IBM Plex Sans" panose="020B0503050203000203" pitchFamily="34" charset="0"/>
                <a:ea typeface="+mn-ea"/>
                <a:cs typeface="+mn-cs"/>
              </a:rPr>
              <a:t>Re-Imagine Domain Insights</a:t>
            </a:r>
            <a:endParaRPr kumimoji="0" lang="en-US" sz="4000" b="0" i="0" u="none" strike="noStrike" kern="1200" cap="none" spc="0" normalizeH="0" baseline="0" noProof="0" dirty="0">
              <a:ln>
                <a:noFill/>
              </a:ln>
              <a:solidFill>
                <a:srgbClr val="A56EFF"/>
              </a:solidFill>
              <a:effectLst/>
              <a:uLnTx/>
              <a:uFillTx/>
              <a:latin typeface="IBM Plex Sans" panose="020B0503050203000203" pitchFamily="34" charset="0"/>
              <a:ea typeface="+mn-ea"/>
              <a:cs typeface="+mn-cs"/>
            </a:endParaRPr>
          </a:p>
        </p:txBody>
      </p:sp>
      <p:sp>
        <p:nvSpPr>
          <p:cNvPr id="8" name="TextBox 7">
            <a:extLst>
              <a:ext uri="{FF2B5EF4-FFF2-40B4-BE49-F238E27FC236}">
                <a16:creationId xmlns:a16="http://schemas.microsoft.com/office/drawing/2014/main" id="{760F4212-C5A7-F267-3E92-D863315AEDAE}"/>
              </a:ext>
            </a:extLst>
          </p:cNvPr>
          <p:cNvSpPr txBox="1"/>
          <p:nvPr/>
        </p:nvSpPr>
        <p:spPr>
          <a:xfrm>
            <a:off x="1906111" y="3082676"/>
            <a:ext cx="7904404" cy="584775"/>
          </a:xfrm>
          <a:prstGeom prst="rect">
            <a:avLst/>
          </a:prstGeom>
          <a:noFill/>
        </p:spPr>
        <p:txBody>
          <a:bodyPr wrap="square">
            <a:spAutoFit/>
          </a:bodyPr>
          <a:lstStyle/>
          <a:p>
            <a:pPr marL="0" marR="0" lvl="0" indent="0" algn="l" defTabSz="243741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Knowledge becomes accessible for all</a:t>
            </a:r>
          </a:p>
        </p:txBody>
      </p:sp>
      <p:sp>
        <p:nvSpPr>
          <p:cNvPr id="23" name="TextBox 22">
            <a:extLst>
              <a:ext uri="{FF2B5EF4-FFF2-40B4-BE49-F238E27FC236}">
                <a16:creationId xmlns:a16="http://schemas.microsoft.com/office/drawing/2014/main" id="{BC8813D6-6D63-7DFD-3086-38D65D87C571}"/>
              </a:ext>
            </a:extLst>
          </p:cNvPr>
          <p:cNvSpPr txBox="1"/>
          <p:nvPr/>
        </p:nvSpPr>
        <p:spPr>
          <a:xfrm>
            <a:off x="6421293" y="4202297"/>
            <a:ext cx="4571404" cy="147732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1827186" rtl="0" eaLnBrk="1" fontAlgn="ctr"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A56EFF"/>
                </a:solidFill>
                <a:effectLst/>
                <a:uLnTx/>
                <a:uFillTx/>
                <a:latin typeface="IBM Plex Sans Light" panose="020B0403050203000203" pitchFamily="34" charset="0"/>
                <a:ea typeface="+mn-ea"/>
                <a:cs typeface="+mn-cs"/>
                <a:sym typeface="Helvetica"/>
              </a:rPr>
              <a:t>Structured</a:t>
            </a:r>
            <a:r>
              <a:rPr kumimoji="0" lang="en-US" sz="3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Helvetica"/>
              </a:rPr>
              <a:t> transparency of your data with language prompts</a:t>
            </a:r>
            <a:endParaRPr kumimoji="0" lang="en-US" sz="3000" b="0" i="0" u="none" strike="noStrike" kern="1200" cap="none" spc="0" normalizeH="0" baseline="0" noProof="0" dirty="0">
              <a:ln>
                <a:noFill/>
              </a:ln>
              <a:solidFill>
                <a:srgbClr val="A56EFF"/>
              </a:solidFill>
              <a:effectLst/>
              <a:uLnTx/>
              <a:uFillTx/>
              <a:latin typeface="IBM Plex Sans Light" panose="020B0403050203000203" pitchFamily="34" charset="0"/>
              <a:ea typeface="+mn-ea"/>
              <a:cs typeface="+mn-cs"/>
              <a:sym typeface="Helvetica"/>
            </a:endParaRPr>
          </a:p>
        </p:txBody>
      </p:sp>
      <p:sp>
        <p:nvSpPr>
          <p:cNvPr id="24" name="TextBox 23">
            <a:extLst>
              <a:ext uri="{FF2B5EF4-FFF2-40B4-BE49-F238E27FC236}">
                <a16:creationId xmlns:a16="http://schemas.microsoft.com/office/drawing/2014/main" id="{06BE6A9A-F915-C979-1E2B-3052A0C1668A}"/>
              </a:ext>
            </a:extLst>
          </p:cNvPr>
          <p:cNvSpPr txBox="1"/>
          <p:nvPr/>
        </p:nvSpPr>
        <p:spPr>
          <a:xfrm>
            <a:off x="1888086" y="7783414"/>
            <a:ext cx="9950290" cy="769441"/>
          </a:xfrm>
          <a:prstGeom prst="rect">
            <a:avLst/>
          </a:prstGeom>
          <a:noFill/>
        </p:spPr>
        <p:txBody>
          <a:bodyPr wrap="square">
            <a:spAutoFit/>
          </a:bodyPr>
          <a:lstStyle/>
          <a:p>
            <a:pPr marL="0" marR="0" lvl="0" indent="0" algn="l" defTabSz="1828960" rtl="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0F62FE"/>
                </a:solidFill>
                <a:effectLst/>
                <a:uLnTx/>
                <a:uFillTx/>
                <a:latin typeface="IBM Plex Sans" panose="020B0503050203000203" pitchFamily="34" charset="0"/>
                <a:ea typeface="+mn-ea"/>
                <a:cs typeface="+mn-cs"/>
              </a:rPr>
              <a:t>Digitalize Functional Process Tasks</a:t>
            </a:r>
            <a:endParaRPr kumimoji="0" lang="en-US" sz="4000" b="0"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endParaRPr>
          </a:p>
        </p:txBody>
      </p:sp>
      <p:sp>
        <p:nvSpPr>
          <p:cNvPr id="27" name="TextBox 26">
            <a:extLst>
              <a:ext uri="{FF2B5EF4-FFF2-40B4-BE49-F238E27FC236}">
                <a16:creationId xmlns:a16="http://schemas.microsoft.com/office/drawing/2014/main" id="{A2D93E38-F538-6391-4384-C7F4E2A21374}"/>
              </a:ext>
            </a:extLst>
          </p:cNvPr>
          <p:cNvSpPr txBox="1"/>
          <p:nvPr/>
        </p:nvSpPr>
        <p:spPr>
          <a:xfrm>
            <a:off x="1888088" y="8520118"/>
            <a:ext cx="9066414" cy="584775"/>
          </a:xfrm>
          <a:prstGeom prst="rect">
            <a:avLst/>
          </a:prstGeom>
          <a:noFill/>
        </p:spPr>
        <p:txBody>
          <a:bodyPr wrap="square">
            <a:spAutoFit/>
          </a:bodyPr>
          <a:lstStyle/>
          <a:p>
            <a:pPr marL="0" marR="0" lvl="0" indent="0" algn="l" defTabSz="182901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IBM Plex Sans Light"/>
                <a:ea typeface="+mn-ea"/>
                <a:cs typeface="+mn-cs"/>
              </a:rPr>
              <a:t>Increasing Productivity for your professionals</a:t>
            </a:r>
          </a:p>
        </p:txBody>
      </p:sp>
      <p:sp>
        <p:nvSpPr>
          <p:cNvPr id="28" name="Rectangle 27">
            <a:extLst>
              <a:ext uri="{FF2B5EF4-FFF2-40B4-BE49-F238E27FC236}">
                <a16:creationId xmlns:a16="http://schemas.microsoft.com/office/drawing/2014/main" id="{DFDF4BB7-5A55-800D-ECE2-67E6535AB22D}"/>
              </a:ext>
            </a:extLst>
          </p:cNvPr>
          <p:cNvSpPr/>
          <p:nvPr/>
        </p:nvSpPr>
        <p:spPr>
          <a:xfrm>
            <a:off x="721695" y="9813460"/>
            <a:ext cx="4571404" cy="1477328"/>
          </a:xfrm>
          <a:prstGeom prst="rect">
            <a:avLst/>
          </a:prstGeom>
        </p:spPr>
        <p:txBody>
          <a:bodyPr wrap="square" anchor="t">
            <a:spAutoFit/>
          </a:bodyPr>
          <a:lstStyle/>
          <a:p>
            <a:pPr marL="0" marR="0" lvl="0" indent="0" algn="l" defTabSz="1827186" rtl="0" eaLnBrk="1" fontAlgn="ctr" latinLnBrk="0" hangingPunct="1">
              <a:lnSpc>
                <a:spcPct val="100000"/>
              </a:lnSpc>
              <a:spcBef>
                <a:spcPts val="0"/>
              </a:spcBef>
              <a:spcAft>
                <a:spcPts val="0"/>
              </a:spcAft>
              <a:buClrTx/>
              <a:buSzTx/>
              <a:buFontTx/>
              <a:buNone/>
              <a:tabLst/>
              <a:defRPr/>
            </a:pPr>
            <a:r>
              <a:rPr kumimoji="0" lang="en-US" sz="3000" b="0" i="0" u="none" strike="noStrike" kern="0" cap="none" spc="0" normalizeH="0" baseline="0" noProof="0" dirty="0">
                <a:ln>
                  <a:noFill/>
                </a:ln>
                <a:solidFill>
                  <a:srgbClr val="0F62FE"/>
                </a:solidFill>
                <a:effectLst/>
                <a:uLnTx/>
                <a:uFillTx/>
                <a:latin typeface="IBM Plex Sans Light" panose="020B0403050203000203" pitchFamily="34" charset="0"/>
                <a:ea typeface="+mn-ea"/>
                <a:cs typeface="+mn-cs"/>
                <a:sym typeface="Helvetica"/>
              </a:rPr>
              <a:t>Streamlined</a:t>
            </a:r>
            <a:r>
              <a:rPr kumimoji="0" lang="en-US" sz="30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sym typeface="Helvetica"/>
              </a:rPr>
              <a:t> task management of critical processes</a:t>
            </a:r>
            <a:endParaRPr kumimoji="0" lang="en-US" sz="30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29" name="TextBox 28">
            <a:extLst>
              <a:ext uri="{FF2B5EF4-FFF2-40B4-BE49-F238E27FC236}">
                <a16:creationId xmlns:a16="http://schemas.microsoft.com/office/drawing/2014/main" id="{1FD0E337-5F34-3D03-A47A-3850BEF7F9B3}"/>
              </a:ext>
            </a:extLst>
          </p:cNvPr>
          <p:cNvSpPr txBox="1"/>
          <p:nvPr/>
        </p:nvSpPr>
        <p:spPr>
          <a:xfrm>
            <a:off x="6383095" y="9813461"/>
            <a:ext cx="4571404" cy="147732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1827186" rtl="0" eaLnBrk="1" fontAlgn="ctr" latinLnBrk="0" hangingPunct="1">
              <a:lnSpc>
                <a:spcPct val="100000"/>
              </a:lnSpc>
              <a:spcBef>
                <a:spcPts val="0"/>
              </a:spcBef>
              <a:spcAft>
                <a:spcPts val="0"/>
              </a:spcAft>
              <a:buClrTx/>
              <a:buSzTx/>
              <a:buFontTx/>
              <a:buNone/>
              <a:tabLst/>
              <a:defRPr/>
            </a:pPr>
            <a:r>
              <a:rPr kumimoji="0" lang="en-US" sz="3000" b="0" i="0" u="none" strike="noStrike" kern="0" cap="none" spc="0" normalizeH="0" baseline="0" noProof="0" dirty="0">
                <a:ln>
                  <a:noFill/>
                </a:ln>
                <a:solidFill>
                  <a:srgbClr val="0F62FE"/>
                </a:solidFill>
                <a:effectLst/>
                <a:uLnTx/>
                <a:uFillTx/>
                <a:latin typeface="IBM Plex Sans Light" panose="020B0403050203000203" pitchFamily="34" charset="0"/>
                <a:ea typeface="+mn-ea"/>
                <a:cs typeface="+mn-cs"/>
                <a:sym typeface="Helvetica"/>
              </a:rPr>
              <a:t>Build</a:t>
            </a:r>
            <a:r>
              <a:rPr kumimoji="0" lang="en-US" sz="30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sym typeface="Helvetica"/>
              </a:rPr>
              <a:t> automations for how your functional teams work day-to-day</a:t>
            </a:r>
            <a:endParaRPr kumimoji="0" lang="en-US" sz="30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Tree>
    <p:extLst>
      <p:ext uri="{BB962C8B-B14F-4D97-AF65-F5344CB8AC3E}">
        <p14:creationId xmlns:p14="http://schemas.microsoft.com/office/powerpoint/2010/main" val="1651178547"/>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2">
            <a:extLst>
              <a:ext uri="{FF2B5EF4-FFF2-40B4-BE49-F238E27FC236}">
                <a16:creationId xmlns:a16="http://schemas.microsoft.com/office/drawing/2014/main" id="{463C5CAC-9062-F658-33D3-CA542B8F4F77}"/>
              </a:ext>
            </a:extLst>
          </p:cNvPr>
          <p:cNvSpPr txBox="1">
            <a:spLocks/>
          </p:cNvSpPr>
          <p:nvPr/>
        </p:nvSpPr>
        <p:spPr>
          <a:xfrm>
            <a:off x="740727" y="757424"/>
            <a:ext cx="23246844" cy="2145232"/>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Light" pitchFamily="34" charset="0"/>
              </a:defRPr>
            </a:lvl9pPr>
          </a:lstStyle>
          <a:p>
            <a:pPr marL="0" marR="0" lvl="0" indent="0" algn="l" defTabSz="914218" rtl="0" eaLnBrk="1" fontAlgn="base" latinLnBrk="0" hangingPunct="1">
              <a:lnSpc>
                <a:spcPct val="90000"/>
              </a:lnSpc>
              <a:spcBef>
                <a:spcPct val="0"/>
              </a:spcBef>
              <a:spcAft>
                <a:spcPct val="0"/>
              </a:spcAft>
              <a:buClrTx/>
              <a:buSzTx/>
              <a:buFontTx/>
              <a:buNone/>
              <a:tabLst/>
              <a:defRPr/>
            </a:pPr>
            <a:r>
              <a:rPr kumimoji="0" lang="en-US" sz="5600" b="0" i="0" u="none" strike="noStrike" kern="0" cap="none" spc="0" normalizeH="0" baseline="0" noProof="0" dirty="0" err="1">
                <a:ln>
                  <a:noFill/>
                </a:ln>
                <a:solidFill>
                  <a:srgbClr val="000000"/>
                </a:solidFill>
                <a:effectLst/>
                <a:uLnTx/>
                <a:uFillTx/>
                <a:latin typeface="IBM Plex Sans Light"/>
                <a:ea typeface="+mn-ea"/>
                <a:cs typeface="Arial"/>
                <a:sym typeface="Arial"/>
              </a:rPr>
              <a:t>watsonx</a:t>
            </a:r>
            <a:r>
              <a:rPr kumimoji="0" lang="en-US" sz="5600" b="0" i="0" u="none" strike="noStrike" kern="0" cap="none" spc="0" normalizeH="0" baseline="0" noProof="0" dirty="0">
                <a:ln>
                  <a:noFill/>
                </a:ln>
                <a:solidFill>
                  <a:srgbClr val="000000"/>
                </a:solidFill>
                <a:effectLst/>
                <a:uLnTx/>
                <a:uFillTx/>
                <a:latin typeface="IBM Plex Sans Light"/>
                <a:ea typeface="+mn-ea"/>
                <a:cs typeface="Arial"/>
                <a:sym typeface="Arial"/>
              </a:rPr>
              <a:t> Orchestrate, with </a:t>
            </a:r>
            <a:r>
              <a:rPr kumimoji="0" lang="en-US" sz="5600" b="0" i="0" u="none" strike="noStrike" kern="0" cap="none" spc="0" normalizeH="0" baseline="0" noProof="0" dirty="0">
                <a:ln>
                  <a:noFill/>
                </a:ln>
                <a:solidFill>
                  <a:srgbClr val="A56EFF"/>
                </a:solidFill>
                <a:effectLst/>
                <a:uLnTx/>
                <a:uFillTx/>
                <a:latin typeface="IBM Plex Sans Light"/>
                <a:ea typeface="+mn-ea"/>
                <a:cs typeface="Arial"/>
                <a:sym typeface="Arial"/>
              </a:rPr>
              <a:t>insights</a:t>
            </a:r>
            <a:r>
              <a:rPr kumimoji="0" lang="en-US" sz="5600" b="0" i="0" u="none" strike="noStrike" kern="0" cap="none" spc="0" normalizeH="0" baseline="0" noProof="0" dirty="0">
                <a:ln>
                  <a:noFill/>
                </a:ln>
                <a:solidFill>
                  <a:srgbClr val="000000"/>
                </a:solidFill>
                <a:effectLst/>
                <a:uLnTx/>
                <a:uFillTx/>
                <a:latin typeface="IBM Plex Sans Light"/>
                <a:ea typeface="+mn-ea"/>
                <a:cs typeface="Arial"/>
                <a:sym typeface="Arial"/>
              </a:rPr>
              <a:t>, works with your</a:t>
            </a:r>
            <a:r>
              <a:rPr kumimoji="0" lang="en-US" sz="5600" b="0" i="0" u="none" strike="noStrike" kern="0" cap="none" spc="0" normalizeH="0" baseline="0" noProof="0" dirty="0">
                <a:ln>
                  <a:noFill/>
                </a:ln>
                <a:solidFill>
                  <a:srgbClr val="0F62FE"/>
                </a:solidFill>
                <a:effectLst/>
                <a:uLnTx/>
                <a:uFillTx/>
                <a:latin typeface="IBM Plex Sans Light"/>
                <a:ea typeface="+mn-ea"/>
                <a:cs typeface="Arial"/>
                <a:sym typeface="Arial"/>
              </a:rPr>
              <a:t> financial processes</a:t>
            </a:r>
            <a:br>
              <a:rPr kumimoji="0" lang="en-US" sz="5600" b="0" i="1" u="none" strike="noStrike" kern="0" cap="none" spc="0" normalizeH="0" baseline="0" noProof="0" dirty="0">
                <a:ln>
                  <a:noFill/>
                </a:ln>
                <a:solidFill>
                  <a:srgbClr val="000000"/>
                </a:solidFill>
                <a:effectLst/>
                <a:uLnTx/>
                <a:uFillTx/>
                <a:latin typeface="IBM Plex Sans Light"/>
                <a:ea typeface="+mn-ea"/>
                <a:cs typeface="Arial"/>
                <a:sym typeface="Arial"/>
              </a:rPr>
            </a:br>
            <a:br>
              <a:rPr kumimoji="0" lang="en-US" sz="5600" b="0" i="0" u="none" strike="noStrike" kern="0" cap="none" spc="0" normalizeH="0" baseline="0" noProof="0" dirty="0">
                <a:ln>
                  <a:noFill/>
                </a:ln>
                <a:solidFill>
                  <a:srgbClr val="000000"/>
                </a:solidFill>
                <a:effectLst/>
                <a:uLnTx/>
                <a:uFillTx/>
                <a:latin typeface="IBM Plex Sans Light" panose="020B0403050203000203" pitchFamily="34" charset="0"/>
              </a:rPr>
            </a:br>
            <a:endParaRPr kumimoji="0" lang="en-US" sz="5600" b="0" i="0" u="none" strike="noStrike" kern="0" cap="none" spc="0" normalizeH="0" baseline="0" noProof="0" dirty="0">
              <a:ln>
                <a:noFill/>
              </a:ln>
              <a:solidFill>
                <a:srgbClr val="000000"/>
              </a:solidFill>
              <a:effectLst/>
              <a:uLnTx/>
              <a:uFillTx/>
              <a:latin typeface="IBM Plex Sans Light" panose="020B0403050203000203" pitchFamily="34" charset="0"/>
            </a:endParaRPr>
          </a:p>
        </p:txBody>
      </p:sp>
      <p:grpSp>
        <p:nvGrpSpPr>
          <p:cNvPr id="5" name="Group 4">
            <a:extLst>
              <a:ext uri="{FF2B5EF4-FFF2-40B4-BE49-F238E27FC236}">
                <a16:creationId xmlns:a16="http://schemas.microsoft.com/office/drawing/2014/main" id="{1BD9A172-C9EE-D772-2023-D707C729ED9B}"/>
              </a:ext>
            </a:extLst>
          </p:cNvPr>
          <p:cNvGrpSpPr/>
          <p:nvPr/>
        </p:nvGrpSpPr>
        <p:grpSpPr>
          <a:xfrm>
            <a:off x="740728" y="1830041"/>
            <a:ext cx="11858318" cy="10823024"/>
            <a:chOff x="2957369" y="1158999"/>
            <a:chExt cx="5929159" cy="5411512"/>
          </a:xfrm>
        </p:grpSpPr>
        <p:grpSp>
          <p:nvGrpSpPr>
            <p:cNvPr id="20" name="Group 19">
              <a:extLst>
                <a:ext uri="{FF2B5EF4-FFF2-40B4-BE49-F238E27FC236}">
                  <a16:creationId xmlns:a16="http://schemas.microsoft.com/office/drawing/2014/main" id="{50D03574-CD44-71C8-719A-90A26750756B}"/>
                </a:ext>
              </a:extLst>
            </p:cNvPr>
            <p:cNvGrpSpPr/>
            <p:nvPr/>
          </p:nvGrpSpPr>
          <p:grpSpPr>
            <a:xfrm>
              <a:off x="2957369" y="1158999"/>
              <a:ext cx="5929159" cy="5411512"/>
              <a:chOff x="3232664" y="1175319"/>
              <a:chExt cx="5929159" cy="5411512"/>
            </a:xfrm>
          </p:grpSpPr>
          <p:graphicFrame>
            <p:nvGraphicFramePr>
              <p:cNvPr id="8" name="Chart 2">
                <a:extLst>
                  <a:ext uri="{FF2B5EF4-FFF2-40B4-BE49-F238E27FC236}">
                    <a16:creationId xmlns:a16="http://schemas.microsoft.com/office/drawing/2014/main" id="{AF6180CA-3529-EAFD-AE8A-EDCDF7D7710C}"/>
                  </a:ext>
                </a:extLst>
              </p:cNvPr>
              <p:cNvGraphicFramePr/>
              <p:nvPr/>
            </p:nvGraphicFramePr>
            <p:xfrm>
              <a:off x="3885558" y="1877323"/>
              <a:ext cx="4623371" cy="4007504"/>
            </p:xfrm>
            <a:graphic>
              <a:graphicData uri="http://schemas.openxmlformats.org/drawingml/2006/chart">
                <c:chart xmlns:c="http://schemas.openxmlformats.org/drawingml/2006/chart" xmlns:r="http://schemas.openxmlformats.org/officeDocument/2006/relationships" r:id="rId3"/>
              </a:graphicData>
            </a:graphic>
          </p:graphicFrame>
          <p:pic>
            <p:nvPicPr>
              <p:cNvPr id="4" name="Graphic 3">
                <a:extLst>
                  <a:ext uri="{FF2B5EF4-FFF2-40B4-BE49-F238E27FC236}">
                    <a16:creationId xmlns:a16="http://schemas.microsoft.com/office/drawing/2014/main" id="{CB07D8AD-9D50-9D14-EAA6-6CB2D4A0E6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82843" y="2966675"/>
                <a:ext cx="1828800" cy="1828800"/>
              </a:xfrm>
              <a:prstGeom prst="rect">
                <a:avLst/>
              </a:prstGeom>
            </p:spPr>
          </p:pic>
          <p:graphicFrame>
            <p:nvGraphicFramePr>
              <p:cNvPr id="13" name="Chart 2">
                <a:extLst>
                  <a:ext uri="{FF2B5EF4-FFF2-40B4-BE49-F238E27FC236}">
                    <a16:creationId xmlns:a16="http://schemas.microsoft.com/office/drawing/2014/main" id="{4F628A1C-97D6-5A4F-177D-BFAA752D275F}"/>
                  </a:ext>
                </a:extLst>
              </p:cNvPr>
              <p:cNvGraphicFramePr/>
              <p:nvPr/>
            </p:nvGraphicFramePr>
            <p:xfrm>
              <a:off x="3232664" y="1175319"/>
              <a:ext cx="5929159" cy="5411512"/>
            </p:xfrm>
            <a:graphic>
              <a:graphicData uri="http://schemas.openxmlformats.org/drawingml/2006/chart">
                <c:chart xmlns:c="http://schemas.openxmlformats.org/drawingml/2006/chart" xmlns:r="http://schemas.openxmlformats.org/officeDocument/2006/relationships" r:id="rId6"/>
              </a:graphicData>
            </a:graphic>
          </p:graphicFrame>
        </p:grpSp>
        <p:sp>
          <p:nvSpPr>
            <p:cNvPr id="34" name="TextBox 33">
              <a:extLst>
                <a:ext uri="{FF2B5EF4-FFF2-40B4-BE49-F238E27FC236}">
                  <a16:creationId xmlns:a16="http://schemas.microsoft.com/office/drawing/2014/main" id="{734B1D86-3FDB-E7F0-4BEB-4686ACA7CBEE}"/>
                </a:ext>
              </a:extLst>
            </p:cNvPr>
            <p:cNvSpPr txBox="1"/>
            <p:nvPr/>
          </p:nvSpPr>
          <p:spPr>
            <a:xfrm>
              <a:off x="5131878" y="1452898"/>
              <a:ext cx="1580140" cy="43088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43840" tIns="121920" rIns="243840" bIns="121920" anchor="t">
              <a:sp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err="1">
                  <a:ln>
                    <a:noFill/>
                  </a:ln>
                  <a:solidFill>
                    <a:srgbClr val="FFFFFF"/>
                  </a:solidFill>
                  <a:effectLst/>
                  <a:uLnTx/>
                  <a:uFillTx/>
                  <a:latin typeface="IBM Plex Sans Light"/>
                  <a:ea typeface="+mn-ea"/>
                  <a:cs typeface="+mn-cs"/>
                </a:rPr>
                <a:t>AskFinance</a:t>
              </a:r>
              <a:endParaRPr kumimoji="0" lang="en-US" sz="4000" b="0" i="0" u="none" strike="noStrike" kern="0" cap="none" spc="0" normalizeH="0" baseline="0" noProof="0" dirty="0">
                <a:ln>
                  <a:noFill/>
                </a:ln>
                <a:solidFill>
                  <a:srgbClr val="FFFFFF"/>
                </a:solidFill>
                <a:effectLst/>
                <a:uLnTx/>
                <a:uFillTx/>
                <a:latin typeface="IBM Plex Sans Light"/>
                <a:ea typeface="+mn-ea"/>
                <a:cs typeface="+mn-cs"/>
              </a:endParaRPr>
            </a:p>
          </p:txBody>
        </p:sp>
        <p:sp>
          <p:nvSpPr>
            <p:cNvPr id="36" name="TextBox 35">
              <a:extLst>
                <a:ext uri="{FF2B5EF4-FFF2-40B4-BE49-F238E27FC236}">
                  <a16:creationId xmlns:a16="http://schemas.microsoft.com/office/drawing/2014/main" id="{4538C18F-3DC2-2106-0C3A-086FE5284F3C}"/>
                </a:ext>
              </a:extLst>
            </p:cNvPr>
            <p:cNvSpPr txBox="1"/>
            <p:nvPr/>
          </p:nvSpPr>
          <p:spPr>
            <a:xfrm rot="18900000">
              <a:off x="3843913" y="2885662"/>
              <a:ext cx="1877827" cy="43088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43840" tIns="121920" rIns="243840" bIns="121920" anchor="t">
              <a:sp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FFFFFF"/>
                  </a:solidFill>
                  <a:effectLst/>
                  <a:uLnTx/>
                  <a:uFillTx/>
                  <a:latin typeface="IBM Plex Sans Light"/>
                  <a:ea typeface="+mn-ea"/>
                  <a:cs typeface="+mn-cs"/>
                </a:rPr>
                <a:t>Source to Pay</a:t>
              </a:r>
            </a:p>
          </p:txBody>
        </p:sp>
        <p:sp>
          <p:nvSpPr>
            <p:cNvPr id="37" name="TextBox 36">
              <a:extLst>
                <a:ext uri="{FF2B5EF4-FFF2-40B4-BE49-F238E27FC236}">
                  <a16:creationId xmlns:a16="http://schemas.microsoft.com/office/drawing/2014/main" id="{BBEBB1DC-2955-C5A8-753E-45C9E5059552}"/>
                </a:ext>
              </a:extLst>
            </p:cNvPr>
            <p:cNvSpPr txBox="1"/>
            <p:nvPr/>
          </p:nvSpPr>
          <p:spPr>
            <a:xfrm rot="2700000">
              <a:off x="6140308" y="2859123"/>
              <a:ext cx="1802762" cy="43088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43840" tIns="121920" rIns="243840" bIns="121920" anchor="t">
              <a:sp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FFFFFF"/>
                  </a:solidFill>
                  <a:effectLst/>
                  <a:uLnTx/>
                  <a:uFillTx/>
                  <a:latin typeface="IBM Plex Sans Light"/>
                  <a:ea typeface="+mn-ea"/>
                  <a:cs typeface="+mn-cs"/>
                </a:rPr>
                <a:t>Order to Cash</a:t>
              </a:r>
            </a:p>
          </p:txBody>
        </p:sp>
        <p:sp>
          <p:nvSpPr>
            <p:cNvPr id="38" name="TextBox 37">
              <a:extLst>
                <a:ext uri="{FF2B5EF4-FFF2-40B4-BE49-F238E27FC236}">
                  <a16:creationId xmlns:a16="http://schemas.microsoft.com/office/drawing/2014/main" id="{7EFEDF9F-2617-920D-FF8E-AEC96094A13E}"/>
                </a:ext>
              </a:extLst>
            </p:cNvPr>
            <p:cNvSpPr txBox="1"/>
            <p:nvPr/>
          </p:nvSpPr>
          <p:spPr>
            <a:xfrm>
              <a:off x="5007548" y="4873091"/>
              <a:ext cx="1828800" cy="73866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43840" tIns="121920" rIns="243840" bIns="121920" anchor="t">
              <a:sp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FFFFFF"/>
                  </a:solidFill>
                  <a:effectLst/>
                  <a:uLnTx/>
                  <a:uFillTx/>
                  <a:latin typeface="IBM Plex Sans Light"/>
                  <a:ea typeface="+mn-ea"/>
                  <a:cs typeface="+mn-cs"/>
                </a:rPr>
                <a:t>Expense Management</a:t>
              </a:r>
            </a:p>
          </p:txBody>
        </p:sp>
      </p:grpSp>
      <p:sp>
        <p:nvSpPr>
          <p:cNvPr id="7" name="Title 2">
            <a:extLst>
              <a:ext uri="{FF2B5EF4-FFF2-40B4-BE49-F238E27FC236}">
                <a16:creationId xmlns:a16="http://schemas.microsoft.com/office/drawing/2014/main" id="{4A28598B-41A8-41DF-1AC2-E3A47A1D1EFD}"/>
              </a:ext>
            </a:extLst>
          </p:cNvPr>
          <p:cNvSpPr txBox="1">
            <a:spLocks/>
          </p:cNvSpPr>
          <p:nvPr/>
        </p:nvSpPr>
        <p:spPr>
          <a:xfrm>
            <a:off x="13311663" y="2428438"/>
            <a:ext cx="11049440" cy="2145232"/>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Light" pitchFamily="34" charset="0"/>
              </a:defRPr>
            </a:lvl9pPr>
          </a:lstStyle>
          <a:p>
            <a:pPr marL="0" marR="0" lvl="0" indent="0" algn="l" defTabSz="914218" rtl="0" eaLnBrk="1" fontAlgn="base" latinLnBrk="0" hangingPunct="1">
              <a:lnSpc>
                <a:spcPct val="90000"/>
              </a:lnSpc>
              <a:spcBef>
                <a:spcPct val="0"/>
              </a:spcBef>
              <a:spcAft>
                <a:spcPct val="0"/>
              </a:spcAft>
              <a:buClrTx/>
              <a:buSzTx/>
              <a:buFontTx/>
              <a:buNone/>
              <a:tabLst/>
              <a:defRPr/>
            </a:pPr>
            <a:r>
              <a:rPr kumimoji="0" lang="en-US" sz="4800" b="0" i="0" u="none" strike="noStrike" kern="0" cap="none" spc="0" normalizeH="0" baseline="0" noProof="0" dirty="0">
                <a:ln>
                  <a:noFill/>
                </a:ln>
                <a:solidFill>
                  <a:srgbClr val="000000"/>
                </a:solidFill>
                <a:effectLst/>
                <a:uLnTx/>
                <a:uFillTx/>
                <a:latin typeface="IBM Plex Sans Light"/>
                <a:ea typeface="+mn-ea"/>
                <a:cs typeface="Arial"/>
                <a:sym typeface="Arial"/>
              </a:rPr>
              <a:t>Transforming your pain points…</a:t>
            </a:r>
            <a:endParaRPr kumimoji="0" lang="en-US" sz="4800" b="0" i="0" u="none" strike="noStrike" kern="0" cap="none" spc="0" normalizeH="0" baseline="0" noProof="0" dirty="0">
              <a:ln>
                <a:noFill/>
              </a:ln>
              <a:solidFill>
                <a:srgbClr val="000000"/>
              </a:solidFill>
              <a:effectLst/>
              <a:uLnTx/>
              <a:uFillTx/>
              <a:latin typeface="IBM Plex Sans Light" panose="020B0403050203000203" pitchFamily="34" charset="0"/>
            </a:endParaRPr>
          </a:p>
        </p:txBody>
      </p:sp>
      <p:sp>
        <p:nvSpPr>
          <p:cNvPr id="9" name="Title 2">
            <a:extLst>
              <a:ext uri="{FF2B5EF4-FFF2-40B4-BE49-F238E27FC236}">
                <a16:creationId xmlns:a16="http://schemas.microsoft.com/office/drawing/2014/main" id="{BD28075F-3F5C-7FCC-1A3F-C2E87FC61AA0}"/>
              </a:ext>
            </a:extLst>
          </p:cNvPr>
          <p:cNvSpPr txBox="1">
            <a:spLocks/>
          </p:cNvSpPr>
          <p:nvPr/>
        </p:nvSpPr>
        <p:spPr>
          <a:xfrm>
            <a:off x="13311663" y="7364794"/>
            <a:ext cx="9309960" cy="2145232"/>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Light" pitchFamily="34" charset="0"/>
              </a:defRPr>
            </a:lvl9pPr>
          </a:lstStyle>
          <a:p>
            <a:pPr marL="0" marR="0" lvl="0" indent="0" algn="r" defTabSz="914218" rtl="0" eaLnBrk="1" fontAlgn="base" latinLnBrk="0" hangingPunct="1">
              <a:lnSpc>
                <a:spcPct val="90000"/>
              </a:lnSpc>
              <a:spcBef>
                <a:spcPct val="0"/>
              </a:spcBef>
              <a:spcAft>
                <a:spcPct val="0"/>
              </a:spcAft>
              <a:buClrTx/>
              <a:buSzTx/>
              <a:buFontTx/>
              <a:buNone/>
              <a:tabLst/>
              <a:defRPr/>
            </a:pPr>
            <a:r>
              <a:rPr kumimoji="0" lang="en-US" sz="4800" b="0" i="0" u="none" strike="noStrike" kern="0" cap="none" spc="0" normalizeH="0" baseline="0" noProof="0" dirty="0">
                <a:ln>
                  <a:noFill/>
                </a:ln>
                <a:solidFill>
                  <a:srgbClr val="000000"/>
                </a:solidFill>
                <a:effectLst/>
                <a:uLnTx/>
                <a:uFillTx/>
                <a:latin typeface="IBM Plex Sans Light"/>
                <a:ea typeface="+mn-ea"/>
                <a:cs typeface="Arial"/>
                <a:sym typeface="Arial"/>
              </a:rPr>
              <a:t>…into benefits</a:t>
            </a:r>
            <a:endParaRPr kumimoji="0" lang="en-US" sz="4800" b="0" i="0" u="none" strike="noStrike" kern="0" cap="none" spc="0" normalizeH="0" baseline="0" noProof="0" dirty="0">
              <a:ln>
                <a:noFill/>
              </a:ln>
              <a:solidFill>
                <a:srgbClr val="000000"/>
              </a:solidFill>
              <a:effectLst/>
              <a:uLnTx/>
              <a:uFillTx/>
              <a:latin typeface="IBM Plex Sans Light" panose="020B0403050203000203" pitchFamily="34" charset="0"/>
            </a:endParaRPr>
          </a:p>
        </p:txBody>
      </p:sp>
      <p:sp>
        <p:nvSpPr>
          <p:cNvPr id="11" name="TextBox 10">
            <a:extLst>
              <a:ext uri="{FF2B5EF4-FFF2-40B4-BE49-F238E27FC236}">
                <a16:creationId xmlns:a16="http://schemas.microsoft.com/office/drawing/2014/main" id="{5F3A64BB-061C-AD54-9679-BC14FFA91F3B}"/>
              </a:ext>
            </a:extLst>
          </p:cNvPr>
          <p:cNvSpPr txBox="1"/>
          <p:nvPr/>
        </p:nvSpPr>
        <p:spPr>
          <a:xfrm>
            <a:off x="13311663" y="3501054"/>
            <a:ext cx="12695272" cy="337528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571500" marR="0" lvl="0" indent="-571500" algn="l" defTabSz="1371326" rtl="0" eaLnBrk="1" fontAlgn="auto" latinLnBrk="0" hangingPunct="1">
              <a:lnSpc>
                <a:spcPct val="100000"/>
              </a:lnSpc>
              <a:spcBef>
                <a:spcPts val="450"/>
              </a:spcBef>
              <a:spcAft>
                <a:spcPts val="450"/>
              </a:spcAft>
              <a:buClr>
                <a:srgbClr val="FF000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Manual Data Entry</a:t>
            </a:r>
          </a:p>
          <a:p>
            <a:pPr marL="571500" marR="0" lvl="0" indent="-571500" algn="l" defTabSz="1371326" rtl="0" eaLnBrk="1" fontAlgn="auto" latinLnBrk="0" hangingPunct="1">
              <a:lnSpc>
                <a:spcPct val="100000"/>
              </a:lnSpc>
              <a:spcBef>
                <a:spcPts val="450"/>
              </a:spcBef>
              <a:spcAft>
                <a:spcPts val="450"/>
              </a:spcAft>
              <a:buClr>
                <a:srgbClr val="FF000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Disparate Systems and Data Silos</a:t>
            </a:r>
          </a:p>
          <a:p>
            <a:pPr marL="571500" marR="0" lvl="0" indent="-571500" algn="l" defTabSz="1371326" rtl="0" eaLnBrk="1" fontAlgn="auto" latinLnBrk="0" hangingPunct="1">
              <a:lnSpc>
                <a:spcPct val="100000"/>
              </a:lnSpc>
              <a:spcBef>
                <a:spcPts val="450"/>
              </a:spcBef>
              <a:spcAft>
                <a:spcPts val="450"/>
              </a:spcAft>
              <a:buClr>
                <a:srgbClr val="FF000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Complex Regulatory/Compliance Requirements</a:t>
            </a:r>
          </a:p>
          <a:p>
            <a:pPr marL="571500" marR="0" lvl="0" indent="-571500" algn="l" defTabSz="1371326" rtl="0" eaLnBrk="1" fontAlgn="auto" latinLnBrk="0" hangingPunct="1">
              <a:lnSpc>
                <a:spcPct val="100000"/>
              </a:lnSpc>
              <a:spcBef>
                <a:spcPts val="450"/>
              </a:spcBef>
              <a:spcAft>
                <a:spcPts val="450"/>
              </a:spcAft>
              <a:buClr>
                <a:srgbClr val="FF000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Inefficient Planning and Forecasting Processes</a:t>
            </a:r>
          </a:p>
          <a:p>
            <a:pPr marL="571500" marR="0" lvl="0" indent="-571500" algn="l" defTabSz="1371326" rtl="0" eaLnBrk="1" fontAlgn="auto" latinLnBrk="0" hangingPunct="1">
              <a:lnSpc>
                <a:spcPct val="100000"/>
              </a:lnSpc>
              <a:spcBef>
                <a:spcPts val="450"/>
              </a:spcBef>
              <a:spcAft>
                <a:spcPts val="450"/>
              </a:spcAft>
              <a:buClr>
                <a:srgbClr val="FF000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Lack of Real-Time Visibility and Analytics</a:t>
            </a:r>
          </a:p>
        </p:txBody>
      </p:sp>
      <p:sp>
        <p:nvSpPr>
          <p:cNvPr id="12" name="TextBox 11">
            <a:extLst>
              <a:ext uri="{FF2B5EF4-FFF2-40B4-BE49-F238E27FC236}">
                <a16:creationId xmlns:a16="http://schemas.microsoft.com/office/drawing/2014/main" id="{50D875AA-8161-26B7-71F8-74E0FF15654C}"/>
              </a:ext>
            </a:extLst>
          </p:cNvPr>
          <p:cNvSpPr txBox="1"/>
          <p:nvPr/>
        </p:nvSpPr>
        <p:spPr>
          <a:xfrm>
            <a:off x="13311663" y="8362226"/>
            <a:ext cx="12695272" cy="337528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571500" marR="0" lvl="0" indent="-571500" algn="l" defTabSz="1371326" rtl="0" eaLnBrk="1" fontAlgn="auto" latinLnBrk="0" hangingPunct="1">
              <a:lnSpc>
                <a:spcPct val="100000"/>
              </a:lnSpc>
              <a:spcBef>
                <a:spcPts val="450"/>
              </a:spcBef>
              <a:spcAft>
                <a:spcPts val="450"/>
              </a:spcAft>
              <a:buClr>
                <a:srgbClr val="00B05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Increased Efficiency and Productivity</a:t>
            </a:r>
          </a:p>
          <a:p>
            <a:pPr marL="571500" marR="0" lvl="0" indent="-571500" algn="l" defTabSz="1371326" rtl="0" eaLnBrk="1" fontAlgn="auto" latinLnBrk="0" hangingPunct="1">
              <a:lnSpc>
                <a:spcPct val="100000"/>
              </a:lnSpc>
              <a:spcBef>
                <a:spcPts val="450"/>
              </a:spcBef>
              <a:spcAft>
                <a:spcPts val="450"/>
              </a:spcAft>
              <a:buClr>
                <a:srgbClr val="00B05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Enhanced Data Accuracy and Integrity</a:t>
            </a:r>
          </a:p>
          <a:p>
            <a:pPr marL="571500" marR="0" lvl="0" indent="-571500" algn="l" defTabSz="1371326" rtl="0" eaLnBrk="1" fontAlgn="auto" latinLnBrk="0" hangingPunct="1">
              <a:lnSpc>
                <a:spcPct val="100000"/>
              </a:lnSpc>
              <a:spcBef>
                <a:spcPts val="450"/>
              </a:spcBef>
              <a:spcAft>
                <a:spcPts val="450"/>
              </a:spcAft>
              <a:buClr>
                <a:srgbClr val="00B05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Improved Compliance and Risk Management</a:t>
            </a:r>
          </a:p>
          <a:p>
            <a:pPr marL="571500" marR="0" lvl="0" indent="-571500" algn="l" defTabSz="1371326" rtl="0" eaLnBrk="1" fontAlgn="auto" latinLnBrk="0" hangingPunct="1">
              <a:lnSpc>
                <a:spcPct val="100000"/>
              </a:lnSpc>
              <a:spcBef>
                <a:spcPts val="450"/>
              </a:spcBef>
              <a:spcAft>
                <a:spcPts val="450"/>
              </a:spcAft>
              <a:buClr>
                <a:srgbClr val="00B05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Real-Time Financial Insights and Analytics</a:t>
            </a:r>
          </a:p>
          <a:p>
            <a:pPr marL="571500" marR="0" lvl="0" indent="-571500" algn="l" defTabSz="1371326" rtl="0" eaLnBrk="1" fontAlgn="auto" latinLnBrk="0" hangingPunct="1">
              <a:lnSpc>
                <a:spcPct val="100000"/>
              </a:lnSpc>
              <a:spcBef>
                <a:spcPts val="450"/>
              </a:spcBef>
              <a:spcAft>
                <a:spcPts val="450"/>
              </a:spcAft>
              <a:buClr>
                <a:srgbClr val="00B05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Scalability and Cost-Savings</a:t>
            </a:r>
          </a:p>
        </p:txBody>
      </p:sp>
    </p:spTree>
    <p:extLst>
      <p:ext uri="{BB962C8B-B14F-4D97-AF65-F5344CB8AC3E}">
        <p14:creationId xmlns:p14="http://schemas.microsoft.com/office/powerpoint/2010/main" val="3986454069"/>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2">
            <a:extLst>
              <a:ext uri="{FF2B5EF4-FFF2-40B4-BE49-F238E27FC236}">
                <a16:creationId xmlns:a16="http://schemas.microsoft.com/office/drawing/2014/main" id="{463C5CAC-9062-F658-33D3-CA542B8F4F77}"/>
              </a:ext>
            </a:extLst>
          </p:cNvPr>
          <p:cNvSpPr txBox="1">
            <a:spLocks/>
          </p:cNvSpPr>
          <p:nvPr/>
        </p:nvSpPr>
        <p:spPr>
          <a:xfrm>
            <a:off x="740727" y="757424"/>
            <a:ext cx="23246844" cy="2145232"/>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Light" pitchFamily="34" charset="0"/>
              </a:defRPr>
            </a:lvl9pPr>
          </a:lstStyle>
          <a:p>
            <a:pPr marL="0" marR="0" lvl="0" indent="0" algn="l" defTabSz="914218" rtl="0" eaLnBrk="1" fontAlgn="base" latinLnBrk="0" hangingPunct="1">
              <a:lnSpc>
                <a:spcPct val="90000"/>
              </a:lnSpc>
              <a:spcBef>
                <a:spcPct val="0"/>
              </a:spcBef>
              <a:spcAft>
                <a:spcPct val="0"/>
              </a:spcAft>
              <a:buClrTx/>
              <a:buSzTx/>
              <a:buFontTx/>
              <a:buNone/>
              <a:tabLst/>
              <a:defRPr/>
            </a:pPr>
            <a:r>
              <a:rPr kumimoji="0" lang="en-US" sz="5400" b="0" i="0" u="none" strike="noStrike" kern="0" cap="none" spc="0" normalizeH="0" baseline="0" noProof="0" dirty="0">
                <a:ln>
                  <a:noFill/>
                </a:ln>
                <a:solidFill>
                  <a:srgbClr val="000000"/>
                </a:solidFill>
                <a:effectLst/>
                <a:uLnTx/>
                <a:uFillTx/>
                <a:latin typeface="IBM Plex Sans Light"/>
                <a:ea typeface="+mn-ea"/>
                <a:cs typeface="Arial"/>
                <a:sym typeface="Arial"/>
              </a:rPr>
              <a:t>watsonx Orchestrate, with </a:t>
            </a:r>
            <a:r>
              <a:rPr kumimoji="0" lang="en-US" sz="5400" b="0" i="0" u="none" strike="noStrike" kern="0" cap="none" spc="0" normalizeH="0" baseline="0" noProof="0" dirty="0">
                <a:ln>
                  <a:noFill/>
                </a:ln>
                <a:solidFill>
                  <a:srgbClr val="A56EFF"/>
                </a:solidFill>
                <a:effectLst/>
                <a:uLnTx/>
                <a:uFillTx/>
                <a:latin typeface="IBM Plex Sans Light"/>
                <a:ea typeface="+mn-ea"/>
                <a:cs typeface="Arial"/>
                <a:sym typeface="Arial"/>
              </a:rPr>
              <a:t>insights</a:t>
            </a:r>
            <a:r>
              <a:rPr kumimoji="0" lang="en-US" sz="5400" b="0" i="0" u="none" strike="noStrike" kern="0" cap="none" spc="0" normalizeH="0" baseline="0" noProof="0" dirty="0">
                <a:ln>
                  <a:noFill/>
                </a:ln>
                <a:solidFill>
                  <a:srgbClr val="000000"/>
                </a:solidFill>
                <a:effectLst/>
                <a:uLnTx/>
                <a:uFillTx/>
                <a:latin typeface="IBM Plex Sans Light"/>
                <a:ea typeface="+mn-ea"/>
                <a:cs typeface="Arial"/>
                <a:sym typeface="Arial"/>
              </a:rPr>
              <a:t>, works with your</a:t>
            </a:r>
            <a:r>
              <a:rPr kumimoji="0" lang="en-US" sz="5400" b="0" i="0" u="none" strike="noStrike" kern="0" cap="none" spc="0" normalizeH="0" baseline="0" noProof="0" dirty="0">
                <a:ln>
                  <a:noFill/>
                </a:ln>
                <a:solidFill>
                  <a:srgbClr val="0F62FE"/>
                </a:solidFill>
                <a:effectLst/>
                <a:uLnTx/>
                <a:uFillTx/>
                <a:latin typeface="IBM Plex Sans Light"/>
                <a:ea typeface="+mn-ea"/>
                <a:cs typeface="Arial"/>
                <a:sym typeface="Arial"/>
              </a:rPr>
              <a:t> procurement processes</a:t>
            </a:r>
            <a:br>
              <a:rPr kumimoji="0" lang="en-US" sz="5400" b="0" i="1" u="none" strike="noStrike" kern="0" cap="none" spc="0" normalizeH="0" baseline="0" noProof="0" dirty="0">
                <a:ln>
                  <a:noFill/>
                </a:ln>
                <a:solidFill>
                  <a:srgbClr val="000000"/>
                </a:solidFill>
                <a:effectLst/>
                <a:uLnTx/>
                <a:uFillTx/>
                <a:latin typeface="IBM Plex Sans Light"/>
                <a:ea typeface="+mn-ea"/>
                <a:cs typeface="Arial"/>
                <a:sym typeface="Arial"/>
              </a:rPr>
            </a:br>
            <a:br>
              <a:rPr kumimoji="0" lang="en-US" sz="5400" b="0" i="0" u="none" strike="noStrike" kern="0" cap="none" spc="0" normalizeH="0" baseline="0" noProof="0" dirty="0">
                <a:ln>
                  <a:noFill/>
                </a:ln>
                <a:solidFill>
                  <a:srgbClr val="000000"/>
                </a:solidFill>
                <a:effectLst/>
                <a:uLnTx/>
                <a:uFillTx/>
                <a:latin typeface="IBM Plex Sans Light" panose="020B0403050203000203" pitchFamily="34" charset="0"/>
              </a:rPr>
            </a:br>
            <a:endParaRPr kumimoji="0" lang="en-US" sz="5400" b="0" i="0" u="none" strike="noStrike" kern="0" cap="none" spc="0" normalizeH="0" baseline="0" noProof="0" dirty="0">
              <a:ln>
                <a:noFill/>
              </a:ln>
              <a:solidFill>
                <a:srgbClr val="000000"/>
              </a:solidFill>
              <a:effectLst/>
              <a:uLnTx/>
              <a:uFillTx/>
              <a:latin typeface="IBM Plex Sans Light" panose="020B0403050203000203" pitchFamily="34" charset="0"/>
            </a:endParaRPr>
          </a:p>
        </p:txBody>
      </p:sp>
      <p:grpSp>
        <p:nvGrpSpPr>
          <p:cNvPr id="5" name="Group 4">
            <a:extLst>
              <a:ext uri="{FF2B5EF4-FFF2-40B4-BE49-F238E27FC236}">
                <a16:creationId xmlns:a16="http://schemas.microsoft.com/office/drawing/2014/main" id="{1BD9A172-C9EE-D772-2023-D707C729ED9B}"/>
              </a:ext>
            </a:extLst>
          </p:cNvPr>
          <p:cNvGrpSpPr/>
          <p:nvPr/>
        </p:nvGrpSpPr>
        <p:grpSpPr>
          <a:xfrm>
            <a:off x="740728" y="1830041"/>
            <a:ext cx="11858318" cy="10823024"/>
            <a:chOff x="2957369" y="1158999"/>
            <a:chExt cx="5929159" cy="5411512"/>
          </a:xfrm>
        </p:grpSpPr>
        <p:grpSp>
          <p:nvGrpSpPr>
            <p:cNvPr id="20" name="Group 19">
              <a:extLst>
                <a:ext uri="{FF2B5EF4-FFF2-40B4-BE49-F238E27FC236}">
                  <a16:creationId xmlns:a16="http://schemas.microsoft.com/office/drawing/2014/main" id="{50D03574-CD44-71C8-719A-90A26750756B}"/>
                </a:ext>
              </a:extLst>
            </p:cNvPr>
            <p:cNvGrpSpPr/>
            <p:nvPr/>
          </p:nvGrpSpPr>
          <p:grpSpPr>
            <a:xfrm>
              <a:off x="2957369" y="1158999"/>
              <a:ext cx="5929159" cy="5411512"/>
              <a:chOff x="3232664" y="1175319"/>
              <a:chExt cx="5929159" cy="5411512"/>
            </a:xfrm>
          </p:grpSpPr>
          <p:graphicFrame>
            <p:nvGraphicFramePr>
              <p:cNvPr id="8" name="Chart 2">
                <a:extLst>
                  <a:ext uri="{FF2B5EF4-FFF2-40B4-BE49-F238E27FC236}">
                    <a16:creationId xmlns:a16="http://schemas.microsoft.com/office/drawing/2014/main" id="{AF6180CA-3529-EAFD-AE8A-EDCDF7D7710C}"/>
                  </a:ext>
                </a:extLst>
              </p:cNvPr>
              <p:cNvGraphicFramePr/>
              <p:nvPr/>
            </p:nvGraphicFramePr>
            <p:xfrm>
              <a:off x="3885558" y="1877323"/>
              <a:ext cx="4623371" cy="4007504"/>
            </p:xfrm>
            <a:graphic>
              <a:graphicData uri="http://schemas.openxmlformats.org/drawingml/2006/chart">
                <c:chart xmlns:c="http://schemas.openxmlformats.org/drawingml/2006/chart" xmlns:r="http://schemas.openxmlformats.org/officeDocument/2006/relationships" r:id="rId3"/>
              </a:graphicData>
            </a:graphic>
          </p:graphicFrame>
          <p:pic>
            <p:nvPicPr>
              <p:cNvPr id="4" name="Graphic 3">
                <a:extLst>
                  <a:ext uri="{FF2B5EF4-FFF2-40B4-BE49-F238E27FC236}">
                    <a16:creationId xmlns:a16="http://schemas.microsoft.com/office/drawing/2014/main" id="{CB07D8AD-9D50-9D14-EAA6-6CB2D4A0E6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82843" y="2966675"/>
                <a:ext cx="1828800" cy="1828800"/>
              </a:xfrm>
              <a:prstGeom prst="rect">
                <a:avLst/>
              </a:prstGeom>
            </p:spPr>
          </p:pic>
          <p:graphicFrame>
            <p:nvGraphicFramePr>
              <p:cNvPr id="13" name="Chart 2">
                <a:extLst>
                  <a:ext uri="{FF2B5EF4-FFF2-40B4-BE49-F238E27FC236}">
                    <a16:creationId xmlns:a16="http://schemas.microsoft.com/office/drawing/2014/main" id="{4F628A1C-97D6-5A4F-177D-BFAA752D275F}"/>
                  </a:ext>
                </a:extLst>
              </p:cNvPr>
              <p:cNvGraphicFramePr/>
              <p:nvPr/>
            </p:nvGraphicFramePr>
            <p:xfrm>
              <a:off x="3232664" y="1175319"/>
              <a:ext cx="5929159" cy="5411512"/>
            </p:xfrm>
            <a:graphic>
              <a:graphicData uri="http://schemas.openxmlformats.org/drawingml/2006/chart">
                <c:chart xmlns:c="http://schemas.openxmlformats.org/drawingml/2006/chart" xmlns:r="http://schemas.openxmlformats.org/officeDocument/2006/relationships" r:id="rId6"/>
              </a:graphicData>
            </a:graphic>
          </p:graphicFrame>
        </p:grpSp>
        <p:sp>
          <p:nvSpPr>
            <p:cNvPr id="34" name="TextBox 33">
              <a:extLst>
                <a:ext uri="{FF2B5EF4-FFF2-40B4-BE49-F238E27FC236}">
                  <a16:creationId xmlns:a16="http://schemas.microsoft.com/office/drawing/2014/main" id="{734B1D86-3FDB-E7F0-4BEB-4686ACA7CBEE}"/>
                </a:ext>
              </a:extLst>
            </p:cNvPr>
            <p:cNvSpPr txBox="1"/>
            <p:nvPr/>
          </p:nvSpPr>
          <p:spPr>
            <a:xfrm>
              <a:off x="4865178" y="1477451"/>
              <a:ext cx="2176511" cy="43088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43840" tIns="121920" rIns="243840" bIns="121920" anchor="t">
              <a:sp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FFFFFF"/>
                  </a:solidFill>
                  <a:effectLst/>
                  <a:uLnTx/>
                  <a:uFillTx/>
                  <a:latin typeface="IBM Plex Sans Light"/>
                  <a:ea typeface="+mn-ea"/>
                  <a:cs typeface="+mn-cs"/>
                </a:rPr>
                <a:t>AskProcurement</a:t>
              </a:r>
            </a:p>
          </p:txBody>
        </p:sp>
        <p:sp>
          <p:nvSpPr>
            <p:cNvPr id="36" name="TextBox 35">
              <a:extLst>
                <a:ext uri="{FF2B5EF4-FFF2-40B4-BE49-F238E27FC236}">
                  <a16:creationId xmlns:a16="http://schemas.microsoft.com/office/drawing/2014/main" id="{4538C18F-3DC2-2106-0C3A-086FE5284F3C}"/>
                </a:ext>
              </a:extLst>
            </p:cNvPr>
            <p:cNvSpPr txBox="1"/>
            <p:nvPr/>
          </p:nvSpPr>
          <p:spPr>
            <a:xfrm rot="18900000">
              <a:off x="3843913" y="2731775"/>
              <a:ext cx="1877827" cy="73866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43840" tIns="121920" rIns="243840" bIns="121920" anchor="t">
              <a:sp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FFFFFF"/>
                  </a:solidFill>
                  <a:effectLst/>
                  <a:uLnTx/>
                  <a:uFillTx/>
                  <a:latin typeface="IBM Plex Sans Light"/>
                  <a:ea typeface="+mn-ea"/>
                  <a:cs typeface="+mn-cs"/>
                </a:rPr>
                <a:t>Contract Management</a:t>
              </a:r>
            </a:p>
          </p:txBody>
        </p:sp>
        <p:sp>
          <p:nvSpPr>
            <p:cNvPr id="37" name="TextBox 36">
              <a:extLst>
                <a:ext uri="{FF2B5EF4-FFF2-40B4-BE49-F238E27FC236}">
                  <a16:creationId xmlns:a16="http://schemas.microsoft.com/office/drawing/2014/main" id="{BBEBB1DC-2955-C5A8-753E-45C9E5059552}"/>
                </a:ext>
              </a:extLst>
            </p:cNvPr>
            <p:cNvSpPr txBox="1"/>
            <p:nvPr/>
          </p:nvSpPr>
          <p:spPr>
            <a:xfrm rot="2700000">
              <a:off x="6140308" y="2705234"/>
              <a:ext cx="1802762" cy="73866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43840" tIns="121920" rIns="243840" bIns="121920" anchor="t">
              <a:sp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FFFFFF"/>
                  </a:solidFill>
                  <a:effectLst/>
                  <a:uLnTx/>
                  <a:uFillTx/>
                  <a:latin typeface="IBM Plex Sans Light"/>
                  <a:ea typeface="+mn-ea"/>
                  <a:cs typeface="+mn-cs"/>
                </a:rPr>
                <a:t>Procure to Pay</a:t>
              </a:r>
            </a:p>
          </p:txBody>
        </p:sp>
        <p:sp>
          <p:nvSpPr>
            <p:cNvPr id="38" name="TextBox 37">
              <a:extLst>
                <a:ext uri="{FF2B5EF4-FFF2-40B4-BE49-F238E27FC236}">
                  <a16:creationId xmlns:a16="http://schemas.microsoft.com/office/drawing/2014/main" id="{7EFEDF9F-2617-920D-FF8E-AEC96094A13E}"/>
                </a:ext>
              </a:extLst>
            </p:cNvPr>
            <p:cNvSpPr txBox="1"/>
            <p:nvPr/>
          </p:nvSpPr>
          <p:spPr>
            <a:xfrm>
              <a:off x="4904877" y="4897016"/>
              <a:ext cx="2034141" cy="73866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43840" tIns="121920" rIns="243840" bIns="121920" anchor="t">
              <a:sp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FFFFFF"/>
                  </a:solidFill>
                  <a:effectLst/>
                  <a:uLnTx/>
                  <a:uFillTx/>
                  <a:latin typeface="IBM Plex Sans Light"/>
                  <a:ea typeface="+mn-ea"/>
                  <a:cs typeface="+mn-cs"/>
                </a:rPr>
                <a:t>Purchase Order Management</a:t>
              </a:r>
            </a:p>
          </p:txBody>
        </p:sp>
      </p:grpSp>
      <p:sp>
        <p:nvSpPr>
          <p:cNvPr id="7" name="Title 2">
            <a:extLst>
              <a:ext uri="{FF2B5EF4-FFF2-40B4-BE49-F238E27FC236}">
                <a16:creationId xmlns:a16="http://schemas.microsoft.com/office/drawing/2014/main" id="{4A28598B-41A8-41DF-1AC2-E3A47A1D1EFD}"/>
              </a:ext>
            </a:extLst>
          </p:cNvPr>
          <p:cNvSpPr txBox="1">
            <a:spLocks/>
          </p:cNvSpPr>
          <p:nvPr/>
        </p:nvSpPr>
        <p:spPr>
          <a:xfrm>
            <a:off x="13311663" y="2428438"/>
            <a:ext cx="11049440" cy="2145232"/>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Light" pitchFamily="34" charset="0"/>
              </a:defRPr>
            </a:lvl9pPr>
          </a:lstStyle>
          <a:p>
            <a:pPr marL="0" marR="0" lvl="0" indent="0" algn="l" defTabSz="914218" rtl="0" eaLnBrk="1" fontAlgn="base" latinLnBrk="0" hangingPunct="1">
              <a:lnSpc>
                <a:spcPct val="90000"/>
              </a:lnSpc>
              <a:spcBef>
                <a:spcPct val="0"/>
              </a:spcBef>
              <a:spcAft>
                <a:spcPct val="0"/>
              </a:spcAft>
              <a:buClrTx/>
              <a:buSzTx/>
              <a:buFontTx/>
              <a:buNone/>
              <a:tabLst/>
              <a:defRPr/>
            </a:pPr>
            <a:r>
              <a:rPr kumimoji="0" lang="en-US" sz="4800" b="0" i="0" u="none" strike="noStrike" kern="0" cap="none" spc="0" normalizeH="0" baseline="0" noProof="0" dirty="0">
                <a:ln>
                  <a:noFill/>
                </a:ln>
                <a:solidFill>
                  <a:srgbClr val="000000"/>
                </a:solidFill>
                <a:effectLst/>
                <a:uLnTx/>
                <a:uFillTx/>
                <a:latin typeface="IBM Plex Sans Light"/>
                <a:ea typeface="+mn-ea"/>
                <a:cs typeface="Arial"/>
                <a:sym typeface="Arial"/>
              </a:rPr>
              <a:t>Transforming your pain points…</a:t>
            </a:r>
            <a:endParaRPr kumimoji="0" lang="en-US" sz="4800" b="0" i="0" u="none" strike="noStrike" kern="0" cap="none" spc="0" normalizeH="0" baseline="0" noProof="0" dirty="0">
              <a:ln>
                <a:noFill/>
              </a:ln>
              <a:solidFill>
                <a:srgbClr val="000000"/>
              </a:solidFill>
              <a:effectLst/>
              <a:uLnTx/>
              <a:uFillTx/>
              <a:latin typeface="IBM Plex Sans Light" panose="020B0403050203000203" pitchFamily="34" charset="0"/>
            </a:endParaRPr>
          </a:p>
        </p:txBody>
      </p:sp>
      <p:sp>
        <p:nvSpPr>
          <p:cNvPr id="9" name="Title 2">
            <a:extLst>
              <a:ext uri="{FF2B5EF4-FFF2-40B4-BE49-F238E27FC236}">
                <a16:creationId xmlns:a16="http://schemas.microsoft.com/office/drawing/2014/main" id="{BD28075F-3F5C-7FCC-1A3F-C2E87FC61AA0}"/>
              </a:ext>
            </a:extLst>
          </p:cNvPr>
          <p:cNvSpPr txBox="1">
            <a:spLocks/>
          </p:cNvSpPr>
          <p:nvPr/>
        </p:nvSpPr>
        <p:spPr>
          <a:xfrm>
            <a:off x="13311663" y="7364794"/>
            <a:ext cx="9309960" cy="2145232"/>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Light" pitchFamily="34" charset="0"/>
              </a:defRPr>
            </a:lvl9pPr>
          </a:lstStyle>
          <a:p>
            <a:pPr marL="0" marR="0" lvl="0" indent="0" algn="r" defTabSz="914218" rtl="0" eaLnBrk="1" fontAlgn="base" latinLnBrk="0" hangingPunct="1">
              <a:lnSpc>
                <a:spcPct val="90000"/>
              </a:lnSpc>
              <a:spcBef>
                <a:spcPct val="0"/>
              </a:spcBef>
              <a:spcAft>
                <a:spcPct val="0"/>
              </a:spcAft>
              <a:buClrTx/>
              <a:buSzTx/>
              <a:buFontTx/>
              <a:buNone/>
              <a:tabLst/>
              <a:defRPr/>
            </a:pPr>
            <a:r>
              <a:rPr kumimoji="0" lang="en-US" sz="4800" b="0" i="0" u="none" strike="noStrike" kern="0" cap="none" spc="0" normalizeH="0" baseline="0" noProof="0" dirty="0">
                <a:ln>
                  <a:noFill/>
                </a:ln>
                <a:solidFill>
                  <a:srgbClr val="000000"/>
                </a:solidFill>
                <a:effectLst/>
                <a:uLnTx/>
                <a:uFillTx/>
                <a:latin typeface="IBM Plex Sans Light"/>
                <a:ea typeface="+mn-ea"/>
                <a:cs typeface="Arial"/>
                <a:sym typeface="Arial"/>
              </a:rPr>
              <a:t>…into benefits</a:t>
            </a:r>
            <a:endParaRPr kumimoji="0" lang="en-US" sz="4800" b="0" i="0" u="none" strike="noStrike" kern="0" cap="none" spc="0" normalizeH="0" baseline="0" noProof="0" dirty="0">
              <a:ln>
                <a:noFill/>
              </a:ln>
              <a:solidFill>
                <a:srgbClr val="000000"/>
              </a:solidFill>
              <a:effectLst/>
              <a:uLnTx/>
              <a:uFillTx/>
              <a:latin typeface="IBM Plex Sans Light" panose="020B0403050203000203" pitchFamily="34" charset="0"/>
            </a:endParaRPr>
          </a:p>
        </p:txBody>
      </p:sp>
      <p:sp>
        <p:nvSpPr>
          <p:cNvPr id="11" name="TextBox 10">
            <a:extLst>
              <a:ext uri="{FF2B5EF4-FFF2-40B4-BE49-F238E27FC236}">
                <a16:creationId xmlns:a16="http://schemas.microsoft.com/office/drawing/2014/main" id="{5F3A64BB-061C-AD54-9679-BC14FFA91F3B}"/>
              </a:ext>
            </a:extLst>
          </p:cNvPr>
          <p:cNvSpPr txBox="1"/>
          <p:nvPr/>
        </p:nvSpPr>
        <p:spPr>
          <a:xfrm>
            <a:off x="13311663" y="3501054"/>
            <a:ext cx="12695272" cy="337528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571500" marR="0" lvl="0" indent="-571500" algn="l" defTabSz="1371326" rtl="0" eaLnBrk="1" fontAlgn="auto" latinLnBrk="0" hangingPunct="1">
              <a:lnSpc>
                <a:spcPct val="100000"/>
              </a:lnSpc>
              <a:spcBef>
                <a:spcPts val="450"/>
              </a:spcBef>
              <a:spcAft>
                <a:spcPts val="450"/>
              </a:spcAft>
              <a:buClr>
                <a:srgbClr val="FF000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Maverick Spending and Lack of Spend Visibility</a:t>
            </a:r>
          </a:p>
          <a:p>
            <a:pPr marL="571500" marR="0" lvl="0" indent="-571500" algn="l" defTabSz="1371326" rtl="0" eaLnBrk="1" fontAlgn="auto" latinLnBrk="0" hangingPunct="1">
              <a:lnSpc>
                <a:spcPct val="100000"/>
              </a:lnSpc>
              <a:spcBef>
                <a:spcPts val="450"/>
              </a:spcBef>
              <a:spcAft>
                <a:spcPts val="450"/>
              </a:spcAft>
              <a:buClr>
                <a:srgbClr val="FF000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Manual and Inefficient Sourcing</a:t>
            </a:r>
          </a:p>
          <a:p>
            <a:pPr marL="571500" marR="0" lvl="0" indent="-571500" algn="l" defTabSz="1371326" rtl="0" eaLnBrk="1" fontAlgn="auto" latinLnBrk="0" hangingPunct="1">
              <a:lnSpc>
                <a:spcPct val="100000"/>
              </a:lnSpc>
              <a:spcBef>
                <a:spcPts val="450"/>
              </a:spcBef>
              <a:spcAft>
                <a:spcPts val="450"/>
              </a:spcAft>
              <a:buClr>
                <a:srgbClr val="FF000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Supplier Risk and Performance Management</a:t>
            </a:r>
          </a:p>
          <a:p>
            <a:pPr marL="571500" marR="0" lvl="0" indent="-571500" algn="l" defTabSz="1371326" rtl="0" eaLnBrk="1" fontAlgn="auto" latinLnBrk="0" hangingPunct="1">
              <a:lnSpc>
                <a:spcPct val="100000"/>
              </a:lnSpc>
              <a:spcBef>
                <a:spcPts val="450"/>
              </a:spcBef>
              <a:spcAft>
                <a:spcPts val="450"/>
              </a:spcAft>
              <a:buClr>
                <a:srgbClr val="FF000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Limited Category Management</a:t>
            </a:r>
          </a:p>
          <a:p>
            <a:pPr marL="571500" marR="0" lvl="0" indent="-571500" algn="l" defTabSz="1371326" rtl="0" eaLnBrk="1" fontAlgn="auto" latinLnBrk="0" hangingPunct="1">
              <a:lnSpc>
                <a:spcPct val="100000"/>
              </a:lnSpc>
              <a:spcBef>
                <a:spcPts val="450"/>
              </a:spcBef>
              <a:spcAft>
                <a:spcPts val="450"/>
              </a:spcAft>
              <a:buClr>
                <a:srgbClr val="FF000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Disconnected Systems and Data Issues</a:t>
            </a:r>
          </a:p>
        </p:txBody>
      </p:sp>
      <p:sp>
        <p:nvSpPr>
          <p:cNvPr id="12" name="TextBox 11">
            <a:extLst>
              <a:ext uri="{FF2B5EF4-FFF2-40B4-BE49-F238E27FC236}">
                <a16:creationId xmlns:a16="http://schemas.microsoft.com/office/drawing/2014/main" id="{50D875AA-8161-26B7-71F8-74E0FF15654C}"/>
              </a:ext>
            </a:extLst>
          </p:cNvPr>
          <p:cNvSpPr txBox="1"/>
          <p:nvPr/>
        </p:nvSpPr>
        <p:spPr>
          <a:xfrm>
            <a:off x="13311663" y="8362226"/>
            <a:ext cx="12695272" cy="337528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571500" marR="0" lvl="0" indent="-571500" algn="l" defTabSz="1371326" rtl="0" eaLnBrk="1" fontAlgn="auto" latinLnBrk="0" hangingPunct="1">
              <a:lnSpc>
                <a:spcPct val="100000"/>
              </a:lnSpc>
              <a:spcBef>
                <a:spcPts val="450"/>
              </a:spcBef>
              <a:spcAft>
                <a:spcPts val="450"/>
              </a:spcAft>
              <a:buClr>
                <a:srgbClr val="00B05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Improved Spend Management and Cost Savings</a:t>
            </a:r>
          </a:p>
          <a:p>
            <a:pPr marL="571500" marR="0" lvl="0" indent="-571500" algn="l" defTabSz="1371326" rtl="0" eaLnBrk="1" fontAlgn="auto" latinLnBrk="0" hangingPunct="1">
              <a:lnSpc>
                <a:spcPct val="100000"/>
              </a:lnSpc>
              <a:spcBef>
                <a:spcPts val="450"/>
              </a:spcBef>
              <a:spcAft>
                <a:spcPts val="450"/>
              </a:spcAft>
              <a:buClr>
                <a:srgbClr val="00B05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Streamlined Sourcing</a:t>
            </a:r>
          </a:p>
          <a:p>
            <a:pPr marL="571500" marR="0" lvl="0" indent="-571500" algn="l" defTabSz="1371326" rtl="0" eaLnBrk="1" fontAlgn="auto" latinLnBrk="0" hangingPunct="1">
              <a:lnSpc>
                <a:spcPct val="100000"/>
              </a:lnSpc>
              <a:spcBef>
                <a:spcPts val="450"/>
              </a:spcBef>
              <a:spcAft>
                <a:spcPts val="450"/>
              </a:spcAft>
              <a:buClr>
                <a:srgbClr val="00B05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Enhanced Supplier Risk Management</a:t>
            </a:r>
          </a:p>
          <a:p>
            <a:pPr marL="571500" marR="0" lvl="0" indent="-571500" algn="l" defTabSz="1371326" rtl="0" eaLnBrk="1" fontAlgn="auto" latinLnBrk="0" hangingPunct="1">
              <a:lnSpc>
                <a:spcPct val="100000"/>
              </a:lnSpc>
              <a:spcBef>
                <a:spcPts val="450"/>
              </a:spcBef>
              <a:spcAft>
                <a:spcPts val="450"/>
              </a:spcAft>
              <a:buClr>
                <a:srgbClr val="00B05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Optimized Category Strategies</a:t>
            </a:r>
          </a:p>
          <a:p>
            <a:pPr marL="571500" marR="0" lvl="0" indent="-571500" algn="l" defTabSz="1371326" rtl="0" eaLnBrk="1" fontAlgn="auto" latinLnBrk="0" hangingPunct="1">
              <a:lnSpc>
                <a:spcPct val="100000"/>
              </a:lnSpc>
              <a:spcBef>
                <a:spcPts val="450"/>
              </a:spcBef>
              <a:spcAft>
                <a:spcPts val="450"/>
              </a:spcAft>
              <a:buClr>
                <a:srgbClr val="00B05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End-to-End Process Visibility and Analytics</a:t>
            </a:r>
          </a:p>
        </p:txBody>
      </p:sp>
    </p:spTree>
    <p:extLst>
      <p:ext uri="{BB962C8B-B14F-4D97-AF65-F5344CB8AC3E}">
        <p14:creationId xmlns:p14="http://schemas.microsoft.com/office/powerpoint/2010/main" val="1446284764"/>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2">
            <a:extLst>
              <a:ext uri="{FF2B5EF4-FFF2-40B4-BE49-F238E27FC236}">
                <a16:creationId xmlns:a16="http://schemas.microsoft.com/office/drawing/2014/main" id="{463C5CAC-9062-F658-33D3-CA542B8F4F77}"/>
              </a:ext>
            </a:extLst>
          </p:cNvPr>
          <p:cNvSpPr txBox="1">
            <a:spLocks/>
          </p:cNvSpPr>
          <p:nvPr/>
        </p:nvSpPr>
        <p:spPr>
          <a:xfrm>
            <a:off x="740727" y="757424"/>
            <a:ext cx="23246844" cy="2145232"/>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Light" pitchFamily="34" charset="0"/>
              </a:defRPr>
            </a:lvl9pPr>
          </a:lstStyle>
          <a:p>
            <a:pPr marL="0" marR="0" lvl="0" indent="0" algn="l" defTabSz="914218" rtl="0" eaLnBrk="1" fontAlgn="base" latinLnBrk="0" hangingPunct="1">
              <a:lnSpc>
                <a:spcPct val="90000"/>
              </a:lnSpc>
              <a:spcBef>
                <a:spcPct val="0"/>
              </a:spcBef>
              <a:spcAft>
                <a:spcPct val="0"/>
              </a:spcAft>
              <a:buClrTx/>
              <a:buSzTx/>
              <a:buFontTx/>
              <a:buNone/>
              <a:tabLst/>
              <a:defRPr/>
            </a:pPr>
            <a:r>
              <a:rPr kumimoji="0" lang="en-US" sz="5400" b="0" i="0" u="none" strike="noStrike" kern="0" cap="none" spc="0" normalizeH="0" baseline="0" noProof="0" dirty="0">
                <a:ln>
                  <a:noFill/>
                </a:ln>
                <a:solidFill>
                  <a:srgbClr val="000000"/>
                </a:solidFill>
                <a:effectLst/>
                <a:uLnTx/>
                <a:uFillTx/>
                <a:latin typeface="IBM Plex Sans Light"/>
                <a:ea typeface="+mn-ea"/>
                <a:cs typeface="Arial"/>
                <a:sym typeface="Arial"/>
              </a:rPr>
              <a:t>watsonx Orchestrate, with </a:t>
            </a:r>
            <a:r>
              <a:rPr kumimoji="0" lang="en-US" sz="5400" b="0" i="0" u="none" strike="noStrike" kern="0" cap="none" spc="0" normalizeH="0" baseline="0" noProof="0" dirty="0">
                <a:ln>
                  <a:noFill/>
                </a:ln>
                <a:solidFill>
                  <a:srgbClr val="A56EFF"/>
                </a:solidFill>
                <a:effectLst/>
                <a:uLnTx/>
                <a:uFillTx/>
                <a:latin typeface="IBM Plex Sans Light"/>
                <a:ea typeface="+mn-ea"/>
                <a:cs typeface="Arial"/>
                <a:sym typeface="Arial"/>
              </a:rPr>
              <a:t>insights</a:t>
            </a:r>
            <a:r>
              <a:rPr kumimoji="0" lang="en-US" sz="5400" b="0" i="0" u="none" strike="noStrike" kern="0" cap="none" spc="0" normalizeH="0" baseline="0" noProof="0" dirty="0">
                <a:ln>
                  <a:noFill/>
                </a:ln>
                <a:solidFill>
                  <a:srgbClr val="000000"/>
                </a:solidFill>
                <a:effectLst/>
                <a:uLnTx/>
                <a:uFillTx/>
                <a:latin typeface="IBM Plex Sans Light"/>
                <a:ea typeface="+mn-ea"/>
                <a:cs typeface="Arial"/>
                <a:sym typeface="Arial"/>
              </a:rPr>
              <a:t>, works with your</a:t>
            </a:r>
            <a:r>
              <a:rPr kumimoji="0" lang="en-US" sz="5400" b="0" i="0" u="none" strike="noStrike" kern="0" cap="none" spc="0" normalizeH="0" baseline="0" noProof="0" dirty="0">
                <a:ln>
                  <a:noFill/>
                </a:ln>
                <a:solidFill>
                  <a:srgbClr val="0F62FE"/>
                </a:solidFill>
                <a:effectLst/>
                <a:uLnTx/>
                <a:uFillTx/>
                <a:latin typeface="IBM Plex Sans Light"/>
                <a:ea typeface="+mn-ea"/>
                <a:cs typeface="Arial"/>
                <a:sym typeface="Arial"/>
              </a:rPr>
              <a:t> sales processes</a:t>
            </a:r>
            <a:br>
              <a:rPr kumimoji="0" lang="en-US" sz="5400" b="0" i="1" u="none" strike="noStrike" kern="0" cap="none" spc="0" normalizeH="0" baseline="0" noProof="0" dirty="0">
                <a:ln>
                  <a:noFill/>
                </a:ln>
                <a:solidFill>
                  <a:srgbClr val="000000"/>
                </a:solidFill>
                <a:effectLst/>
                <a:uLnTx/>
                <a:uFillTx/>
                <a:latin typeface="IBM Plex Sans Light"/>
                <a:ea typeface="+mn-ea"/>
                <a:cs typeface="Arial"/>
                <a:sym typeface="Arial"/>
              </a:rPr>
            </a:br>
            <a:br>
              <a:rPr kumimoji="0" lang="en-US" sz="5400" b="0" i="0" u="none" strike="noStrike" kern="0" cap="none" spc="0" normalizeH="0" baseline="0" noProof="0" dirty="0">
                <a:ln>
                  <a:noFill/>
                </a:ln>
                <a:solidFill>
                  <a:srgbClr val="000000"/>
                </a:solidFill>
                <a:effectLst/>
                <a:uLnTx/>
                <a:uFillTx/>
                <a:latin typeface="IBM Plex Sans Light" panose="020B0403050203000203" pitchFamily="34" charset="0"/>
              </a:rPr>
            </a:br>
            <a:endParaRPr kumimoji="0" lang="en-US" sz="5400" b="0" i="0" u="none" strike="noStrike" kern="0" cap="none" spc="0" normalizeH="0" baseline="0" noProof="0" dirty="0">
              <a:ln>
                <a:noFill/>
              </a:ln>
              <a:solidFill>
                <a:srgbClr val="000000"/>
              </a:solidFill>
              <a:effectLst/>
              <a:uLnTx/>
              <a:uFillTx/>
              <a:latin typeface="IBM Plex Sans Light" panose="020B0403050203000203" pitchFamily="34" charset="0"/>
            </a:endParaRPr>
          </a:p>
        </p:txBody>
      </p:sp>
      <p:sp>
        <p:nvSpPr>
          <p:cNvPr id="7" name="Title 2">
            <a:extLst>
              <a:ext uri="{FF2B5EF4-FFF2-40B4-BE49-F238E27FC236}">
                <a16:creationId xmlns:a16="http://schemas.microsoft.com/office/drawing/2014/main" id="{4A28598B-41A8-41DF-1AC2-E3A47A1D1EFD}"/>
              </a:ext>
            </a:extLst>
          </p:cNvPr>
          <p:cNvSpPr txBox="1">
            <a:spLocks/>
          </p:cNvSpPr>
          <p:nvPr/>
        </p:nvSpPr>
        <p:spPr>
          <a:xfrm>
            <a:off x="13311663" y="2428438"/>
            <a:ext cx="11049440" cy="2145232"/>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Light" pitchFamily="34" charset="0"/>
              </a:defRPr>
            </a:lvl9pPr>
          </a:lstStyle>
          <a:p>
            <a:pPr marL="0" marR="0" lvl="0" indent="0" algn="l" defTabSz="914218" rtl="0" eaLnBrk="1" fontAlgn="base" latinLnBrk="0" hangingPunct="1">
              <a:lnSpc>
                <a:spcPct val="90000"/>
              </a:lnSpc>
              <a:spcBef>
                <a:spcPct val="0"/>
              </a:spcBef>
              <a:spcAft>
                <a:spcPct val="0"/>
              </a:spcAft>
              <a:buClrTx/>
              <a:buSzTx/>
              <a:buFontTx/>
              <a:buNone/>
              <a:tabLst/>
              <a:defRPr/>
            </a:pPr>
            <a:r>
              <a:rPr kumimoji="0" lang="en-US" sz="4800" b="0" i="0" u="none" strike="noStrike" kern="0" cap="none" spc="0" normalizeH="0" baseline="0" noProof="0" dirty="0">
                <a:ln>
                  <a:noFill/>
                </a:ln>
                <a:solidFill>
                  <a:srgbClr val="000000"/>
                </a:solidFill>
                <a:effectLst/>
                <a:uLnTx/>
                <a:uFillTx/>
                <a:latin typeface="IBM Plex Sans Light"/>
                <a:ea typeface="+mn-ea"/>
                <a:cs typeface="Arial"/>
                <a:sym typeface="Arial"/>
              </a:rPr>
              <a:t>Transforming your pain points…</a:t>
            </a:r>
            <a:endParaRPr kumimoji="0" lang="en-US" sz="4800" b="0" i="0" u="none" strike="noStrike" kern="0" cap="none" spc="0" normalizeH="0" baseline="0" noProof="0" dirty="0">
              <a:ln>
                <a:noFill/>
              </a:ln>
              <a:solidFill>
                <a:srgbClr val="000000"/>
              </a:solidFill>
              <a:effectLst/>
              <a:uLnTx/>
              <a:uFillTx/>
              <a:latin typeface="IBM Plex Sans Light" panose="020B0403050203000203" pitchFamily="34" charset="0"/>
            </a:endParaRPr>
          </a:p>
        </p:txBody>
      </p:sp>
      <p:sp>
        <p:nvSpPr>
          <p:cNvPr id="9" name="Title 2">
            <a:extLst>
              <a:ext uri="{FF2B5EF4-FFF2-40B4-BE49-F238E27FC236}">
                <a16:creationId xmlns:a16="http://schemas.microsoft.com/office/drawing/2014/main" id="{BD28075F-3F5C-7FCC-1A3F-C2E87FC61AA0}"/>
              </a:ext>
            </a:extLst>
          </p:cNvPr>
          <p:cNvSpPr txBox="1">
            <a:spLocks/>
          </p:cNvSpPr>
          <p:nvPr/>
        </p:nvSpPr>
        <p:spPr>
          <a:xfrm>
            <a:off x="13311663" y="7364794"/>
            <a:ext cx="9309960" cy="2145232"/>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Light" pitchFamily="34" charset="0"/>
              </a:defRPr>
            </a:lvl9pPr>
          </a:lstStyle>
          <a:p>
            <a:pPr marL="0" marR="0" lvl="0" indent="0" algn="r" defTabSz="914218" rtl="0" eaLnBrk="1" fontAlgn="base" latinLnBrk="0" hangingPunct="1">
              <a:lnSpc>
                <a:spcPct val="90000"/>
              </a:lnSpc>
              <a:spcBef>
                <a:spcPct val="0"/>
              </a:spcBef>
              <a:spcAft>
                <a:spcPct val="0"/>
              </a:spcAft>
              <a:buClrTx/>
              <a:buSzTx/>
              <a:buFontTx/>
              <a:buNone/>
              <a:tabLst/>
              <a:defRPr/>
            </a:pPr>
            <a:r>
              <a:rPr kumimoji="0" lang="en-US" sz="4800" b="0" i="0" u="none" strike="noStrike" kern="0" cap="none" spc="0" normalizeH="0" baseline="0" noProof="0" dirty="0">
                <a:ln>
                  <a:noFill/>
                </a:ln>
                <a:solidFill>
                  <a:srgbClr val="000000"/>
                </a:solidFill>
                <a:effectLst/>
                <a:uLnTx/>
                <a:uFillTx/>
                <a:latin typeface="IBM Plex Sans Light"/>
                <a:ea typeface="+mn-ea"/>
                <a:cs typeface="Arial"/>
                <a:sym typeface="Arial"/>
              </a:rPr>
              <a:t>…into benefits</a:t>
            </a:r>
            <a:endParaRPr kumimoji="0" lang="en-US" sz="4800" b="0" i="0" u="none" strike="noStrike" kern="0" cap="none" spc="0" normalizeH="0" baseline="0" noProof="0" dirty="0">
              <a:ln>
                <a:noFill/>
              </a:ln>
              <a:solidFill>
                <a:srgbClr val="000000"/>
              </a:solidFill>
              <a:effectLst/>
              <a:uLnTx/>
              <a:uFillTx/>
              <a:latin typeface="IBM Plex Sans Light" panose="020B0403050203000203" pitchFamily="34" charset="0"/>
            </a:endParaRPr>
          </a:p>
        </p:txBody>
      </p:sp>
      <p:sp>
        <p:nvSpPr>
          <p:cNvPr id="11" name="TextBox 10">
            <a:extLst>
              <a:ext uri="{FF2B5EF4-FFF2-40B4-BE49-F238E27FC236}">
                <a16:creationId xmlns:a16="http://schemas.microsoft.com/office/drawing/2014/main" id="{5F3A64BB-061C-AD54-9679-BC14FFA91F3B}"/>
              </a:ext>
            </a:extLst>
          </p:cNvPr>
          <p:cNvSpPr txBox="1"/>
          <p:nvPr/>
        </p:nvSpPr>
        <p:spPr>
          <a:xfrm>
            <a:off x="13311663" y="3501054"/>
            <a:ext cx="12695272" cy="337528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571500" marR="0" lvl="0" indent="-571500" algn="l" defTabSz="1371326" rtl="0" eaLnBrk="1" fontAlgn="auto" latinLnBrk="0" hangingPunct="1">
              <a:lnSpc>
                <a:spcPct val="100000"/>
              </a:lnSpc>
              <a:spcBef>
                <a:spcPts val="450"/>
              </a:spcBef>
              <a:spcAft>
                <a:spcPts val="450"/>
              </a:spcAft>
              <a:buClr>
                <a:srgbClr val="FF000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Inefficient Lead Management and Follow-Ups</a:t>
            </a:r>
          </a:p>
          <a:p>
            <a:pPr marL="571500" marR="0" lvl="0" indent="-571500" algn="l" defTabSz="1371326" rtl="0" eaLnBrk="1" fontAlgn="auto" latinLnBrk="0" hangingPunct="1">
              <a:lnSpc>
                <a:spcPct val="100000"/>
              </a:lnSpc>
              <a:spcBef>
                <a:spcPts val="450"/>
              </a:spcBef>
              <a:spcAft>
                <a:spcPts val="450"/>
              </a:spcAft>
              <a:buClr>
                <a:srgbClr val="FF000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Disconnected Customer Data and Systems</a:t>
            </a:r>
          </a:p>
          <a:p>
            <a:pPr marL="571500" marR="0" lvl="0" indent="-571500" algn="l" defTabSz="1371326" rtl="0" eaLnBrk="1" fontAlgn="auto" latinLnBrk="0" hangingPunct="1">
              <a:lnSpc>
                <a:spcPct val="100000"/>
              </a:lnSpc>
              <a:spcBef>
                <a:spcPts val="450"/>
              </a:spcBef>
              <a:spcAft>
                <a:spcPts val="450"/>
              </a:spcAft>
              <a:buClr>
                <a:srgbClr val="FF000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Manual Forecasting and Pipeline Management</a:t>
            </a:r>
          </a:p>
          <a:p>
            <a:pPr marL="571500" marR="0" lvl="0" indent="-571500" algn="l" defTabSz="1371326" rtl="0" eaLnBrk="1" fontAlgn="auto" latinLnBrk="0" hangingPunct="1">
              <a:lnSpc>
                <a:spcPct val="100000"/>
              </a:lnSpc>
              <a:spcBef>
                <a:spcPts val="450"/>
              </a:spcBef>
              <a:spcAft>
                <a:spcPts val="450"/>
              </a:spcAft>
              <a:buClr>
                <a:srgbClr val="FF000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Ineffective Content and Enablement Management</a:t>
            </a:r>
          </a:p>
          <a:p>
            <a:pPr marL="571500" marR="0" lvl="0" indent="-571500" algn="l" defTabSz="1371326" rtl="0" eaLnBrk="1" fontAlgn="auto" latinLnBrk="0" hangingPunct="1">
              <a:lnSpc>
                <a:spcPct val="100000"/>
              </a:lnSpc>
              <a:spcBef>
                <a:spcPts val="450"/>
              </a:spcBef>
              <a:spcAft>
                <a:spcPts val="450"/>
              </a:spcAft>
              <a:buClr>
                <a:srgbClr val="FF000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Limited Insights into Customer Preferences</a:t>
            </a:r>
          </a:p>
        </p:txBody>
      </p:sp>
      <p:sp>
        <p:nvSpPr>
          <p:cNvPr id="12" name="TextBox 11">
            <a:extLst>
              <a:ext uri="{FF2B5EF4-FFF2-40B4-BE49-F238E27FC236}">
                <a16:creationId xmlns:a16="http://schemas.microsoft.com/office/drawing/2014/main" id="{50D875AA-8161-26B7-71F8-74E0FF15654C}"/>
              </a:ext>
            </a:extLst>
          </p:cNvPr>
          <p:cNvSpPr txBox="1"/>
          <p:nvPr/>
        </p:nvSpPr>
        <p:spPr>
          <a:xfrm>
            <a:off x="13311663" y="8362226"/>
            <a:ext cx="12695272" cy="337528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571500" marR="0" lvl="0" indent="-571500" algn="l" defTabSz="1371326" rtl="0" eaLnBrk="1" fontAlgn="auto" latinLnBrk="0" hangingPunct="1">
              <a:lnSpc>
                <a:spcPct val="100000"/>
              </a:lnSpc>
              <a:spcBef>
                <a:spcPts val="450"/>
              </a:spcBef>
              <a:spcAft>
                <a:spcPts val="450"/>
              </a:spcAft>
              <a:buClr>
                <a:srgbClr val="00B05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Streamlined Lead Nurturing and Conversion</a:t>
            </a:r>
          </a:p>
          <a:p>
            <a:pPr marL="571500" marR="0" lvl="0" indent="-571500" algn="l" defTabSz="1371326" rtl="0" eaLnBrk="1" fontAlgn="auto" latinLnBrk="0" hangingPunct="1">
              <a:lnSpc>
                <a:spcPct val="100000"/>
              </a:lnSpc>
              <a:spcBef>
                <a:spcPts val="450"/>
              </a:spcBef>
              <a:spcAft>
                <a:spcPts val="450"/>
              </a:spcAft>
              <a:buClr>
                <a:srgbClr val="00B05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Unified Customer Data and 360-View</a:t>
            </a:r>
          </a:p>
          <a:p>
            <a:pPr marL="571500" marR="0" lvl="0" indent="-571500" algn="l" defTabSz="1371326" rtl="0" eaLnBrk="1" fontAlgn="auto" latinLnBrk="0" hangingPunct="1">
              <a:lnSpc>
                <a:spcPct val="100000"/>
              </a:lnSpc>
              <a:spcBef>
                <a:spcPts val="450"/>
              </a:spcBef>
              <a:spcAft>
                <a:spcPts val="450"/>
              </a:spcAft>
              <a:buClr>
                <a:srgbClr val="00B05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Accurate Forecasting and Pipeline Oversight</a:t>
            </a:r>
          </a:p>
          <a:p>
            <a:pPr marL="571500" marR="0" lvl="0" indent="-571500" algn="l" defTabSz="1371326" rtl="0" eaLnBrk="1" fontAlgn="auto" latinLnBrk="0" hangingPunct="1">
              <a:lnSpc>
                <a:spcPct val="100000"/>
              </a:lnSpc>
              <a:spcBef>
                <a:spcPts val="450"/>
              </a:spcBef>
              <a:spcAft>
                <a:spcPts val="450"/>
              </a:spcAft>
              <a:buClr>
                <a:srgbClr val="00B05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Personalized Sales Content Delivery</a:t>
            </a:r>
          </a:p>
          <a:p>
            <a:pPr marL="571500" marR="0" lvl="0" indent="-571500" algn="l" defTabSz="1371326" rtl="0" eaLnBrk="1" fontAlgn="auto" latinLnBrk="0" hangingPunct="1">
              <a:lnSpc>
                <a:spcPct val="100000"/>
              </a:lnSpc>
              <a:spcBef>
                <a:spcPts val="450"/>
              </a:spcBef>
              <a:spcAft>
                <a:spcPts val="450"/>
              </a:spcAft>
              <a:buClr>
                <a:srgbClr val="00B05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Data Driven Insights for Targeted Sales Strategy</a:t>
            </a:r>
          </a:p>
        </p:txBody>
      </p:sp>
      <p:grpSp>
        <p:nvGrpSpPr>
          <p:cNvPr id="41" name="Group 40">
            <a:extLst>
              <a:ext uri="{FF2B5EF4-FFF2-40B4-BE49-F238E27FC236}">
                <a16:creationId xmlns:a16="http://schemas.microsoft.com/office/drawing/2014/main" id="{53ECB856-5C24-6EE7-DC53-DE576A3E7B86}"/>
              </a:ext>
            </a:extLst>
          </p:cNvPr>
          <p:cNvGrpSpPr/>
          <p:nvPr/>
        </p:nvGrpSpPr>
        <p:grpSpPr>
          <a:xfrm>
            <a:off x="1079813" y="1830040"/>
            <a:ext cx="11858318" cy="10823024"/>
            <a:chOff x="2957369" y="1158999"/>
            <a:chExt cx="5929159" cy="5411512"/>
          </a:xfrm>
        </p:grpSpPr>
        <p:grpSp>
          <p:nvGrpSpPr>
            <p:cNvPr id="42" name="Group 41">
              <a:extLst>
                <a:ext uri="{FF2B5EF4-FFF2-40B4-BE49-F238E27FC236}">
                  <a16:creationId xmlns:a16="http://schemas.microsoft.com/office/drawing/2014/main" id="{9B83901C-4CC9-1058-1D18-CED80FFBC17A}"/>
                </a:ext>
              </a:extLst>
            </p:cNvPr>
            <p:cNvGrpSpPr/>
            <p:nvPr/>
          </p:nvGrpSpPr>
          <p:grpSpPr>
            <a:xfrm>
              <a:off x="2957369" y="1158999"/>
              <a:ext cx="5929159" cy="5411512"/>
              <a:chOff x="3232664" y="1175319"/>
              <a:chExt cx="5929159" cy="5411512"/>
            </a:xfrm>
          </p:grpSpPr>
          <p:graphicFrame>
            <p:nvGraphicFramePr>
              <p:cNvPr id="47" name="Chart 2">
                <a:extLst>
                  <a:ext uri="{FF2B5EF4-FFF2-40B4-BE49-F238E27FC236}">
                    <a16:creationId xmlns:a16="http://schemas.microsoft.com/office/drawing/2014/main" id="{E9D80099-4998-F97F-9C9C-149B500E6B46}"/>
                  </a:ext>
                </a:extLst>
              </p:cNvPr>
              <p:cNvGraphicFramePr/>
              <p:nvPr/>
            </p:nvGraphicFramePr>
            <p:xfrm>
              <a:off x="3885558" y="1877323"/>
              <a:ext cx="4623371" cy="4007504"/>
            </p:xfrm>
            <a:graphic>
              <a:graphicData uri="http://schemas.openxmlformats.org/drawingml/2006/chart">
                <c:chart xmlns:c="http://schemas.openxmlformats.org/drawingml/2006/chart" xmlns:r="http://schemas.openxmlformats.org/officeDocument/2006/relationships" r:id="rId3"/>
              </a:graphicData>
            </a:graphic>
          </p:graphicFrame>
          <p:pic>
            <p:nvPicPr>
              <p:cNvPr id="48" name="Graphic 47">
                <a:extLst>
                  <a:ext uri="{FF2B5EF4-FFF2-40B4-BE49-F238E27FC236}">
                    <a16:creationId xmlns:a16="http://schemas.microsoft.com/office/drawing/2014/main" id="{A4BD8499-D521-4B4D-46C8-072C4235C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82843" y="2966675"/>
                <a:ext cx="1828800" cy="1828800"/>
              </a:xfrm>
              <a:prstGeom prst="rect">
                <a:avLst/>
              </a:prstGeom>
            </p:spPr>
          </p:pic>
          <p:graphicFrame>
            <p:nvGraphicFramePr>
              <p:cNvPr id="49" name="Chart 2">
                <a:extLst>
                  <a:ext uri="{FF2B5EF4-FFF2-40B4-BE49-F238E27FC236}">
                    <a16:creationId xmlns:a16="http://schemas.microsoft.com/office/drawing/2014/main" id="{9FBE876E-CCA7-82BD-1C13-723B53BC4B62}"/>
                  </a:ext>
                </a:extLst>
              </p:cNvPr>
              <p:cNvGraphicFramePr/>
              <p:nvPr/>
            </p:nvGraphicFramePr>
            <p:xfrm>
              <a:off x="3232664" y="1175319"/>
              <a:ext cx="5929159" cy="5411512"/>
            </p:xfrm>
            <a:graphic>
              <a:graphicData uri="http://schemas.openxmlformats.org/drawingml/2006/chart">
                <c:chart xmlns:c="http://schemas.openxmlformats.org/drawingml/2006/chart" xmlns:r="http://schemas.openxmlformats.org/officeDocument/2006/relationships" r:id="rId6"/>
              </a:graphicData>
            </a:graphic>
          </p:graphicFrame>
        </p:grpSp>
        <p:sp>
          <p:nvSpPr>
            <p:cNvPr id="43" name="TextBox 42">
              <a:extLst>
                <a:ext uri="{FF2B5EF4-FFF2-40B4-BE49-F238E27FC236}">
                  <a16:creationId xmlns:a16="http://schemas.microsoft.com/office/drawing/2014/main" id="{BD31C699-B88D-9CD7-9A0D-DD2C35FEF51F}"/>
                </a:ext>
              </a:extLst>
            </p:cNvPr>
            <p:cNvSpPr txBox="1"/>
            <p:nvPr/>
          </p:nvSpPr>
          <p:spPr>
            <a:xfrm>
              <a:off x="4849698" y="1457674"/>
              <a:ext cx="2144499" cy="43088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43840" tIns="121920" rIns="243840" bIns="121920" anchor="t">
              <a:sp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err="1">
                  <a:ln>
                    <a:noFill/>
                  </a:ln>
                  <a:solidFill>
                    <a:srgbClr val="FFFFFF"/>
                  </a:solidFill>
                  <a:effectLst/>
                  <a:uLnTx/>
                  <a:uFillTx/>
                  <a:latin typeface="IBM Plex Sans Light"/>
                  <a:ea typeface="+mn-ea"/>
                  <a:cs typeface="+mn-cs"/>
                </a:rPr>
                <a:t>AskSales</a:t>
              </a:r>
              <a:endParaRPr kumimoji="0" lang="en-US" sz="4000" b="0" i="0" u="none" strike="noStrike" kern="0" cap="none" spc="0" normalizeH="0" baseline="0" noProof="0" dirty="0">
                <a:ln>
                  <a:noFill/>
                </a:ln>
                <a:solidFill>
                  <a:srgbClr val="FFFFFF"/>
                </a:solidFill>
                <a:effectLst/>
                <a:uLnTx/>
                <a:uFillTx/>
                <a:latin typeface="IBM Plex Sans Light"/>
                <a:ea typeface="+mn-ea"/>
                <a:cs typeface="+mn-cs"/>
              </a:endParaRPr>
            </a:p>
          </p:txBody>
        </p:sp>
        <p:sp>
          <p:nvSpPr>
            <p:cNvPr id="44" name="TextBox 43">
              <a:extLst>
                <a:ext uri="{FF2B5EF4-FFF2-40B4-BE49-F238E27FC236}">
                  <a16:creationId xmlns:a16="http://schemas.microsoft.com/office/drawing/2014/main" id="{CDEBAC8E-3914-9F83-F462-0AE797B8D78F}"/>
                </a:ext>
              </a:extLst>
            </p:cNvPr>
            <p:cNvSpPr txBox="1"/>
            <p:nvPr/>
          </p:nvSpPr>
          <p:spPr>
            <a:xfrm rot="18900000">
              <a:off x="3843913" y="2577888"/>
              <a:ext cx="1877827" cy="73866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43840" tIns="121920" rIns="243840" bIns="121920" anchor="t">
              <a:sp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FFFFFF"/>
                  </a:solidFill>
                  <a:effectLst/>
                  <a:uLnTx/>
                  <a:uFillTx/>
                  <a:latin typeface="IBM Plex Sans Light"/>
                  <a:ea typeface="+mn-ea"/>
                  <a:cs typeface="+mn-cs"/>
                </a:rPr>
                <a:t>Opportunity management</a:t>
              </a:r>
            </a:p>
          </p:txBody>
        </p:sp>
        <p:sp>
          <p:nvSpPr>
            <p:cNvPr id="45" name="TextBox 44">
              <a:extLst>
                <a:ext uri="{FF2B5EF4-FFF2-40B4-BE49-F238E27FC236}">
                  <a16:creationId xmlns:a16="http://schemas.microsoft.com/office/drawing/2014/main" id="{3474CBB1-47BD-DA8E-1111-77D6982410D1}"/>
                </a:ext>
              </a:extLst>
            </p:cNvPr>
            <p:cNvSpPr txBox="1"/>
            <p:nvPr/>
          </p:nvSpPr>
          <p:spPr>
            <a:xfrm rot="2700000">
              <a:off x="5939481" y="2468163"/>
              <a:ext cx="2038046" cy="73866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43840" tIns="121920" rIns="243840" bIns="121920" anchor="t">
              <a:sp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FFFFFF"/>
                  </a:solidFill>
                  <a:effectLst/>
                  <a:uLnTx/>
                  <a:uFillTx/>
                  <a:latin typeface="IBM Plex Sans Light"/>
                  <a:ea typeface="+mn-ea"/>
                  <a:cs typeface="+mn-cs"/>
                </a:rPr>
                <a:t>Buyer experience</a:t>
              </a:r>
            </a:p>
          </p:txBody>
        </p:sp>
        <p:sp>
          <p:nvSpPr>
            <p:cNvPr id="46" name="TextBox 45">
              <a:extLst>
                <a:ext uri="{FF2B5EF4-FFF2-40B4-BE49-F238E27FC236}">
                  <a16:creationId xmlns:a16="http://schemas.microsoft.com/office/drawing/2014/main" id="{69164A3D-9523-73D3-6685-B970A55529BE}"/>
                </a:ext>
              </a:extLst>
            </p:cNvPr>
            <p:cNvSpPr txBox="1"/>
            <p:nvPr/>
          </p:nvSpPr>
          <p:spPr>
            <a:xfrm>
              <a:off x="5007548" y="4873091"/>
              <a:ext cx="1828800" cy="73866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43840" tIns="121920" rIns="243840" bIns="121920" anchor="t">
              <a:sp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FFFFFF"/>
                  </a:solidFill>
                  <a:effectLst/>
                  <a:uLnTx/>
                  <a:uFillTx/>
                  <a:latin typeface="IBM Plex Sans Light"/>
                  <a:ea typeface="+mn-ea"/>
                  <a:cs typeface="+mn-cs"/>
                </a:rPr>
                <a:t>Lead management</a:t>
              </a:r>
            </a:p>
          </p:txBody>
        </p:sp>
      </p:grpSp>
    </p:spTree>
    <p:extLst>
      <p:ext uri="{BB962C8B-B14F-4D97-AF65-F5344CB8AC3E}">
        <p14:creationId xmlns:p14="http://schemas.microsoft.com/office/powerpoint/2010/main" val="1706449966"/>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2">
            <a:extLst>
              <a:ext uri="{FF2B5EF4-FFF2-40B4-BE49-F238E27FC236}">
                <a16:creationId xmlns:a16="http://schemas.microsoft.com/office/drawing/2014/main" id="{463C5CAC-9062-F658-33D3-CA542B8F4F77}"/>
              </a:ext>
            </a:extLst>
          </p:cNvPr>
          <p:cNvSpPr txBox="1">
            <a:spLocks/>
          </p:cNvSpPr>
          <p:nvPr/>
        </p:nvSpPr>
        <p:spPr>
          <a:xfrm>
            <a:off x="740727" y="757424"/>
            <a:ext cx="23246844" cy="2145232"/>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Light" pitchFamily="34" charset="0"/>
              </a:defRPr>
            </a:lvl9pPr>
          </a:lstStyle>
          <a:p>
            <a:pPr marL="0" marR="0" lvl="0" indent="0" algn="l" defTabSz="914218" rtl="0" eaLnBrk="1" fontAlgn="base" latinLnBrk="0" hangingPunct="1">
              <a:lnSpc>
                <a:spcPct val="90000"/>
              </a:lnSpc>
              <a:spcBef>
                <a:spcPct val="0"/>
              </a:spcBef>
              <a:spcAft>
                <a:spcPct val="0"/>
              </a:spcAft>
              <a:buClrTx/>
              <a:buSzTx/>
              <a:buFontTx/>
              <a:buNone/>
              <a:tabLst/>
              <a:defRPr/>
            </a:pPr>
            <a:r>
              <a:rPr kumimoji="0" lang="en-US" sz="5600" b="0" i="0" u="none" strike="noStrike" kern="0" cap="none" spc="0" normalizeH="0" baseline="0" noProof="0" dirty="0">
                <a:ln>
                  <a:noFill/>
                </a:ln>
                <a:solidFill>
                  <a:srgbClr val="000000"/>
                </a:solidFill>
                <a:effectLst/>
                <a:uLnTx/>
                <a:uFillTx/>
                <a:latin typeface="IBM Plex Sans Light"/>
                <a:ea typeface="+mn-ea"/>
                <a:cs typeface="Arial"/>
                <a:sym typeface="Arial"/>
              </a:rPr>
              <a:t>watsonx Orchestrate, with </a:t>
            </a:r>
            <a:r>
              <a:rPr kumimoji="0" lang="en-US" sz="5600" b="0" i="0" u="none" strike="noStrike" kern="0" cap="none" spc="0" normalizeH="0" baseline="0" noProof="0" dirty="0">
                <a:ln>
                  <a:noFill/>
                </a:ln>
                <a:solidFill>
                  <a:srgbClr val="A56EFF"/>
                </a:solidFill>
                <a:effectLst/>
                <a:uLnTx/>
                <a:uFillTx/>
                <a:latin typeface="IBM Plex Sans Light"/>
                <a:ea typeface="+mn-ea"/>
                <a:cs typeface="Arial"/>
                <a:sym typeface="Arial"/>
              </a:rPr>
              <a:t>insights</a:t>
            </a:r>
            <a:r>
              <a:rPr kumimoji="0" lang="en-US" sz="5600" b="0" i="0" u="none" strike="noStrike" kern="0" cap="none" spc="0" normalizeH="0" baseline="0" noProof="0" dirty="0">
                <a:ln>
                  <a:noFill/>
                </a:ln>
                <a:solidFill>
                  <a:srgbClr val="000000"/>
                </a:solidFill>
                <a:effectLst/>
                <a:uLnTx/>
                <a:uFillTx/>
                <a:latin typeface="IBM Plex Sans Light"/>
                <a:ea typeface="+mn-ea"/>
                <a:cs typeface="Arial"/>
                <a:sym typeface="Arial"/>
              </a:rPr>
              <a:t>, works with your</a:t>
            </a:r>
            <a:r>
              <a:rPr kumimoji="0" lang="en-US" sz="5600" b="0" i="0" u="none" strike="noStrike" kern="0" cap="none" spc="0" normalizeH="0" baseline="0" noProof="0" dirty="0">
                <a:ln>
                  <a:noFill/>
                </a:ln>
                <a:solidFill>
                  <a:srgbClr val="0F62FE"/>
                </a:solidFill>
                <a:effectLst/>
                <a:uLnTx/>
                <a:uFillTx/>
                <a:latin typeface="IBM Plex Sans Light"/>
                <a:ea typeface="+mn-ea"/>
                <a:cs typeface="Arial"/>
                <a:sym typeface="Arial"/>
              </a:rPr>
              <a:t> supplier processes</a:t>
            </a:r>
            <a:br>
              <a:rPr kumimoji="0" lang="en-US" sz="5600" b="0" i="1" u="none" strike="noStrike" kern="0" cap="none" spc="0" normalizeH="0" baseline="0" noProof="0" dirty="0">
                <a:ln>
                  <a:noFill/>
                </a:ln>
                <a:solidFill>
                  <a:srgbClr val="000000"/>
                </a:solidFill>
                <a:effectLst/>
                <a:uLnTx/>
                <a:uFillTx/>
                <a:latin typeface="IBM Plex Sans Light"/>
                <a:ea typeface="+mn-ea"/>
                <a:cs typeface="Arial"/>
                <a:sym typeface="Arial"/>
              </a:rPr>
            </a:br>
            <a:br>
              <a:rPr kumimoji="0" lang="en-US" sz="5600" b="0" i="0" u="none" strike="noStrike" kern="0" cap="none" spc="0" normalizeH="0" baseline="0" noProof="0" dirty="0">
                <a:ln>
                  <a:noFill/>
                </a:ln>
                <a:solidFill>
                  <a:srgbClr val="000000"/>
                </a:solidFill>
                <a:effectLst/>
                <a:uLnTx/>
                <a:uFillTx/>
                <a:latin typeface="IBM Plex Sans Light" panose="020B0403050203000203" pitchFamily="34" charset="0"/>
              </a:rPr>
            </a:br>
            <a:endParaRPr kumimoji="0" lang="en-US" sz="5600" b="0" i="0" u="none" strike="noStrike" kern="0" cap="none" spc="0" normalizeH="0" baseline="0" noProof="0" dirty="0">
              <a:ln>
                <a:noFill/>
              </a:ln>
              <a:solidFill>
                <a:srgbClr val="000000"/>
              </a:solidFill>
              <a:effectLst/>
              <a:uLnTx/>
              <a:uFillTx/>
              <a:latin typeface="IBM Plex Sans Light" panose="020B0403050203000203" pitchFamily="34" charset="0"/>
            </a:endParaRPr>
          </a:p>
        </p:txBody>
      </p:sp>
      <p:grpSp>
        <p:nvGrpSpPr>
          <p:cNvPr id="5" name="Group 4">
            <a:extLst>
              <a:ext uri="{FF2B5EF4-FFF2-40B4-BE49-F238E27FC236}">
                <a16:creationId xmlns:a16="http://schemas.microsoft.com/office/drawing/2014/main" id="{1BD9A172-C9EE-D772-2023-D707C729ED9B}"/>
              </a:ext>
            </a:extLst>
          </p:cNvPr>
          <p:cNvGrpSpPr/>
          <p:nvPr/>
        </p:nvGrpSpPr>
        <p:grpSpPr>
          <a:xfrm>
            <a:off x="740728" y="1830040"/>
            <a:ext cx="11858318" cy="10823024"/>
            <a:chOff x="2957369" y="1158999"/>
            <a:chExt cx="5929159" cy="5411512"/>
          </a:xfrm>
        </p:grpSpPr>
        <p:grpSp>
          <p:nvGrpSpPr>
            <p:cNvPr id="20" name="Group 19">
              <a:extLst>
                <a:ext uri="{FF2B5EF4-FFF2-40B4-BE49-F238E27FC236}">
                  <a16:creationId xmlns:a16="http://schemas.microsoft.com/office/drawing/2014/main" id="{50D03574-CD44-71C8-719A-90A26750756B}"/>
                </a:ext>
              </a:extLst>
            </p:cNvPr>
            <p:cNvGrpSpPr/>
            <p:nvPr/>
          </p:nvGrpSpPr>
          <p:grpSpPr>
            <a:xfrm>
              <a:off x="2957369" y="1158999"/>
              <a:ext cx="5929159" cy="5411512"/>
              <a:chOff x="3232664" y="1175319"/>
              <a:chExt cx="5929159" cy="5411512"/>
            </a:xfrm>
          </p:grpSpPr>
          <p:graphicFrame>
            <p:nvGraphicFramePr>
              <p:cNvPr id="8" name="Chart 2">
                <a:extLst>
                  <a:ext uri="{FF2B5EF4-FFF2-40B4-BE49-F238E27FC236}">
                    <a16:creationId xmlns:a16="http://schemas.microsoft.com/office/drawing/2014/main" id="{AF6180CA-3529-EAFD-AE8A-EDCDF7D7710C}"/>
                  </a:ext>
                </a:extLst>
              </p:cNvPr>
              <p:cNvGraphicFramePr/>
              <p:nvPr/>
            </p:nvGraphicFramePr>
            <p:xfrm>
              <a:off x="3885558" y="1877323"/>
              <a:ext cx="4623371" cy="4007504"/>
            </p:xfrm>
            <a:graphic>
              <a:graphicData uri="http://schemas.openxmlformats.org/drawingml/2006/chart">
                <c:chart xmlns:c="http://schemas.openxmlformats.org/drawingml/2006/chart" xmlns:r="http://schemas.openxmlformats.org/officeDocument/2006/relationships" r:id="rId3"/>
              </a:graphicData>
            </a:graphic>
          </p:graphicFrame>
          <p:pic>
            <p:nvPicPr>
              <p:cNvPr id="4" name="Graphic 3">
                <a:extLst>
                  <a:ext uri="{FF2B5EF4-FFF2-40B4-BE49-F238E27FC236}">
                    <a16:creationId xmlns:a16="http://schemas.microsoft.com/office/drawing/2014/main" id="{CB07D8AD-9D50-9D14-EAA6-6CB2D4A0E6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82843" y="2966675"/>
                <a:ext cx="1828800" cy="1828800"/>
              </a:xfrm>
              <a:prstGeom prst="rect">
                <a:avLst/>
              </a:prstGeom>
            </p:spPr>
          </p:pic>
          <p:graphicFrame>
            <p:nvGraphicFramePr>
              <p:cNvPr id="13" name="Chart 2">
                <a:extLst>
                  <a:ext uri="{FF2B5EF4-FFF2-40B4-BE49-F238E27FC236}">
                    <a16:creationId xmlns:a16="http://schemas.microsoft.com/office/drawing/2014/main" id="{4F628A1C-97D6-5A4F-177D-BFAA752D275F}"/>
                  </a:ext>
                </a:extLst>
              </p:cNvPr>
              <p:cNvGraphicFramePr/>
              <p:nvPr/>
            </p:nvGraphicFramePr>
            <p:xfrm>
              <a:off x="3232664" y="1175319"/>
              <a:ext cx="5929159" cy="5411512"/>
            </p:xfrm>
            <a:graphic>
              <a:graphicData uri="http://schemas.openxmlformats.org/drawingml/2006/chart">
                <c:chart xmlns:c="http://schemas.openxmlformats.org/drawingml/2006/chart" xmlns:r="http://schemas.openxmlformats.org/officeDocument/2006/relationships" r:id="rId6"/>
              </a:graphicData>
            </a:graphic>
          </p:graphicFrame>
        </p:grpSp>
        <p:sp>
          <p:nvSpPr>
            <p:cNvPr id="34" name="TextBox 33">
              <a:extLst>
                <a:ext uri="{FF2B5EF4-FFF2-40B4-BE49-F238E27FC236}">
                  <a16:creationId xmlns:a16="http://schemas.microsoft.com/office/drawing/2014/main" id="{734B1D86-3FDB-E7F0-4BEB-4686ACA7CBEE}"/>
                </a:ext>
              </a:extLst>
            </p:cNvPr>
            <p:cNvSpPr txBox="1"/>
            <p:nvPr/>
          </p:nvSpPr>
          <p:spPr>
            <a:xfrm>
              <a:off x="4849698" y="1457674"/>
              <a:ext cx="2144499" cy="43088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43840" tIns="121920" rIns="243840" bIns="121920" anchor="t">
              <a:sp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FFFFFF"/>
                  </a:solidFill>
                  <a:effectLst/>
                  <a:uLnTx/>
                  <a:uFillTx/>
                  <a:latin typeface="IBM Plex Sans Light"/>
                  <a:ea typeface="+mn-ea"/>
                  <a:cs typeface="+mn-cs"/>
                </a:rPr>
                <a:t>AskSupplyChain</a:t>
              </a:r>
            </a:p>
          </p:txBody>
        </p:sp>
        <p:sp>
          <p:nvSpPr>
            <p:cNvPr id="36" name="TextBox 35">
              <a:extLst>
                <a:ext uri="{FF2B5EF4-FFF2-40B4-BE49-F238E27FC236}">
                  <a16:creationId xmlns:a16="http://schemas.microsoft.com/office/drawing/2014/main" id="{4538C18F-3DC2-2106-0C3A-086FE5284F3C}"/>
                </a:ext>
              </a:extLst>
            </p:cNvPr>
            <p:cNvSpPr txBox="1"/>
            <p:nvPr/>
          </p:nvSpPr>
          <p:spPr>
            <a:xfrm rot="18900000">
              <a:off x="3843913" y="2577887"/>
              <a:ext cx="1877827" cy="73866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43840" tIns="121920" rIns="243840" bIns="121920" anchor="t">
              <a:sp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FFFFFF"/>
                  </a:solidFill>
                  <a:effectLst/>
                  <a:uLnTx/>
                  <a:uFillTx/>
                  <a:latin typeface="IBM Plex Sans Light"/>
                  <a:ea typeface="+mn-ea"/>
                  <a:cs typeface="+mn-cs"/>
                </a:rPr>
                <a:t>Sourcing Support</a:t>
              </a:r>
            </a:p>
          </p:txBody>
        </p:sp>
        <p:sp>
          <p:nvSpPr>
            <p:cNvPr id="37" name="TextBox 36">
              <a:extLst>
                <a:ext uri="{FF2B5EF4-FFF2-40B4-BE49-F238E27FC236}">
                  <a16:creationId xmlns:a16="http://schemas.microsoft.com/office/drawing/2014/main" id="{BBEBB1DC-2955-C5A8-753E-45C9E5059552}"/>
                </a:ext>
              </a:extLst>
            </p:cNvPr>
            <p:cNvSpPr txBox="1"/>
            <p:nvPr/>
          </p:nvSpPr>
          <p:spPr>
            <a:xfrm rot="2700000">
              <a:off x="6140308" y="2705235"/>
              <a:ext cx="1802762" cy="73866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43840" tIns="121920" rIns="243840" bIns="121920" anchor="t">
              <a:sp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FFFFFF"/>
                  </a:solidFill>
                  <a:effectLst/>
                  <a:uLnTx/>
                  <a:uFillTx/>
                  <a:latin typeface="IBM Plex Sans Light"/>
                  <a:ea typeface="+mn-ea"/>
                  <a:cs typeface="+mn-cs"/>
                </a:rPr>
                <a:t>Supplier Management</a:t>
              </a:r>
            </a:p>
          </p:txBody>
        </p:sp>
        <p:sp>
          <p:nvSpPr>
            <p:cNvPr id="38" name="TextBox 37">
              <a:extLst>
                <a:ext uri="{FF2B5EF4-FFF2-40B4-BE49-F238E27FC236}">
                  <a16:creationId xmlns:a16="http://schemas.microsoft.com/office/drawing/2014/main" id="{7EFEDF9F-2617-920D-FF8E-AEC96094A13E}"/>
                </a:ext>
              </a:extLst>
            </p:cNvPr>
            <p:cNvSpPr txBox="1"/>
            <p:nvPr/>
          </p:nvSpPr>
          <p:spPr>
            <a:xfrm>
              <a:off x="5007548" y="4873091"/>
              <a:ext cx="1828800" cy="73866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43840" tIns="121920" rIns="243840" bIns="121920" anchor="t">
              <a:sp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FFFFFF"/>
                  </a:solidFill>
                  <a:effectLst/>
                  <a:uLnTx/>
                  <a:uFillTx/>
                  <a:latin typeface="IBM Plex Sans Light"/>
                  <a:ea typeface="+mn-ea"/>
                  <a:cs typeface="+mn-cs"/>
                </a:rPr>
                <a:t>Sustainability/ Compliance</a:t>
              </a:r>
            </a:p>
          </p:txBody>
        </p:sp>
      </p:grpSp>
      <p:sp>
        <p:nvSpPr>
          <p:cNvPr id="7" name="Title 2">
            <a:extLst>
              <a:ext uri="{FF2B5EF4-FFF2-40B4-BE49-F238E27FC236}">
                <a16:creationId xmlns:a16="http://schemas.microsoft.com/office/drawing/2014/main" id="{4A28598B-41A8-41DF-1AC2-E3A47A1D1EFD}"/>
              </a:ext>
            </a:extLst>
          </p:cNvPr>
          <p:cNvSpPr txBox="1">
            <a:spLocks/>
          </p:cNvSpPr>
          <p:nvPr/>
        </p:nvSpPr>
        <p:spPr>
          <a:xfrm>
            <a:off x="13311663" y="2428438"/>
            <a:ext cx="11049440" cy="2145232"/>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Light" pitchFamily="34" charset="0"/>
              </a:defRPr>
            </a:lvl9pPr>
          </a:lstStyle>
          <a:p>
            <a:pPr marL="0" marR="0" lvl="0" indent="0" algn="l" defTabSz="914218" rtl="0" eaLnBrk="1" fontAlgn="base" latinLnBrk="0" hangingPunct="1">
              <a:lnSpc>
                <a:spcPct val="90000"/>
              </a:lnSpc>
              <a:spcBef>
                <a:spcPct val="0"/>
              </a:spcBef>
              <a:spcAft>
                <a:spcPct val="0"/>
              </a:spcAft>
              <a:buClrTx/>
              <a:buSzTx/>
              <a:buFontTx/>
              <a:buNone/>
              <a:tabLst/>
              <a:defRPr/>
            </a:pPr>
            <a:r>
              <a:rPr kumimoji="0" lang="en-US" sz="4800" b="0" i="0" u="none" strike="noStrike" kern="0" cap="none" spc="0" normalizeH="0" baseline="0" noProof="0" dirty="0">
                <a:ln>
                  <a:noFill/>
                </a:ln>
                <a:solidFill>
                  <a:srgbClr val="000000"/>
                </a:solidFill>
                <a:effectLst/>
                <a:uLnTx/>
                <a:uFillTx/>
                <a:latin typeface="IBM Plex Sans Light"/>
                <a:ea typeface="+mn-ea"/>
                <a:cs typeface="Arial"/>
                <a:sym typeface="Arial"/>
              </a:rPr>
              <a:t>Transforming your pain points…</a:t>
            </a:r>
            <a:endParaRPr kumimoji="0" lang="en-US" sz="4800" b="0" i="0" u="none" strike="noStrike" kern="0" cap="none" spc="0" normalizeH="0" baseline="0" noProof="0" dirty="0">
              <a:ln>
                <a:noFill/>
              </a:ln>
              <a:solidFill>
                <a:srgbClr val="000000"/>
              </a:solidFill>
              <a:effectLst/>
              <a:uLnTx/>
              <a:uFillTx/>
              <a:latin typeface="IBM Plex Sans Light" panose="020B0403050203000203" pitchFamily="34" charset="0"/>
            </a:endParaRPr>
          </a:p>
        </p:txBody>
      </p:sp>
      <p:sp>
        <p:nvSpPr>
          <p:cNvPr id="9" name="Title 2">
            <a:extLst>
              <a:ext uri="{FF2B5EF4-FFF2-40B4-BE49-F238E27FC236}">
                <a16:creationId xmlns:a16="http://schemas.microsoft.com/office/drawing/2014/main" id="{BD28075F-3F5C-7FCC-1A3F-C2E87FC61AA0}"/>
              </a:ext>
            </a:extLst>
          </p:cNvPr>
          <p:cNvSpPr txBox="1">
            <a:spLocks/>
          </p:cNvSpPr>
          <p:nvPr/>
        </p:nvSpPr>
        <p:spPr>
          <a:xfrm>
            <a:off x="13311663" y="7364794"/>
            <a:ext cx="9309960" cy="2145232"/>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Light" pitchFamily="34" charset="0"/>
              </a:defRPr>
            </a:lvl9pPr>
          </a:lstStyle>
          <a:p>
            <a:pPr marL="0" marR="0" lvl="0" indent="0" algn="r" defTabSz="914218" rtl="0" eaLnBrk="1" fontAlgn="base" latinLnBrk="0" hangingPunct="1">
              <a:lnSpc>
                <a:spcPct val="90000"/>
              </a:lnSpc>
              <a:spcBef>
                <a:spcPct val="0"/>
              </a:spcBef>
              <a:spcAft>
                <a:spcPct val="0"/>
              </a:spcAft>
              <a:buClrTx/>
              <a:buSzTx/>
              <a:buFontTx/>
              <a:buNone/>
              <a:tabLst/>
              <a:defRPr/>
            </a:pPr>
            <a:r>
              <a:rPr kumimoji="0" lang="en-US" sz="4800" b="0" i="0" u="none" strike="noStrike" kern="0" cap="none" spc="0" normalizeH="0" baseline="0" noProof="0" dirty="0">
                <a:ln>
                  <a:noFill/>
                </a:ln>
                <a:solidFill>
                  <a:srgbClr val="000000"/>
                </a:solidFill>
                <a:effectLst/>
                <a:uLnTx/>
                <a:uFillTx/>
                <a:latin typeface="IBM Plex Sans Light"/>
                <a:ea typeface="+mn-ea"/>
                <a:cs typeface="Arial"/>
                <a:sym typeface="Arial"/>
              </a:rPr>
              <a:t>…into benefits</a:t>
            </a:r>
            <a:endParaRPr kumimoji="0" lang="en-US" sz="4800" b="0" i="0" u="none" strike="noStrike" kern="0" cap="none" spc="0" normalizeH="0" baseline="0" noProof="0" dirty="0">
              <a:ln>
                <a:noFill/>
              </a:ln>
              <a:solidFill>
                <a:srgbClr val="000000"/>
              </a:solidFill>
              <a:effectLst/>
              <a:uLnTx/>
              <a:uFillTx/>
              <a:latin typeface="IBM Plex Sans Light" panose="020B0403050203000203" pitchFamily="34" charset="0"/>
            </a:endParaRPr>
          </a:p>
        </p:txBody>
      </p:sp>
      <p:sp>
        <p:nvSpPr>
          <p:cNvPr id="11" name="TextBox 10">
            <a:extLst>
              <a:ext uri="{FF2B5EF4-FFF2-40B4-BE49-F238E27FC236}">
                <a16:creationId xmlns:a16="http://schemas.microsoft.com/office/drawing/2014/main" id="{5F3A64BB-061C-AD54-9679-BC14FFA91F3B}"/>
              </a:ext>
            </a:extLst>
          </p:cNvPr>
          <p:cNvSpPr txBox="1"/>
          <p:nvPr/>
        </p:nvSpPr>
        <p:spPr>
          <a:xfrm>
            <a:off x="13311663" y="3501054"/>
            <a:ext cx="12695272" cy="337528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571500" marR="0" lvl="0" indent="-571500" algn="l" defTabSz="1371326" rtl="0" eaLnBrk="1" fontAlgn="auto" latinLnBrk="0" hangingPunct="1">
              <a:lnSpc>
                <a:spcPct val="100000"/>
              </a:lnSpc>
              <a:spcBef>
                <a:spcPts val="450"/>
              </a:spcBef>
              <a:spcAft>
                <a:spcPts val="450"/>
              </a:spcAft>
              <a:buClr>
                <a:srgbClr val="FF000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Lack of End-to-End Supply Chain Visibility</a:t>
            </a:r>
          </a:p>
          <a:p>
            <a:pPr marL="571500" marR="0" lvl="0" indent="-571500" algn="l" defTabSz="1371326" rtl="0" eaLnBrk="1" fontAlgn="auto" latinLnBrk="0" hangingPunct="1">
              <a:lnSpc>
                <a:spcPct val="100000"/>
              </a:lnSpc>
              <a:spcBef>
                <a:spcPts val="450"/>
              </a:spcBef>
              <a:spcAft>
                <a:spcPts val="450"/>
              </a:spcAft>
              <a:buClr>
                <a:srgbClr val="FF000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Inefficient Inventory Management</a:t>
            </a:r>
          </a:p>
          <a:p>
            <a:pPr marL="571500" marR="0" lvl="0" indent="-571500" algn="l" defTabSz="1371326" rtl="0" eaLnBrk="1" fontAlgn="auto" latinLnBrk="0" hangingPunct="1">
              <a:lnSpc>
                <a:spcPct val="100000"/>
              </a:lnSpc>
              <a:spcBef>
                <a:spcPts val="450"/>
              </a:spcBef>
              <a:spcAft>
                <a:spcPts val="450"/>
              </a:spcAft>
              <a:buClr>
                <a:srgbClr val="FF000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Manual Order Management Processes</a:t>
            </a:r>
          </a:p>
          <a:p>
            <a:pPr marL="571500" marR="0" lvl="0" indent="-571500" algn="l" defTabSz="1371326" rtl="0" eaLnBrk="1" fontAlgn="auto" latinLnBrk="0" hangingPunct="1">
              <a:lnSpc>
                <a:spcPct val="100000"/>
              </a:lnSpc>
              <a:spcBef>
                <a:spcPts val="450"/>
              </a:spcBef>
              <a:spcAft>
                <a:spcPts val="450"/>
              </a:spcAft>
              <a:buClr>
                <a:srgbClr val="FF000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Disruptions in Global Supply Chain</a:t>
            </a:r>
          </a:p>
          <a:p>
            <a:pPr marL="571500" marR="0" lvl="0" indent="-571500" algn="l" defTabSz="1371326" rtl="0" eaLnBrk="1" fontAlgn="auto" latinLnBrk="0" hangingPunct="1">
              <a:lnSpc>
                <a:spcPct val="100000"/>
              </a:lnSpc>
              <a:spcBef>
                <a:spcPts val="450"/>
              </a:spcBef>
              <a:spcAft>
                <a:spcPts val="450"/>
              </a:spcAft>
              <a:buClr>
                <a:srgbClr val="FF000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Limited Sustainability and Footprint Tracking</a:t>
            </a:r>
          </a:p>
        </p:txBody>
      </p:sp>
      <p:sp>
        <p:nvSpPr>
          <p:cNvPr id="12" name="TextBox 11">
            <a:extLst>
              <a:ext uri="{FF2B5EF4-FFF2-40B4-BE49-F238E27FC236}">
                <a16:creationId xmlns:a16="http://schemas.microsoft.com/office/drawing/2014/main" id="{50D875AA-8161-26B7-71F8-74E0FF15654C}"/>
              </a:ext>
            </a:extLst>
          </p:cNvPr>
          <p:cNvSpPr txBox="1"/>
          <p:nvPr/>
        </p:nvSpPr>
        <p:spPr>
          <a:xfrm>
            <a:off x="13311663" y="8362226"/>
            <a:ext cx="12695272" cy="337528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571500" marR="0" lvl="0" indent="-571500" algn="l" defTabSz="1371326" rtl="0" eaLnBrk="1" fontAlgn="auto" latinLnBrk="0" hangingPunct="1">
              <a:lnSpc>
                <a:spcPct val="100000"/>
              </a:lnSpc>
              <a:spcBef>
                <a:spcPts val="450"/>
              </a:spcBef>
              <a:spcAft>
                <a:spcPts val="450"/>
              </a:spcAft>
              <a:buClr>
                <a:srgbClr val="00B05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Real-time Supply Chain Insights</a:t>
            </a:r>
          </a:p>
          <a:p>
            <a:pPr marL="571500" marR="0" lvl="0" indent="-571500" algn="l" defTabSz="1371326" rtl="0" eaLnBrk="1" fontAlgn="auto" latinLnBrk="0" hangingPunct="1">
              <a:lnSpc>
                <a:spcPct val="100000"/>
              </a:lnSpc>
              <a:spcBef>
                <a:spcPts val="450"/>
              </a:spcBef>
              <a:spcAft>
                <a:spcPts val="450"/>
              </a:spcAft>
              <a:buClr>
                <a:srgbClr val="00B05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Optimized Inventory Levels</a:t>
            </a:r>
          </a:p>
          <a:p>
            <a:pPr marL="571500" marR="0" lvl="0" indent="-571500" algn="l" defTabSz="1371326" rtl="0" eaLnBrk="1" fontAlgn="auto" latinLnBrk="0" hangingPunct="1">
              <a:lnSpc>
                <a:spcPct val="100000"/>
              </a:lnSpc>
              <a:spcBef>
                <a:spcPts val="450"/>
              </a:spcBef>
              <a:spcAft>
                <a:spcPts val="450"/>
              </a:spcAft>
              <a:buClr>
                <a:srgbClr val="00B05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Automated Order Processing and Fulfillment</a:t>
            </a:r>
          </a:p>
          <a:p>
            <a:pPr marL="571500" marR="0" lvl="0" indent="-571500" algn="l" defTabSz="1371326" rtl="0" eaLnBrk="1" fontAlgn="auto" latinLnBrk="0" hangingPunct="1">
              <a:lnSpc>
                <a:spcPct val="100000"/>
              </a:lnSpc>
              <a:spcBef>
                <a:spcPts val="450"/>
              </a:spcBef>
              <a:spcAft>
                <a:spcPts val="450"/>
              </a:spcAft>
              <a:buClr>
                <a:srgbClr val="00B05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Improved Resilience and Risk Mitigation</a:t>
            </a:r>
          </a:p>
          <a:p>
            <a:pPr marL="571500" marR="0" lvl="0" indent="-571500" algn="l" defTabSz="1371326" rtl="0" eaLnBrk="1" fontAlgn="auto" latinLnBrk="0" hangingPunct="1">
              <a:lnSpc>
                <a:spcPct val="100000"/>
              </a:lnSpc>
              <a:spcBef>
                <a:spcPts val="450"/>
              </a:spcBef>
              <a:spcAft>
                <a:spcPts val="450"/>
              </a:spcAft>
              <a:buClr>
                <a:srgbClr val="00B050"/>
              </a:buClr>
              <a:buSzTx/>
              <a:buFont typeface="IBM Plex Sans" panose="020B0503050203000203" pitchFamily="34" charset="0"/>
              <a:buChar char="-"/>
              <a:tabLst/>
              <a:defRPr/>
            </a:pPr>
            <a:r>
              <a:rPr kumimoji="0" lang="en-US" sz="3600" b="0" i="0" u="none" strike="noStrike" kern="1200" cap="none" spc="0" normalizeH="0" baseline="0" noProof="0" dirty="0">
                <a:ln>
                  <a:noFill/>
                </a:ln>
                <a:solidFill>
                  <a:srgbClr val="000000"/>
                </a:solidFill>
                <a:effectLst/>
                <a:uLnTx/>
                <a:uFillTx/>
                <a:latin typeface="IBM Plex Sans Light"/>
                <a:ea typeface="+mn-ea"/>
                <a:cs typeface="+mn-cs"/>
              </a:rPr>
              <a:t>Enhanced Sustainability Tracking</a:t>
            </a:r>
          </a:p>
        </p:txBody>
      </p:sp>
    </p:spTree>
    <p:extLst>
      <p:ext uri="{BB962C8B-B14F-4D97-AF65-F5344CB8AC3E}">
        <p14:creationId xmlns:p14="http://schemas.microsoft.com/office/powerpoint/2010/main" val="4007075717"/>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descr="Vertical quarter slide background in blue 10 ">
            <a:extLst>
              <a:ext uri="{FF2B5EF4-FFF2-40B4-BE49-F238E27FC236}">
                <a16:creationId xmlns:a16="http://schemas.microsoft.com/office/drawing/2014/main" id="{AB57352D-3678-A7CA-0209-59A013F370C1}"/>
              </a:ext>
            </a:extLst>
          </p:cNvPr>
          <p:cNvSpPr/>
          <p:nvPr/>
        </p:nvSpPr>
        <p:spPr bwMode="auto">
          <a:xfrm>
            <a:off x="0" y="0"/>
            <a:ext cx="6096000" cy="137160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 name="Title 1">
            <a:extLst>
              <a:ext uri="{FF2B5EF4-FFF2-40B4-BE49-F238E27FC236}">
                <a16:creationId xmlns:a16="http://schemas.microsoft.com/office/drawing/2014/main" id="{AEC4870F-2BCD-D032-E9C3-B54F5E7578F6}"/>
              </a:ext>
            </a:extLst>
          </p:cNvPr>
          <p:cNvSpPr>
            <a:spLocks noGrp="1"/>
          </p:cNvSpPr>
          <p:nvPr>
            <p:ph type="title"/>
          </p:nvPr>
        </p:nvSpPr>
        <p:spPr>
          <a:xfrm>
            <a:off x="576072" y="385199"/>
            <a:ext cx="4949825" cy="2826923"/>
          </a:xfrm>
        </p:spPr>
        <p:txBody>
          <a:bodyPr/>
          <a:lstStyle/>
          <a:p>
            <a:pPr>
              <a:lnSpc>
                <a:spcPct val="100000"/>
              </a:lnSpc>
            </a:pPr>
            <a:r>
              <a:rPr lang="en-GB" dirty="0"/>
              <a:t>AI assistants are </a:t>
            </a:r>
            <a:r>
              <a:rPr lang="en-GB" i="1" dirty="0">
                <a:solidFill>
                  <a:schemeClr val="accent1"/>
                </a:solidFill>
                <a:latin typeface="IBM Plex Sans Light" panose="020B0403050203000203" pitchFamily="34" charset="0"/>
              </a:rPr>
              <a:t>more</a:t>
            </a:r>
            <a:r>
              <a:rPr lang="en-GB" dirty="0">
                <a:solidFill>
                  <a:schemeClr val="tx1"/>
                </a:solidFill>
              </a:rPr>
              <a:t> than a bot </a:t>
            </a:r>
            <a:br>
              <a:rPr lang="en-GB" dirty="0">
                <a:solidFill>
                  <a:schemeClr val="tx1"/>
                </a:solidFill>
              </a:rPr>
            </a:br>
            <a:r>
              <a:rPr lang="en-GB" dirty="0">
                <a:solidFill>
                  <a:schemeClr val="tx1"/>
                </a:solidFill>
              </a:rPr>
              <a:t>or co-pilot</a:t>
            </a:r>
            <a:endParaRPr lang="en-US" dirty="0">
              <a:solidFill>
                <a:srgbClr val="000000"/>
              </a:solidFill>
              <a:effectLst/>
            </a:endParaRPr>
          </a:p>
        </p:txBody>
      </p:sp>
      <p:sp>
        <p:nvSpPr>
          <p:cNvPr id="6" name="TextBox 5">
            <a:extLst>
              <a:ext uri="{FF2B5EF4-FFF2-40B4-BE49-F238E27FC236}">
                <a16:creationId xmlns:a16="http://schemas.microsoft.com/office/drawing/2014/main" id="{EC25CFAD-F32D-CE97-723F-878FC1E1AF84}"/>
              </a:ext>
            </a:extLst>
          </p:cNvPr>
          <p:cNvSpPr txBox="1"/>
          <p:nvPr/>
        </p:nvSpPr>
        <p:spPr>
          <a:xfrm>
            <a:off x="28727400" y="386080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marR="0" lvl="0" indent="-446749" algn="l" defTabSz="2438400" rtl="0" eaLnBrk="1" fontAlgn="auto" latinLnBrk="0" hangingPunct="1">
              <a:lnSpc>
                <a:spcPct val="100000"/>
              </a:lnSpc>
              <a:spcBef>
                <a:spcPts val="2900"/>
              </a:spcBef>
              <a:spcAft>
                <a:spcPts val="0"/>
              </a:spcAft>
              <a:buClrTx/>
              <a:buSzPct val="100000"/>
              <a:buFontTx/>
              <a:buChar char="–"/>
              <a:tabLst/>
              <a:defRPr/>
            </a:pPr>
            <a:endParaRPr kumimoji="0" lang="en-US" sz="36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cxnSp>
        <p:nvCxnSpPr>
          <p:cNvPr id="12" name="Straight Connector 11">
            <a:extLst>
              <a:ext uri="{FF2B5EF4-FFF2-40B4-BE49-F238E27FC236}">
                <a16:creationId xmlns:a16="http://schemas.microsoft.com/office/drawing/2014/main" id="{5AD30732-3BD9-E714-F0DA-228B119C538E}"/>
              </a:ext>
            </a:extLst>
          </p:cNvPr>
          <p:cNvCxnSpPr>
            <a:cxnSpLocks/>
          </p:cNvCxnSpPr>
          <p:nvPr/>
        </p:nvCxnSpPr>
        <p:spPr bwMode="auto">
          <a:xfrm>
            <a:off x="12193588" y="782426"/>
            <a:ext cx="0" cy="121158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4">
            <a:extLst>
              <a:ext uri="{FF2B5EF4-FFF2-40B4-BE49-F238E27FC236}">
                <a16:creationId xmlns:a16="http://schemas.microsoft.com/office/drawing/2014/main" id="{D2B85D17-404E-85BF-1462-005713F6CCE4}"/>
              </a:ext>
            </a:extLst>
          </p:cNvPr>
          <p:cNvSpPr txBox="1">
            <a:spLocks/>
          </p:cNvSpPr>
          <p:nvPr/>
        </p:nvSpPr>
        <p:spPr>
          <a:xfrm>
            <a:off x="6469735" y="708182"/>
            <a:ext cx="5621458" cy="11615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1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rPr>
              <a:t>Intelligent interactions</a:t>
            </a:r>
          </a:p>
        </p:txBody>
      </p:sp>
      <p:sp>
        <p:nvSpPr>
          <p:cNvPr id="15" name="Text Placeholder 4">
            <a:extLst>
              <a:ext uri="{FF2B5EF4-FFF2-40B4-BE49-F238E27FC236}">
                <a16:creationId xmlns:a16="http://schemas.microsoft.com/office/drawing/2014/main" id="{EE8CAA0C-3C9F-2E6F-BFE4-7F8B9001FCC0}"/>
              </a:ext>
            </a:extLst>
          </p:cNvPr>
          <p:cNvSpPr txBox="1">
            <a:spLocks/>
          </p:cNvSpPr>
          <p:nvPr/>
        </p:nvSpPr>
        <p:spPr>
          <a:xfrm>
            <a:off x="12595754" y="708182"/>
            <a:ext cx="4951413" cy="11615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1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rPr>
              <a:t>Expanding expertise</a:t>
            </a:r>
            <a:endParaRPr kumimoji="0" lang="en-US" sz="3600" b="0" i="0" u="none" strike="noStrike" kern="120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endParaRPr>
          </a:p>
        </p:txBody>
      </p:sp>
      <p:cxnSp>
        <p:nvCxnSpPr>
          <p:cNvPr id="16" name="Straight Connector 15">
            <a:extLst>
              <a:ext uri="{FF2B5EF4-FFF2-40B4-BE49-F238E27FC236}">
                <a16:creationId xmlns:a16="http://schemas.microsoft.com/office/drawing/2014/main" id="{66FE4A50-4420-0B50-2D42-3CC1CDDEA9AA}"/>
              </a:ext>
            </a:extLst>
          </p:cNvPr>
          <p:cNvCxnSpPr>
            <a:cxnSpLocks/>
          </p:cNvCxnSpPr>
          <p:nvPr/>
        </p:nvCxnSpPr>
        <p:spPr bwMode="auto">
          <a:xfrm>
            <a:off x="18290382" y="782426"/>
            <a:ext cx="0" cy="121158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Text Placeholder 4">
            <a:extLst>
              <a:ext uri="{FF2B5EF4-FFF2-40B4-BE49-F238E27FC236}">
                <a16:creationId xmlns:a16="http://schemas.microsoft.com/office/drawing/2014/main" id="{80D36895-96B5-09D9-8037-C66AA910C537}"/>
              </a:ext>
            </a:extLst>
          </p:cNvPr>
          <p:cNvSpPr txBox="1">
            <a:spLocks/>
          </p:cNvSpPr>
          <p:nvPr/>
        </p:nvSpPr>
        <p:spPr>
          <a:xfrm>
            <a:off x="18494133" y="708181"/>
            <a:ext cx="5715985" cy="11615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1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rPr>
              <a:t>Accelerate time to value</a:t>
            </a:r>
            <a:endParaRPr kumimoji="0" lang="en-US" sz="3600" b="0" i="0" u="none" strike="noStrike" kern="120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endParaRPr>
          </a:p>
        </p:txBody>
      </p:sp>
      <p:pic>
        <p:nvPicPr>
          <p:cNvPr id="19" name="Picture 18">
            <a:extLst>
              <a:ext uri="{FF2B5EF4-FFF2-40B4-BE49-F238E27FC236}">
                <a16:creationId xmlns:a16="http://schemas.microsoft.com/office/drawing/2014/main" id="{FFD85789-0B7F-30D1-49A6-68B1A201A297}"/>
              </a:ext>
            </a:extLst>
          </p:cNvPr>
          <p:cNvPicPr>
            <a:picLocks noChangeAspect="1"/>
          </p:cNvPicPr>
          <p:nvPr/>
        </p:nvPicPr>
        <p:blipFill>
          <a:blip r:embed="rId3"/>
          <a:srcRect/>
          <a:stretch/>
        </p:blipFill>
        <p:spPr>
          <a:xfrm>
            <a:off x="6591685" y="9892004"/>
            <a:ext cx="914400" cy="914400"/>
          </a:xfrm>
          <a:prstGeom prst="rect">
            <a:avLst/>
          </a:prstGeom>
        </p:spPr>
      </p:pic>
      <p:sp>
        <p:nvSpPr>
          <p:cNvPr id="21" name="TextBox 20">
            <a:extLst>
              <a:ext uri="{FF2B5EF4-FFF2-40B4-BE49-F238E27FC236}">
                <a16:creationId xmlns:a16="http://schemas.microsoft.com/office/drawing/2014/main" id="{31B61441-B92F-FC30-0D31-DCACC0AAE7D7}"/>
              </a:ext>
            </a:extLst>
          </p:cNvPr>
          <p:cNvSpPr txBox="1"/>
          <p:nvPr/>
        </p:nvSpPr>
        <p:spPr>
          <a:xfrm>
            <a:off x="6591685" y="11158101"/>
            <a:ext cx="5486400" cy="1918474"/>
          </a:xfrm>
          <a:prstGeom prst="rect">
            <a:avLst/>
          </a:prstGeom>
          <a:noFill/>
          <a:ln>
            <a:noFill/>
          </a:ln>
        </p:spPr>
        <p:txBody>
          <a:bodyPr wrap="square" lIns="0" rtlCol="0">
            <a:spAutoFit/>
          </a:bodyPr>
          <a:lstStyle/>
          <a:p>
            <a:pPr marL="0" marR="0" lvl="0" indent="0" algn="l" defTabSz="914621" rtl="0" eaLnBrk="1" fontAlgn="auto" latinLnBrk="0" hangingPunct="1">
              <a:lnSpc>
                <a:spcPct val="100000"/>
              </a:lnSpc>
              <a:spcBef>
                <a:spcPts val="0"/>
              </a:spcBef>
              <a:spcAft>
                <a:spcPts val="800"/>
              </a:spcAft>
              <a:buClrTx/>
              <a:buSzTx/>
              <a:buFontTx/>
              <a:buNone/>
              <a:tabLst/>
              <a:defRPr/>
            </a:pPr>
            <a:r>
              <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rPr>
              <a:t>Hand-holds users</a:t>
            </a:r>
          </a:p>
          <a:p>
            <a:pPr marL="0" marR="0" lvl="0" indent="0" algn="l" defTabSz="914621" rtl="0" eaLnBrk="1" fontAlgn="auto" latinLnBrk="0" hangingPunct="1">
              <a:lnSpc>
                <a:spcPct val="100000"/>
              </a:lnSpc>
              <a:spcBef>
                <a:spcPts val="0"/>
              </a:spcBef>
              <a:spcAft>
                <a:spcPts val="0"/>
              </a:spcAft>
              <a:buClrTx/>
              <a:buSzTx/>
              <a:buFontTx/>
              <a:buNone/>
              <a:tabLst/>
              <a:defRPr/>
            </a:pPr>
            <a:r>
              <a:rPr lang="en-US" sz="2800" kern="0" dirty="0">
                <a:solidFill>
                  <a:srgbClr val="000000"/>
                </a:solidFill>
                <a:latin typeface="IBM Plex Sans Light" panose="020B0403050203000203" pitchFamily="34" charset="0"/>
                <a:ea typeface="IBM Plex Sans" charset="0"/>
                <a:cs typeface="IBM Plex Sans" charset="0"/>
                <a:sym typeface="IBM Plex Sans Light"/>
              </a:rPr>
              <a:t>Uses Gen AI to guide </a:t>
            </a: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users through new to tasks and adhere to processes</a:t>
            </a:r>
          </a:p>
        </p:txBody>
      </p:sp>
      <p:pic>
        <p:nvPicPr>
          <p:cNvPr id="23" name="Picture 22">
            <a:extLst>
              <a:ext uri="{FF2B5EF4-FFF2-40B4-BE49-F238E27FC236}">
                <a16:creationId xmlns:a16="http://schemas.microsoft.com/office/drawing/2014/main" id="{98158958-6C62-1724-A6FF-93D9F1435C23}"/>
              </a:ext>
            </a:extLst>
          </p:cNvPr>
          <p:cNvPicPr>
            <a:picLocks noChangeAspect="1"/>
          </p:cNvPicPr>
          <p:nvPr/>
        </p:nvPicPr>
        <p:blipFill>
          <a:blip r:embed="rId4"/>
          <a:stretch>
            <a:fillRect/>
          </a:stretch>
        </p:blipFill>
        <p:spPr>
          <a:xfrm>
            <a:off x="12694311" y="5919015"/>
            <a:ext cx="914400" cy="914400"/>
          </a:xfrm>
          <a:prstGeom prst="rect">
            <a:avLst/>
          </a:prstGeom>
        </p:spPr>
      </p:pic>
      <p:sp>
        <p:nvSpPr>
          <p:cNvPr id="25" name="TextBox 24">
            <a:extLst>
              <a:ext uri="{FF2B5EF4-FFF2-40B4-BE49-F238E27FC236}">
                <a16:creationId xmlns:a16="http://schemas.microsoft.com/office/drawing/2014/main" id="{69BFC563-DD82-3DE2-550E-77CAFD898DC6}"/>
              </a:ext>
            </a:extLst>
          </p:cNvPr>
          <p:cNvSpPr txBox="1"/>
          <p:nvPr/>
        </p:nvSpPr>
        <p:spPr>
          <a:xfrm>
            <a:off x="12694311" y="7185112"/>
            <a:ext cx="5486400" cy="2349361"/>
          </a:xfrm>
          <a:prstGeom prst="rect">
            <a:avLst/>
          </a:prstGeom>
          <a:noFill/>
          <a:ln>
            <a:noFill/>
          </a:ln>
        </p:spPr>
        <p:txBody>
          <a:bodyPr wrap="square" lIns="0" rtlCol="0">
            <a:spAutoFit/>
          </a:bodyPr>
          <a:lstStyle/>
          <a:p>
            <a:pPr marL="0" marR="0" lvl="0" indent="0" algn="l" defTabSz="914621" rtl="0" eaLnBrk="1" fontAlgn="auto" latinLnBrk="0" hangingPunct="1">
              <a:lnSpc>
                <a:spcPct val="100000"/>
              </a:lnSpc>
              <a:spcBef>
                <a:spcPts val="0"/>
              </a:spcBef>
              <a:spcAft>
                <a:spcPts val="800"/>
              </a:spcAft>
              <a:buClrTx/>
              <a:buSzTx/>
              <a:buFontTx/>
              <a:buNone/>
              <a:tabLst/>
              <a:defRPr/>
            </a:pPr>
            <a:r>
              <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rPr>
              <a:t>Skills</a:t>
            </a:r>
          </a:p>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t>Orchestrates 1000s of prebuilt skills. Easily discover and train new skills from existing automations</a:t>
            </a:r>
          </a:p>
        </p:txBody>
      </p:sp>
      <p:pic>
        <p:nvPicPr>
          <p:cNvPr id="31" name="Picture 30">
            <a:extLst>
              <a:ext uri="{FF2B5EF4-FFF2-40B4-BE49-F238E27FC236}">
                <a16:creationId xmlns:a16="http://schemas.microsoft.com/office/drawing/2014/main" id="{36357E41-66B3-8AB9-09A6-0F52689A4B03}"/>
              </a:ext>
            </a:extLst>
          </p:cNvPr>
          <p:cNvPicPr>
            <a:picLocks noChangeAspect="1"/>
          </p:cNvPicPr>
          <p:nvPr/>
        </p:nvPicPr>
        <p:blipFill>
          <a:blip r:embed="rId5"/>
          <a:srcRect/>
          <a:stretch/>
        </p:blipFill>
        <p:spPr>
          <a:xfrm>
            <a:off x="6591685" y="5919015"/>
            <a:ext cx="914400" cy="914400"/>
          </a:xfrm>
          <a:prstGeom prst="rect">
            <a:avLst/>
          </a:prstGeom>
        </p:spPr>
      </p:pic>
      <p:sp>
        <p:nvSpPr>
          <p:cNvPr id="33" name="TextBox 32">
            <a:extLst>
              <a:ext uri="{FF2B5EF4-FFF2-40B4-BE49-F238E27FC236}">
                <a16:creationId xmlns:a16="http://schemas.microsoft.com/office/drawing/2014/main" id="{1A394549-2B42-DF89-04CC-A1E118DB93B2}"/>
              </a:ext>
            </a:extLst>
          </p:cNvPr>
          <p:cNvSpPr txBox="1"/>
          <p:nvPr/>
        </p:nvSpPr>
        <p:spPr>
          <a:xfrm>
            <a:off x="6591685" y="7185112"/>
            <a:ext cx="5486400" cy="1918474"/>
          </a:xfrm>
          <a:prstGeom prst="rect">
            <a:avLst/>
          </a:prstGeom>
          <a:noFill/>
          <a:ln>
            <a:noFill/>
          </a:ln>
        </p:spPr>
        <p:txBody>
          <a:bodyPr wrap="square" lIns="0" rtlCol="0">
            <a:spAutoFit/>
          </a:bodyPr>
          <a:lstStyle/>
          <a:p>
            <a:pPr marL="0" marR="0" lvl="0" indent="0" algn="l" defTabSz="914621" rtl="0" eaLnBrk="1" fontAlgn="auto" latinLnBrk="0" hangingPunct="1">
              <a:lnSpc>
                <a:spcPct val="100000"/>
              </a:lnSpc>
              <a:spcBef>
                <a:spcPts val="0"/>
              </a:spcBef>
              <a:spcAft>
                <a:spcPts val="800"/>
              </a:spcAft>
              <a:buClrTx/>
              <a:buSzTx/>
              <a:buFontTx/>
              <a:buNone/>
              <a:tabLst/>
              <a:defRPr/>
            </a:pPr>
            <a:r>
              <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rPr>
              <a:t>Context aware</a:t>
            </a:r>
          </a:p>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Delivers contextualized experiences every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step of the way</a:t>
            </a:r>
          </a:p>
        </p:txBody>
      </p:sp>
      <p:pic>
        <p:nvPicPr>
          <p:cNvPr id="36" name="Picture 35">
            <a:extLst>
              <a:ext uri="{FF2B5EF4-FFF2-40B4-BE49-F238E27FC236}">
                <a16:creationId xmlns:a16="http://schemas.microsoft.com/office/drawing/2014/main" id="{27352562-0045-0E1E-64E1-0583981C0082}"/>
              </a:ext>
            </a:extLst>
          </p:cNvPr>
          <p:cNvPicPr>
            <a:picLocks noChangeAspect="1"/>
          </p:cNvPicPr>
          <p:nvPr/>
        </p:nvPicPr>
        <p:blipFill>
          <a:blip r:embed="rId6"/>
          <a:stretch>
            <a:fillRect/>
          </a:stretch>
        </p:blipFill>
        <p:spPr>
          <a:xfrm>
            <a:off x="18796937" y="9892004"/>
            <a:ext cx="944880" cy="914400"/>
          </a:xfrm>
          <a:prstGeom prst="rect">
            <a:avLst/>
          </a:prstGeom>
        </p:spPr>
      </p:pic>
      <p:sp>
        <p:nvSpPr>
          <p:cNvPr id="37" name="TextBox 36">
            <a:extLst>
              <a:ext uri="{FF2B5EF4-FFF2-40B4-BE49-F238E27FC236}">
                <a16:creationId xmlns:a16="http://schemas.microsoft.com/office/drawing/2014/main" id="{133B9ECC-CFD6-047C-FDAE-ECB2C16CBB3E}"/>
              </a:ext>
            </a:extLst>
          </p:cNvPr>
          <p:cNvSpPr txBox="1"/>
          <p:nvPr/>
        </p:nvSpPr>
        <p:spPr>
          <a:xfrm>
            <a:off x="18796937" y="11158101"/>
            <a:ext cx="4891198" cy="1918474"/>
          </a:xfrm>
          <a:prstGeom prst="rect">
            <a:avLst/>
          </a:prstGeom>
          <a:noFill/>
          <a:ln>
            <a:noFill/>
          </a:ln>
        </p:spPr>
        <p:txBody>
          <a:bodyPr wrap="square" lIns="0" rtlCol="0">
            <a:spAutoFit/>
          </a:bodyPr>
          <a:lstStyle/>
          <a:p>
            <a:pPr marL="0" marR="0" lvl="0" indent="0" algn="l" defTabSz="914621" rtl="0" eaLnBrk="1" fontAlgn="auto" latinLnBrk="0" hangingPunct="1">
              <a:lnSpc>
                <a:spcPct val="100000"/>
              </a:lnSpc>
              <a:spcBef>
                <a:spcPts val="0"/>
              </a:spcBef>
              <a:spcAft>
                <a:spcPts val="800"/>
              </a:spcAft>
              <a:buClrTx/>
              <a:buSzTx/>
              <a:buFontTx/>
              <a:buNone/>
              <a:tabLst/>
              <a:defRPr/>
            </a:pPr>
            <a:r>
              <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rPr>
              <a:t>Skill training</a:t>
            </a:r>
          </a:p>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t>Use generative AI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t>to accelerate training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t>and enhance skills </a:t>
            </a:r>
          </a:p>
        </p:txBody>
      </p:sp>
      <p:sp>
        <p:nvSpPr>
          <p:cNvPr id="39" name="TextBox 38">
            <a:extLst>
              <a:ext uri="{FF2B5EF4-FFF2-40B4-BE49-F238E27FC236}">
                <a16:creationId xmlns:a16="http://schemas.microsoft.com/office/drawing/2014/main" id="{D79D6BCD-E758-5DCC-8BAE-E4242797374D}"/>
              </a:ext>
            </a:extLst>
          </p:cNvPr>
          <p:cNvSpPr txBox="1"/>
          <p:nvPr/>
        </p:nvSpPr>
        <p:spPr>
          <a:xfrm>
            <a:off x="12694311" y="3212123"/>
            <a:ext cx="4976863" cy="1918474"/>
          </a:xfrm>
          <a:prstGeom prst="rect">
            <a:avLst/>
          </a:prstGeom>
          <a:noFill/>
          <a:ln>
            <a:noFill/>
          </a:ln>
        </p:spPr>
        <p:txBody>
          <a:bodyPr wrap="square" lIns="0" rtlCol="0">
            <a:spAutoFit/>
          </a:bodyPr>
          <a:lstStyle/>
          <a:p>
            <a:pPr marL="0" marR="0" lvl="0" indent="0" algn="l" defTabSz="914621" rtl="0" eaLnBrk="1" fontAlgn="auto" latinLnBrk="0" hangingPunct="1">
              <a:lnSpc>
                <a:spcPct val="100000"/>
              </a:lnSpc>
              <a:spcBef>
                <a:spcPts val="0"/>
              </a:spcBef>
              <a:spcAft>
                <a:spcPts val="800"/>
              </a:spcAft>
              <a:buClrTx/>
              <a:buSzTx/>
              <a:buFontTx/>
              <a:buNone/>
              <a:tabLst/>
              <a:defRPr/>
            </a:pPr>
            <a:r>
              <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rPr>
              <a:t>Dynamic Sequencing</a:t>
            </a:r>
          </a:p>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t>Manages skill execution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t>in sequence for users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t>to multi-task</a:t>
            </a:r>
          </a:p>
        </p:txBody>
      </p:sp>
      <p:pic>
        <p:nvPicPr>
          <p:cNvPr id="40" name="Picture 39">
            <a:extLst>
              <a:ext uri="{FF2B5EF4-FFF2-40B4-BE49-F238E27FC236}">
                <a16:creationId xmlns:a16="http://schemas.microsoft.com/office/drawing/2014/main" id="{3BB65865-42C1-7055-0FDA-5FA7F85EDB44}"/>
              </a:ext>
            </a:extLst>
          </p:cNvPr>
          <p:cNvPicPr>
            <a:picLocks noChangeAspect="1"/>
          </p:cNvPicPr>
          <p:nvPr/>
        </p:nvPicPr>
        <p:blipFill>
          <a:blip r:embed="rId7"/>
          <a:stretch>
            <a:fillRect/>
          </a:stretch>
        </p:blipFill>
        <p:spPr>
          <a:xfrm>
            <a:off x="12694311" y="1946026"/>
            <a:ext cx="914400" cy="914400"/>
          </a:xfrm>
          <a:prstGeom prst="rect">
            <a:avLst/>
          </a:prstGeom>
        </p:spPr>
      </p:pic>
      <p:sp>
        <p:nvSpPr>
          <p:cNvPr id="42" name="TextBox 41">
            <a:extLst>
              <a:ext uri="{FF2B5EF4-FFF2-40B4-BE49-F238E27FC236}">
                <a16:creationId xmlns:a16="http://schemas.microsoft.com/office/drawing/2014/main" id="{717FB49D-F2FE-680D-DD8E-3BE94D26E7E4}"/>
              </a:ext>
            </a:extLst>
          </p:cNvPr>
          <p:cNvSpPr txBox="1"/>
          <p:nvPr/>
        </p:nvSpPr>
        <p:spPr>
          <a:xfrm>
            <a:off x="6591685" y="3212123"/>
            <a:ext cx="5486400" cy="1918474"/>
          </a:xfrm>
          <a:prstGeom prst="rect">
            <a:avLst/>
          </a:prstGeom>
          <a:noFill/>
          <a:ln>
            <a:noFill/>
          </a:ln>
        </p:spPr>
        <p:txBody>
          <a:bodyPr wrap="square" lIns="0" rtlCol="0">
            <a:spAutoFit/>
          </a:bodyPr>
          <a:lstStyle/>
          <a:p>
            <a:pPr marL="0" marR="0" lvl="0" indent="0" algn="l" defTabSz="914621" rtl="0" eaLnBrk="1" fontAlgn="auto" latinLnBrk="0" hangingPunct="1">
              <a:lnSpc>
                <a:spcPct val="100000"/>
              </a:lnSpc>
              <a:spcBef>
                <a:spcPts val="0"/>
              </a:spcBef>
              <a:spcAft>
                <a:spcPts val="800"/>
              </a:spcAft>
              <a:buClrTx/>
              <a:buSzTx/>
              <a:buFontTx/>
              <a:buNone/>
              <a:tabLst/>
              <a:defRPr/>
            </a:pPr>
            <a:r>
              <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rPr>
              <a:t>Conversational</a:t>
            </a:r>
          </a:p>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Let Gen AI handle complex conversations and fulfill tasks for the user</a:t>
            </a:r>
          </a:p>
        </p:txBody>
      </p:sp>
      <p:pic>
        <p:nvPicPr>
          <p:cNvPr id="43" name="Picture 42">
            <a:extLst>
              <a:ext uri="{FF2B5EF4-FFF2-40B4-BE49-F238E27FC236}">
                <a16:creationId xmlns:a16="http://schemas.microsoft.com/office/drawing/2014/main" id="{0CB33B9C-526C-D754-B8B9-E094C4C3D614}"/>
              </a:ext>
            </a:extLst>
          </p:cNvPr>
          <p:cNvPicPr>
            <a:picLocks noChangeAspect="1"/>
          </p:cNvPicPr>
          <p:nvPr/>
        </p:nvPicPr>
        <p:blipFill>
          <a:blip r:embed="rId8"/>
          <a:stretch>
            <a:fillRect/>
          </a:stretch>
        </p:blipFill>
        <p:spPr>
          <a:xfrm>
            <a:off x="6591685" y="1946026"/>
            <a:ext cx="914400" cy="914400"/>
          </a:xfrm>
          <a:prstGeom prst="rect">
            <a:avLst/>
          </a:prstGeom>
        </p:spPr>
      </p:pic>
      <p:sp>
        <p:nvSpPr>
          <p:cNvPr id="45" name="TextBox 44">
            <a:extLst>
              <a:ext uri="{FF2B5EF4-FFF2-40B4-BE49-F238E27FC236}">
                <a16:creationId xmlns:a16="http://schemas.microsoft.com/office/drawing/2014/main" id="{12360951-889A-1F73-5568-F41CA1107B3C}"/>
              </a:ext>
            </a:extLst>
          </p:cNvPr>
          <p:cNvSpPr txBox="1"/>
          <p:nvPr/>
        </p:nvSpPr>
        <p:spPr>
          <a:xfrm>
            <a:off x="18796937" y="7185112"/>
            <a:ext cx="5486400" cy="1918474"/>
          </a:xfrm>
          <a:prstGeom prst="rect">
            <a:avLst/>
          </a:prstGeom>
          <a:noFill/>
          <a:ln>
            <a:noFill/>
          </a:ln>
        </p:spPr>
        <p:txBody>
          <a:bodyPr wrap="square" lIns="0" rtlCol="0">
            <a:spAutoFit/>
          </a:bodyPr>
          <a:lstStyle/>
          <a:p>
            <a:pPr marL="0" marR="0" lvl="0" indent="0" algn="l" defTabSz="914621" rtl="0" eaLnBrk="1" fontAlgn="auto" latinLnBrk="0" hangingPunct="1">
              <a:lnSpc>
                <a:spcPct val="100000"/>
              </a:lnSpc>
              <a:spcBef>
                <a:spcPts val="0"/>
              </a:spcBef>
              <a:spcAft>
                <a:spcPts val="800"/>
              </a:spcAft>
              <a:buClrTx/>
              <a:buSzTx/>
              <a:buFontTx/>
              <a:buNone/>
              <a:tabLst/>
              <a:defRPr/>
            </a:pPr>
            <a:r>
              <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rPr>
              <a:t>Assistant Builder</a:t>
            </a:r>
          </a:p>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Design flows for complex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and nuanced journeys with a no-code and LLM powered interface</a:t>
            </a:r>
            <a:endPar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endParaRPr>
          </a:p>
        </p:txBody>
      </p:sp>
      <p:pic>
        <p:nvPicPr>
          <p:cNvPr id="46" name="Picture 45">
            <a:extLst>
              <a:ext uri="{FF2B5EF4-FFF2-40B4-BE49-F238E27FC236}">
                <a16:creationId xmlns:a16="http://schemas.microsoft.com/office/drawing/2014/main" id="{C6918000-5547-EA86-5722-00B62CEE9124}"/>
              </a:ext>
            </a:extLst>
          </p:cNvPr>
          <p:cNvPicPr>
            <a:picLocks noChangeAspect="1"/>
          </p:cNvPicPr>
          <p:nvPr/>
        </p:nvPicPr>
        <p:blipFill>
          <a:blip r:embed="rId9"/>
          <a:srcRect/>
          <a:stretch/>
        </p:blipFill>
        <p:spPr>
          <a:xfrm>
            <a:off x="18796937" y="5919015"/>
            <a:ext cx="914400" cy="914400"/>
          </a:xfrm>
          <a:prstGeom prst="rect">
            <a:avLst/>
          </a:prstGeom>
        </p:spPr>
      </p:pic>
      <p:cxnSp>
        <p:nvCxnSpPr>
          <p:cNvPr id="47" name="Straight Connector 46">
            <a:extLst>
              <a:ext uri="{FF2B5EF4-FFF2-40B4-BE49-F238E27FC236}">
                <a16:creationId xmlns:a16="http://schemas.microsoft.com/office/drawing/2014/main" id="{670D8581-31F6-3983-8B87-437A5BCAD4F8}"/>
              </a:ext>
            </a:extLst>
          </p:cNvPr>
          <p:cNvCxnSpPr>
            <a:cxnSpLocks/>
          </p:cNvCxnSpPr>
          <p:nvPr/>
        </p:nvCxnSpPr>
        <p:spPr bwMode="auto">
          <a:xfrm flipH="1">
            <a:off x="12694311" y="5345832"/>
            <a:ext cx="5110379" cy="0"/>
          </a:xfrm>
          <a:prstGeom prst="line">
            <a:avLst/>
          </a:prstGeom>
          <a:ln w="12700">
            <a:solidFill>
              <a:schemeClr val="tx1">
                <a:alpha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0D22EBFB-5BDD-C726-4421-18BF014A7240}"/>
              </a:ext>
            </a:extLst>
          </p:cNvPr>
          <p:cNvCxnSpPr>
            <a:cxnSpLocks/>
          </p:cNvCxnSpPr>
          <p:nvPr/>
        </p:nvCxnSpPr>
        <p:spPr bwMode="auto">
          <a:xfrm flipH="1">
            <a:off x="12694311" y="9594304"/>
            <a:ext cx="5110379" cy="0"/>
          </a:xfrm>
          <a:prstGeom prst="line">
            <a:avLst/>
          </a:prstGeom>
          <a:ln w="12700">
            <a:solidFill>
              <a:schemeClr val="tx1">
                <a:alpha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57F651A7-5B6E-E464-2C5B-29BA472D9FA3}"/>
              </a:ext>
            </a:extLst>
          </p:cNvPr>
          <p:cNvCxnSpPr>
            <a:cxnSpLocks/>
          </p:cNvCxnSpPr>
          <p:nvPr/>
        </p:nvCxnSpPr>
        <p:spPr bwMode="auto">
          <a:xfrm flipH="1">
            <a:off x="18796937" y="5345832"/>
            <a:ext cx="5110379" cy="0"/>
          </a:xfrm>
          <a:prstGeom prst="line">
            <a:avLst/>
          </a:prstGeom>
          <a:ln w="12700">
            <a:solidFill>
              <a:schemeClr val="tx1">
                <a:alpha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A920C7C6-30A5-228D-FB86-F4E4D61F13AA}"/>
              </a:ext>
            </a:extLst>
          </p:cNvPr>
          <p:cNvCxnSpPr>
            <a:cxnSpLocks/>
          </p:cNvCxnSpPr>
          <p:nvPr/>
        </p:nvCxnSpPr>
        <p:spPr bwMode="auto">
          <a:xfrm flipH="1">
            <a:off x="18796937" y="9594304"/>
            <a:ext cx="5110379" cy="0"/>
          </a:xfrm>
          <a:prstGeom prst="line">
            <a:avLst/>
          </a:prstGeom>
          <a:ln w="12700">
            <a:solidFill>
              <a:schemeClr val="tx1">
                <a:alpha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C22EA1A7-C6EA-51AC-05BD-65A621DD067D}"/>
              </a:ext>
            </a:extLst>
          </p:cNvPr>
          <p:cNvCxnSpPr>
            <a:cxnSpLocks/>
          </p:cNvCxnSpPr>
          <p:nvPr/>
        </p:nvCxnSpPr>
        <p:spPr bwMode="auto">
          <a:xfrm flipH="1">
            <a:off x="6591685" y="5345832"/>
            <a:ext cx="5110379" cy="0"/>
          </a:xfrm>
          <a:prstGeom prst="line">
            <a:avLst/>
          </a:prstGeom>
          <a:ln w="12700">
            <a:solidFill>
              <a:schemeClr val="tx1">
                <a:alpha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A8C18550-D6BD-9531-0484-9A1E8EAE51A1}"/>
              </a:ext>
            </a:extLst>
          </p:cNvPr>
          <p:cNvCxnSpPr>
            <a:cxnSpLocks/>
          </p:cNvCxnSpPr>
          <p:nvPr/>
        </p:nvCxnSpPr>
        <p:spPr bwMode="auto">
          <a:xfrm flipH="1">
            <a:off x="6591685" y="9594304"/>
            <a:ext cx="5110379" cy="0"/>
          </a:xfrm>
          <a:prstGeom prst="line">
            <a:avLst/>
          </a:prstGeom>
          <a:ln w="12700">
            <a:solidFill>
              <a:schemeClr val="tx1">
                <a:alpha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54" name="Picture 53">
            <a:extLst>
              <a:ext uri="{FF2B5EF4-FFF2-40B4-BE49-F238E27FC236}">
                <a16:creationId xmlns:a16="http://schemas.microsoft.com/office/drawing/2014/main" id="{81385F55-A332-B9C3-B3A7-31F31CE69F79}"/>
              </a:ext>
            </a:extLst>
          </p:cNvPr>
          <p:cNvPicPr>
            <a:picLocks noChangeAspect="1"/>
          </p:cNvPicPr>
          <p:nvPr/>
        </p:nvPicPr>
        <p:blipFill>
          <a:blip r:embed="rId10"/>
          <a:stretch>
            <a:fillRect/>
          </a:stretch>
        </p:blipFill>
        <p:spPr>
          <a:xfrm>
            <a:off x="12679281" y="9892004"/>
            <a:ext cx="914400" cy="914400"/>
          </a:xfrm>
          <a:prstGeom prst="rect">
            <a:avLst/>
          </a:prstGeom>
        </p:spPr>
      </p:pic>
      <p:sp>
        <p:nvSpPr>
          <p:cNvPr id="55" name="TextBox 54">
            <a:extLst>
              <a:ext uri="{FF2B5EF4-FFF2-40B4-BE49-F238E27FC236}">
                <a16:creationId xmlns:a16="http://schemas.microsoft.com/office/drawing/2014/main" id="{6B0E0074-CE28-81B4-C9FF-763EE3ED8451}"/>
              </a:ext>
            </a:extLst>
          </p:cNvPr>
          <p:cNvSpPr txBox="1"/>
          <p:nvPr/>
        </p:nvSpPr>
        <p:spPr>
          <a:xfrm>
            <a:off x="12679281" y="11158101"/>
            <a:ext cx="5486400" cy="1918474"/>
          </a:xfrm>
          <a:prstGeom prst="rect">
            <a:avLst/>
          </a:prstGeom>
          <a:noFill/>
          <a:ln>
            <a:noFill/>
          </a:ln>
        </p:spPr>
        <p:txBody>
          <a:bodyPr wrap="square" lIns="0" rtlCol="0">
            <a:spAutoFit/>
          </a:bodyPr>
          <a:lstStyle>
            <a:defPPr>
              <a:defRPr lang="en-US"/>
            </a:defPPr>
            <a:lvl1pPr defTabSz="914621">
              <a:defRPr sz="2000" b="1">
                <a:solidFill>
                  <a:schemeClr val="accent1"/>
                </a:solidFill>
                <a:latin typeface="IBM Plex Sans Medm" panose="020B0503050000000000" pitchFamily="34" charset="77"/>
                <a:ea typeface="IBM Plex Sans" charset="0"/>
                <a:cs typeface="IBM Plex Sans" charset="0"/>
              </a:defRPr>
            </a:lvl1pPr>
          </a:lstStyle>
          <a:p>
            <a:pPr marL="0" marR="0" lvl="0" indent="0" algn="l" defTabSz="914621" rtl="0" eaLnBrk="1" fontAlgn="auto" latinLnBrk="0" hangingPunct="1">
              <a:lnSpc>
                <a:spcPct val="100000"/>
              </a:lnSpc>
              <a:spcBef>
                <a:spcPts val="0"/>
              </a:spcBef>
              <a:spcAft>
                <a:spcPts val="800"/>
              </a:spcAft>
              <a:buClrTx/>
              <a:buSzTx/>
              <a:buFontTx/>
              <a:buNone/>
              <a:tabLst/>
              <a:defRPr/>
            </a:pPr>
            <a:r>
              <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rPr>
              <a:t>Generative AI</a:t>
            </a:r>
          </a:p>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Surfaces generative AI skills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to augment user tasks, backed by the governance enterprises need</a:t>
            </a:r>
          </a:p>
        </p:txBody>
      </p:sp>
      <p:pic>
        <p:nvPicPr>
          <p:cNvPr id="57" name="Picture 56">
            <a:extLst>
              <a:ext uri="{FF2B5EF4-FFF2-40B4-BE49-F238E27FC236}">
                <a16:creationId xmlns:a16="http://schemas.microsoft.com/office/drawing/2014/main" id="{B18732A4-4022-1FDC-8AC4-7FCA336E377F}"/>
              </a:ext>
            </a:extLst>
          </p:cNvPr>
          <p:cNvPicPr>
            <a:picLocks noChangeAspect="1"/>
          </p:cNvPicPr>
          <p:nvPr/>
        </p:nvPicPr>
        <p:blipFill>
          <a:blip r:embed="rId11"/>
          <a:srcRect/>
          <a:stretch/>
        </p:blipFill>
        <p:spPr>
          <a:xfrm>
            <a:off x="18668833" y="1946026"/>
            <a:ext cx="914400" cy="914400"/>
          </a:xfrm>
          <a:prstGeom prst="rect">
            <a:avLst/>
          </a:prstGeom>
        </p:spPr>
      </p:pic>
      <p:sp>
        <p:nvSpPr>
          <p:cNvPr id="58" name="TextBox 57">
            <a:extLst>
              <a:ext uri="{FF2B5EF4-FFF2-40B4-BE49-F238E27FC236}">
                <a16:creationId xmlns:a16="http://schemas.microsoft.com/office/drawing/2014/main" id="{B52257A2-ED98-F828-D107-4C987A6B4DCF}"/>
              </a:ext>
            </a:extLst>
          </p:cNvPr>
          <p:cNvSpPr txBox="1"/>
          <p:nvPr/>
        </p:nvSpPr>
        <p:spPr>
          <a:xfrm>
            <a:off x="18668833" y="3212123"/>
            <a:ext cx="5142270" cy="1918474"/>
          </a:xfrm>
          <a:prstGeom prst="rect">
            <a:avLst/>
          </a:prstGeom>
          <a:noFill/>
          <a:ln>
            <a:noFill/>
          </a:ln>
        </p:spPr>
        <p:txBody>
          <a:bodyPr wrap="square" lIns="0" rtlCol="0">
            <a:spAutoFit/>
          </a:bodyPr>
          <a:lstStyle/>
          <a:p>
            <a:pPr marL="0" marR="0" lvl="0" indent="0" algn="l" defTabSz="914621" rtl="0" eaLnBrk="1" fontAlgn="auto" latinLnBrk="0" hangingPunct="1">
              <a:lnSpc>
                <a:spcPct val="100000"/>
              </a:lnSpc>
              <a:spcBef>
                <a:spcPts val="0"/>
              </a:spcBef>
              <a:spcAft>
                <a:spcPts val="800"/>
              </a:spcAft>
              <a:buClrTx/>
              <a:buSzTx/>
              <a:buFontTx/>
              <a:buNone/>
              <a:tabLst/>
              <a:defRPr/>
            </a:pPr>
            <a:r>
              <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rPr>
              <a:t>Automation Builder</a:t>
            </a:r>
          </a:p>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Simplified builder experience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to create new workflow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and decision-based skills</a:t>
            </a:r>
          </a:p>
        </p:txBody>
      </p:sp>
    </p:spTree>
    <p:extLst>
      <p:ext uri="{BB962C8B-B14F-4D97-AF65-F5344CB8AC3E}">
        <p14:creationId xmlns:p14="http://schemas.microsoft.com/office/powerpoint/2010/main" val="3447125104"/>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5F7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FC785-4B73-1374-CE3A-190BCF867813}"/>
              </a:ext>
            </a:extLst>
          </p:cNvPr>
          <p:cNvSpPr>
            <a:spLocks noGrp="1"/>
          </p:cNvSpPr>
          <p:nvPr>
            <p:ph type="title"/>
          </p:nvPr>
        </p:nvSpPr>
        <p:spPr>
          <a:noFill/>
        </p:spPr>
        <p:txBody>
          <a:bodyPr/>
          <a:lstStyle/>
          <a:p>
            <a:r>
              <a:rPr lang="en-US" sz="8600" dirty="0">
                <a:solidFill>
                  <a:schemeClr val="accent1"/>
                </a:solidFill>
              </a:rPr>
              <a:t>AI assistants</a:t>
            </a:r>
            <a:br>
              <a:rPr lang="en-US" sz="8600" dirty="0">
                <a:solidFill>
                  <a:schemeClr val="accent1"/>
                </a:solidFill>
              </a:rPr>
            </a:br>
            <a:r>
              <a:rPr lang="en-US" sz="8600" dirty="0">
                <a:solidFill>
                  <a:schemeClr val="accent1"/>
                </a:solidFill>
              </a:rPr>
              <a:t>for enterprise productivity</a:t>
            </a:r>
          </a:p>
        </p:txBody>
      </p:sp>
      <p:sp>
        <p:nvSpPr>
          <p:cNvPr id="9" name="TextBox 8">
            <a:extLst>
              <a:ext uri="{FF2B5EF4-FFF2-40B4-BE49-F238E27FC236}">
                <a16:creationId xmlns:a16="http://schemas.microsoft.com/office/drawing/2014/main" id="{3472CA36-F4AF-1E25-189F-6296BCCF7F5D}"/>
              </a:ext>
            </a:extLst>
          </p:cNvPr>
          <p:cNvSpPr txBox="1"/>
          <p:nvPr/>
        </p:nvSpPr>
        <p:spPr>
          <a:xfrm>
            <a:off x="6136105" y="12392526"/>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l" defTabSz="2438400">
              <a:buSzPct val="100000"/>
            </a:pPr>
            <a:endParaRPr lang="en-US" sz="2400" dirty="0">
              <a:cs typeface="Arial" panose="020B0604020202020204" pitchFamily="34" charset="0"/>
            </a:endParaRPr>
          </a:p>
        </p:txBody>
      </p:sp>
    </p:spTree>
    <p:extLst>
      <p:ext uri="{BB962C8B-B14F-4D97-AF65-F5344CB8AC3E}">
        <p14:creationId xmlns:p14="http://schemas.microsoft.com/office/powerpoint/2010/main" val="5952351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descr="Vertical quarter slide background in blue 10 ">
            <a:extLst>
              <a:ext uri="{FF2B5EF4-FFF2-40B4-BE49-F238E27FC236}">
                <a16:creationId xmlns:a16="http://schemas.microsoft.com/office/drawing/2014/main" id="{AB57352D-3678-A7CA-0209-59A013F370C1}"/>
              </a:ext>
            </a:extLst>
          </p:cNvPr>
          <p:cNvSpPr/>
          <p:nvPr/>
        </p:nvSpPr>
        <p:spPr bwMode="auto">
          <a:xfrm>
            <a:off x="18331" y="0"/>
            <a:ext cx="6096000" cy="137160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endParaRPr>
          </a:p>
        </p:txBody>
      </p:sp>
      <p:sp>
        <p:nvSpPr>
          <p:cNvPr id="2" name="Title 1">
            <a:extLst>
              <a:ext uri="{FF2B5EF4-FFF2-40B4-BE49-F238E27FC236}">
                <a16:creationId xmlns:a16="http://schemas.microsoft.com/office/drawing/2014/main" id="{AEC4870F-2BCD-D032-E9C3-B54F5E7578F6}"/>
              </a:ext>
            </a:extLst>
          </p:cNvPr>
          <p:cNvSpPr>
            <a:spLocks noGrp="1"/>
          </p:cNvSpPr>
          <p:nvPr>
            <p:ph type="title"/>
          </p:nvPr>
        </p:nvSpPr>
        <p:spPr>
          <a:xfrm>
            <a:off x="576072" y="385200"/>
            <a:ext cx="4949825" cy="4240552"/>
          </a:xfrm>
        </p:spPr>
        <p:txBody>
          <a:bodyPr/>
          <a:lstStyle/>
          <a:p>
            <a:pPr>
              <a:lnSpc>
                <a:spcPct val="100000"/>
              </a:lnSpc>
            </a:pPr>
            <a:r>
              <a:rPr lang="en-GB" dirty="0">
                <a:latin typeface="+mn-lt"/>
              </a:rPr>
              <a:t>IBM </a:t>
            </a:r>
            <a:r>
              <a:rPr lang="en-GB" i="1" dirty="0">
                <a:solidFill>
                  <a:schemeClr val="accent1"/>
                </a:solidFill>
                <a:latin typeface="+mn-lt"/>
              </a:rPr>
              <a:t>leads </a:t>
            </a:r>
            <a:br>
              <a:rPr lang="en-GB" i="1" dirty="0">
                <a:solidFill>
                  <a:schemeClr val="accent1"/>
                </a:solidFill>
                <a:latin typeface="+mn-lt"/>
              </a:rPr>
            </a:br>
            <a:r>
              <a:rPr lang="en-GB" i="1" dirty="0">
                <a:solidFill>
                  <a:schemeClr val="accent1"/>
                </a:solidFill>
                <a:latin typeface="+mn-lt"/>
              </a:rPr>
              <a:t>the market </a:t>
            </a:r>
            <a:br>
              <a:rPr lang="en-GB" i="1" dirty="0">
                <a:solidFill>
                  <a:schemeClr val="accent1"/>
                </a:solidFill>
                <a:latin typeface="+mn-lt"/>
              </a:rPr>
            </a:br>
            <a:r>
              <a:rPr lang="en-GB" dirty="0">
                <a:solidFill>
                  <a:schemeClr val="tx1"/>
                </a:solidFill>
                <a:latin typeface="+mn-lt"/>
              </a:rPr>
              <a:t>in business automation </a:t>
            </a:r>
            <a:br>
              <a:rPr lang="en-GB" dirty="0">
                <a:solidFill>
                  <a:schemeClr val="tx1"/>
                </a:solidFill>
                <a:latin typeface="+mn-lt"/>
              </a:rPr>
            </a:br>
            <a:r>
              <a:rPr lang="en-GB" dirty="0">
                <a:solidFill>
                  <a:schemeClr val="tx1"/>
                </a:solidFill>
                <a:latin typeface="+mn-lt"/>
              </a:rPr>
              <a:t>with AI</a:t>
            </a:r>
            <a:endParaRPr lang="en-US" dirty="0">
              <a:solidFill>
                <a:srgbClr val="000000"/>
              </a:solidFill>
              <a:effectLst/>
              <a:latin typeface="+mn-lt"/>
            </a:endParaRPr>
          </a:p>
        </p:txBody>
      </p:sp>
      <p:sp>
        <p:nvSpPr>
          <p:cNvPr id="6" name="TextBox 5">
            <a:extLst>
              <a:ext uri="{FF2B5EF4-FFF2-40B4-BE49-F238E27FC236}">
                <a16:creationId xmlns:a16="http://schemas.microsoft.com/office/drawing/2014/main" id="{EC25CFAD-F32D-CE97-723F-878FC1E1AF84}"/>
              </a:ext>
            </a:extLst>
          </p:cNvPr>
          <p:cNvSpPr txBox="1"/>
          <p:nvPr/>
        </p:nvSpPr>
        <p:spPr>
          <a:xfrm>
            <a:off x="28727400" y="386080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dirty="0">
              <a:solidFill>
                <a:srgbClr val="000000"/>
              </a:solidFill>
              <a:ea typeface="+mj-ea"/>
              <a:cs typeface="+mj-cs"/>
              <a:sym typeface="IBM Plex Sans Light"/>
            </a:endParaRPr>
          </a:p>
        </p:txBody>
      </p:sp>
      <p:sp>
        <p:nvSpPr>
          <p:cNvPr id="7" name="Text Placeholder 3">
            <a:extLst>
              <a:ext uri="{FF2B5EF4-FFF2-40B4-BE49-F238E27FC236}">
                <a16:creationId xmlns:a16="http://schemas.microsoft.com/office/drawing/2014/main" id="{4992585B-F302-A5AF-07D8-8F1A02BB6A4D}"/>
              </a:ext>
            </a:extLst>
          </p:cNvPr>
          <p:cNvSpPr txBox="1">
            <a:spLocks/>
          </p:cNvSpPr>
          <p:nvPr/>
        </p:nvSpPr>
        <p:spPr>
          <a:xfrm>
            <a:off x="18889472" y="701735"/>
            <a:ext cx="4946904" cy="12228162"/>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4000" kern="0" dirty="0">
                <a:latin typeface="+mn-lt"/>
              </a:rPr>
              <a:t>Gartner</a:t>
            </a:r>
          </a:p>
          <a:p>
            <a:endParaRPr lang="en-US" sz="2000" kern="0" dirty="0">
              <a:solidFill>
                <a:schemeClr val="accent1"/>
              </a:solidFill>
              <a:latin typeface="+mn-lt"/>
              <a:sym typeface="IBM Plex Sans Light"/>
            </a:endParaRPr>
          </a:p>
          <a:p>
            <a:r>
              <a:rPr lang="en-US" sz="2400" kern="0" dirty="0">
                <a:solidFill>
                  <a:schemeClr val="accent1"/>
                </a:solidFill>
                <a:latin typeface="+mn-lt"/>
              </a:rPr>
              <a:t>I</a:t>
            </a:r>
            <a:r>
              <a:rPr lang="en-US" sz="2400" kern="0" dirty="0">
                <a:solidFill>
                  <a:schemeClr val="accent1"/>
                </a:solidFill>
                <a:latin typeface="+mn-lt"/>
                <a:sym typeface="IBM Plex Sans Light"/>
              </a:rPr>
              <a:t>BM ranking: Leader </a:t>
            </a:r>
          </a:p>
          <a:p>
            <a:r>
              <a:rPr lang="en-US" sz="2400" kern="0" dirty="0">
                <a:latin typeface="+mn-lt"/>
              </a:rPr>
              <a:t>Conversational AI Platform </a:t>
            </a:r>
            <a:br>
              <a:rPr lang="en-US" sz="2400" kern="0" dirty="0">
                <a:latin typeface="+mn-lt"/>
              </a:rPr>
            </a:br>
            <a:r>
              <a:rPr lang="en-US" sz="2400" kern="0" dirty="0">
                <a:latin typeface="+mn-lt"/>
              </a:rPr>
              <a:t>for Enterprises </a:t>
            </a:r>
          </a:p>
          <a:p>
            <a:r>
              <a:rPr lang="en-US" sz="2400" kern="0" dirty="0">
                <a:solidFill>
                  <a:srgbClr val="A8A8A8"/>
                </a:solidFill>
                <a:latin typeface="+mn-lt"/>
              </a:rPr>
              <a:t>Garter Magic Quadrant 2023</a:t>
            </a:r>
          </a:p>
          <a:p>
            <a:endParaRPr lang="en-US" sz="2400" kern="0" dirty="0">
              <a:latin typeface="+mn-lt"/>
            </a:endParaRPr>
          </a:p>
          <a:p>
            <a:r>
              <a:rPr lang="en-US" sz="2400" kern="0" dirty="0">
                <a:solidFill>
                  <a:schemeClr val="accent1"/>
                </a:solidFill>
                <a:latin typeface="+mn-lt"/>
                <a:sym typeface="IBM Plex Sans Light"/>
              </a:rPr>
              <a:t>IBM ranking: Leader</a:t>
            </a:r>
          </a:p>
          <a:p>
            <a:r>
              <a:rPr lang="en-US" sz="2400" kern="0" dirty="0">
                <a:latin typeface="+mn-lt"/>
              </a:rPr>
              <a:t>Conversational AI Platform </a:t>
            </a:r>
            <a:br>
              <a:rPr lang="en-US" sz="2400" kern="0" dirty="0">
                <a:latin typeface="+mn-lt"/>
              </a:rPr>
            </a:br>
            <a:r>
              <a:rPr lang="en-US" sz="2400" kern="0" dirty="0">
                <a:latin typeface="+mn-lt"/>
              </a:rPr>
              <a:t>for Enterprises </a:t>
            </a:r>
          </a:p>
          <a:p>
            <a:r>
              <a:rPr lang="en-US" sz="2400" kern="0" dirty="0">
                <a:solidFill>
                  <a:srgbClr val="A8A8A8"/>
                </a:solidFill>
                <a:latin typeface="+mn-lt"/>
              </a:rPr>
              <a:t>Garter Magic Quadrant 2022</a:t>
            </a:r>
          </a:p>
          <a:p>
            <a:endParaRPr lang="en-US" sz="2400" kern="0" dirty="0">
              <a:latin typeface="+mn-lt"/>
            </a:endParaRPr>
          </a:p>
          <a:p>
            <a:r>
              <a:rPr lang="en-US" sz="2400" kern="0" dirty="0">
                <a:solidFill>
                  <a:schemeClr val="accent1"/>
                </a:solidFill>
                <a:latin typeface="+mn-lt"/>
                <a:sym typeface="IBM Plex Sans Light"/>
              </a:rPr>
              <a:t>IBM ranking: Leader</a:t>
            </a:r>
          </a:p>
          <a:p>
            <a:r>
              <a:rPr lang="en-US" sz="2400" kern="0" dirty="0">
                <a:latin typeface="+mn-lt"/>
              </a:rPr>
              <a:t>Insight Engines </a:t>
            </a:r>
          </a:p>
          <a:p>
            <a:r>
              <a:rPr lang="en-US" sz="2400" kern="0" dirty="0">
                <a:solidFill>
                  <a:srgbClr val="A8A8A8"/>
                </a:solidFill>
                <a:latin typeface="+mn-lt"/>
              </a:rPr>
              <a:t>Garter Magic Quadrant 2022</a:t>
            </a:r>
          </a:p>
          <a:p>
            <a:endParaRPr lang="en-US" sz="2400" kern="0" dirty="0">
              <a:latin typeface="+mn-lt"/>
            </a:endParaRPr>
          </a:p>
          <a:p>
            <a:br>
              <a:rPr lang="en-US" sz="4000" kern="0" dirty="0">
                <a:latin typeface="+mn-lt"/>
              </a:rPr>
            </a:br>
            <a:r>
              <a:rPr lang="en-US" sz="4000" kern="0" dirty="0">
                <a:latin typeface="+mn-lt"/>
              </a:rPr>
              <a:t>Everest Group</a:t>
            </a:r>
          </a:p>
          <a:p>
            <a:endParaRPr lang="en-US" sz="2000" kern="0" dirty="0">
              <a:solidFill>
                <a:schemeClr val="accent1"/>
              </a:solidFill>
              <a:latin typeface="+mn-lt"/>
              <a:sym typeface="IBM Plex Sans Light"/>
            </a:endParaRPr>
          </a:p>
          <a:p>
            <a:r>
              <a:rPr lang="en-US" sz="2400" kern="0" dirty="0">
                <a:solidFill>
                  <a:schemeClr val="accent1"/>
                </a:solidFill>
                <a:latin typeface="+mn-lt"/>
              </a:rPr>
              <a:t>I</a:t>
            </a:r>
            <a:r>
              <a:rPr lang="en-US" sz="2400" kern="0" dirty="0">
                <a:solidFill>
                  <a:schemeClr val="accent1"/>
                </a:solidFill>
                <a:latin typeface="+mn-lt"/>
                <a:sym typeface="IBM Plex Sans Light"/>
              </a:rPr>
              <a:t>BM ranking: Major Contender</a:t>
            </a:r>
          </a:p>
          <a:p>
            <a:r>
              <a:rPr lang="en-US" sz="2400" kern="0" dirty="0">
                <a:latin typeface="+mn-lt"/>
              </a:rPr>
              <a:t>Robotic Process Automation </a:t>
            </a:r>
          </a:p>
          <a:p>
            <a:r>
              <a:rPr lang="en-US" sz="2400" kern="0" dirty="0">
                <a:solidFill>
                  <a:srgbClr val="A8A8A8"/>
                </a:solidFill>
                <a:latin typeface="+mn-lt"/>
              </a:rPr>
              <a:t>PEAK Matrix® Assessment 2022</a:t>
            </a:r>
          </a:p>
          <a:p>
            <a:endParaRPr lang="en-US" sz="2400" kern="0" dirty="0">
              <a:solidFill>
                <a:schemeClr val="accent1"/>
              </a:solidFill>
              <a:latin typeface="+mn-lt"/>
              <a:sym typeface="IBM Plex Sans Light"/>
            </a:endParaRPr>
          </a:p>
          <a:p>
            <a:r>
              <a:rPr lang="en-US" sz="2400" kern="0" dirty="0">
                <a:solidFill>
                  <a:schemeClr val="accent1"/>
                </a:solidFill>
                <a:latin typeface="+mn-lt"/>
                <a:sym typeface="IBM Plex Sans Light"/>
              </a:rPr>
              <a:t>IBM ranking: Major Contender</a:t>
            </a:r>
          </a:p>
          <a:p>
            <a:r>
              <a:rPr lang="en-US" sz="2400" kern="0" dirty="0">
                <a:latin typeface="+mn-lt"/>
              </a:rPr>
              <a:t>Process Mining </a:t>
            </a:r>
          </a:p>
          <a:p>
            <a:r>
              <a:rPr lang="en-US" sz="2400" kern="0" dirty="0">
                <a:solidFill>
                  <a:srgbClr val="A8A8A8"/>
                </a:solidFill>
                <a:latin typeface="+mn-lt"/>
              </a:rPr>
              <a:t>PEAK Matrix® Assessment 2022</a:t>
            </a:r>
          </a:p>
          <a:p>
            <a:endParaRPr lang="en-US" sz="2400" kern="0" dirty="0">
              <a:latin typeface="+mn-lt"/>
            </a:endParaRPr>
          </a:p>
          <a:p>
            <a:r>
              <a:rPr lang="en-US" sz="2400" kern="0" dirty="0">
                <a:solidFill>
                  <a:schemeClr val="accent1"/>
                </a:solidFill>
                <a:latin typeface="+mn-lt"/>
                <a:sym typeface="IBM Plex Sans Light"/>
              </a:rPr>
              <a:t>IBM ranking: Major Contender</a:t>
            </a:r>
          </a:p>
          <a:p>
            <a:r>
              <a:rPr lang="en-US" sz="2400" kern="0" dirty="0">
                <a:latin typeface="+mn-lt"/>
              </a:rPr>
              <a:t>Intelligent Document Processing </a:t>
            </a:r>
          </a:p>
          <a:p>
            <a:r>
              <a:rPr lang="en-US" sz="2400" kern="0" dirty="0">
                <a:solidFill>
                  <a:srgbClr val="A8A8A8"/>
                </a:solidFill>
                <a:latin typeface="+mn-lt"/>
              </a:rPr>
              <a:t>PEAK Matrix® Assessment 2022</a:t>
            </a:r>
          </a:p>
        </p:txBody>
      </p:sp>
      <p:sp>
        <p:nvSpPr>
          <p:cNvPr id="8" name="Text Placeholder 3">
            <a:extLst>
              <a:ext uri="{FF2B5EF4-FFF2-40B4-BE49-F238E27FC236}">
                <a16:creationId xmlns:a16="http://schemas.microsoft.com/office/drawing/2014/main" id="{B4E27456-CB2C-5136-BC6B-FDB4E12DA64F}"/>
              </a:ext>
            </a:extLst>
          </p:cNvPr>
          <p:cNvSpPr txBox="1">
            <a:spLocks/>
          </p:cNvSpPr>
          <p:nvPr/>
        </p:nvSpPr>
        <p:spPr>
          <a:xfrm>
            <a:off x="12801600" y="701735"/>
            <a:ext cx="4946904" cy="12708992"/>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4000" kern="0" dirty="0">
                <a:latin typeface="+mn-lt"/>
              </a:rPr>
              <a:t>Forrester</a:t>
            </a:r>
          </a:p>
          <a:p>
            <a:endParaRPr lang="en-US" sz="2000" kern="0" dirty="0">
              <a:solidFill>
                <a:schemeClr val="accent1"/>
              </a:solidFill>
              <a:latin typeface="+mn-lt"/>
              <a:sym typeface="IBM Plex Sans Light"/>
            </a:endParaRPr>
          </a:p>
          <a:p>
            <a:r>
              <a:rPr lang="en-US" sz="2400" kern="0" dirty="0">
                <a:solidFill>
                  <a:schemeClr val="accent1"/>
                </a:solidFill>
                <a:latin typeface="+mn-lt"/>
              </a:rPr>
              <a:t>I</a:t>
            </a:r>
            <a:r>
              <a:rPr lang="en-US" sz="2400" kern="0" dirty="0">
                <a:solidFill>
                  <a:schemeClr val="accent1"/>
                </a:solidFill>
                <a:latin typeface="+mn-lt"/>
                <a:sym typeface="IBM Plex Sans Light"/>
              </a:rPr>
              <a:t>BM ranking: Leader </a:t>
            </a:r>
          </a:p>
          <a:p>
            <a:r>
              <a:rPr lang="en-US" sz="2400" kern="0" dirty="0">
                <a:latin typeface="+mn-lt"/>
              </a:rPr>
              <a:t>Digital Process Automation Software </a:t>
            </a:r>
          </a:p>
          <a:p>
            <a:r>
              <a:rPr lang="en-US" sz="2400" kern="0" dirty="0">
                <a:solidFill>
                  <a:srgbClr val="A8A8A8"/>
                </a:solidFill>
                <a:latin typeface="+mn-lt"/>
              </a:rPr>
              <a:t>The Forrester Wave: Digital Process Automation Software, Q4 2021</a:t>
            </a:r>
          </a:p>
          <a:p>
            <a:endParaRPr lang="en-US" sz="2400" kern="0" dirty="0">
              <a:latin typeface="+mn-lt"/>
            </a:endParaRPr>
          </a:p>
          <a:p>
            <a:r>
              <a:rPr lang="en-US" sz="2400" kern="0" dirty="0">
                <a:solidFill>
                  <a:schemeClr val="accent1"/>
                </a:solidFill>
                <a:latin typeface="+mn-lt"/>
                <a:sym typeface="IBM Plex Sans Light"/>
              </a:rPr>
              <a:t>IBM ranking: Leader</a:t>
            </a:r>
          </a:p>
          <a:p>
            <a:r>
              <a:rPr lang="en-US" sz="2400" kern="0" dirty="0">
                <a:latin typeface="+mn-lt"/>
              </a:rPr>
              <a:t>Decision Services</a:t>
            </a:r>
          </a:p>
          <a:p>
            <a:r>
              <a:rPr lang="en-US" sz="2400" kern="0" dirty="0">
                <a:solidFill>
                  <a:srgbClr val="A8A8A8"/>
                </a:solidFill>
                <a:latin typeface="+mn-lt"/>
              </a:rPr>
              <a:t>The Forrester Wave: Digital </a:t>
            </a:r>
            <a:br>
              <a:rPr lang="en-US" sz="2400" kern="0" dirty="0">
                <a:solidFill>
                  <a:srgbClr val="A8A8A8"/>
                </a:solidFill>
                <a:latin typeface="+mn-lt"/>
              </a:rPr>
            </a:br>
            <a:r>
              <a:rPr lang="en-US" sz="2400" kern="0" dirty="0">
                <a:solidFill>
                  <a:srgbClr val="A8A8A8"/>
                </a:solidFill>
                <a:latin typeface="+mn-lt"/>
              </a:rPr>
              <a:t>Decisioning Platforms, Q4 2020</a:t>
            </a:r>
          </a:p>
          <a:p>
            <a:endParaRPr lang="en-US" sz="2400" kern="0" dirty="0">
              <a:latin typeface="+mn-lt"/>
            </a:endParaRPr>
          </a:p>
          <a:p>
            <a:r>
              <a:rPr lang="en-US" sz="2400" kern="0" dirty="0">
                <a:solidFill>
                  <a:schemeClr val="accent1"/>
                </a:solidFill>
                <a:latin typeface="+mn-lt"/>
                <a:sym typeface="IBM Plex Sans Light"/>
              </a:rPr>
              <a:t>IBM ranking: Leader</a:t>
            </a:r>
          </a:p>
          <a:p>
            <a:r>
              <a:rPr lang="en-US" sz="2400" kern="0" dirty="0">
                <a:latin typeface="+mn-lt"/>
              </a:rPr>
              <a:t>Robotic Process Automation</a:t>
            </a:r>
          </a:p>
          <a:p>
            <a:r>
              <a:rPr lang="en-US" sz="2400" kern="0" dirty="0">
                <a:solidFill>
                  <a:srgbClr val="A8A8A8"/>
                </a:solidFill>
                <a:latin typeface="+mn-lt"/>
              </a:rPr>
              <a:t>The Forrester Wave: Robotic Process Automation Services, Q2 2022</a:t>
            </a:r>
          </a:p>
          <a:p>
            <a:endParaRPr lang="en-US" sz="2400" kern="0" dirty="0">
              <a:latin typeface="+mn-lt"/>
            </a:endParaRPr>
          </a:p>
          <a:p>
            <a:r>
              <a:rPr lang="en-US" sz="2400" kern="0" dirty="0">
                <a:solidFill>
                  <a:schemeClr val="accent1"/>
                </a:solidFill>
                <a:latin typeface="+mn-lt"/>
                <a:sym typeface="IBM Plex Sans Light"/>
              </a:rPr>
              <a:t>IBM ranking: Strong Performer</a:t>
            </a:r>
          </a:p>
          <a:p>
            <a:r>
              <a:rPr lang="en-US" sz="2400" kern="0" dirty="0">
                <a:latin typeface="+mn-lt"/>
              </a:rPr>
              <a:t>Content Services</a:t>
            </a:r>
          </a:p>
          <a:p>
            <a:r>
              <a:rPr lang="en-US" sz="2400" kern="0" dirty="0">
                <a:solidFill>
                  <a:srgbClr val="A8A8A8"/>
                </a:solidFill>
                <a:latin typeface="+mn-lt"/>
              </a:rPr>
              <a:t>The Forrester Wave: </a:t>
            </a:r>
            <a:br>
              <a:rPr lang="en-US" sz="2400" kern="0" dirty="0">
                <a:solidFill>
                  <a:srgbClr val="A8A8A8"/>
                </a:solidFill>
                <a:latin typeface="+mn-lt"/>
              </a:rPr>
            </a:br>
            <a:r>
              <a:rPr lang="en-US" sz="2400" kern="0" dirty="0">
                <a:solidFill>
                  <a:srgbClr val="A8A8A8"/>
                </a:solidFill>
                <a:latin typeface="+mn-lt"/>
              </a:rPr>
              <a:t>Content Platforms, Q2 2021</a:t>
            </a:r>
          </a:p>
          <a:p>
            <a:br>
              <a:rPr lang="en-US" sz="4000" kern="0" dirty="0">
                <a:latin typeface="+mn-lt"/>
              </a:rPr>
            </a:br>
            <a:r>
              <a:rPr lang="en-US" sz="4000" kern="0" dirty="0">
                <a:latin typeface="+mn-lt"/>
              </a:rPr>
              <a:t>Omdia</a:t>
            </a:r>
          </a:p>
          <a:p>
            <a:endParaRPr lang="en-US" sz="2000" kern="0" dirty="0">
              <a:solidFill>
                <a:schemeClr val="accent1"/>
              </a:solidFill>
              <a:latin typeface="+mn-lt"/>
              <a:sym typeface="IBM Plex Sans Light"/>
            </a:endParaRPr>
          </a:p>
          <a:p>
            <a:r>
              <a:rPr lang="en-US" sz="2400" kern="0" dirty="0">
                <a:solidFill>
                  <a:schemeClr val="accent1"/>
                </a:solidFill>
                <a:latin typeface="+mn-lt"/>
              </a:rPr>
              <a:t>I</a:t>
            </a:r>
            <a:r>
              <a:rPr lang="en-US" sz="2400" kern="0" dirty="0">
                <a:solidFill>
                  <a:schemeClr val="accent1"/>
                </a:solidFill>
                <a:latin typeface="+mn-lt"/>
                <a:sym typeface="IBM Plex Sans Light"/>
              </a:rPr>
              <a:t>BM ranking: Leader</a:t>
            </a:r>
          </a:p>
          <a:p>
            <a:r>
              <a:rPr lang="en-US" sz="2400" kern="0" dirty="0">
                <a:latin typeface="+mn-lt"/>
              </a:rPr>
              <a:t>Content Services </a:t>
            </a:r>
          </a:p>
          <a:p>
            <a:r>
              <a:rPr lang="en-US" sz="2400" kern="0" dirty="0">
                <a:solidFill>
                  <a:srgbClr val="A8A8A8"/>
                </a:solidFill>
                <a:latin typeface="+mn-lt"/>
              </a:rPr>
              <a:t>Omdia Universe: Selecting a Content Services Platform, 2021</a:t>
            </a:r>
          </a:p>
        </p:txBody>
      </p:sp>
      <p:sp>
        <p:nvSpPr>
          <p:cNvPr id="9" name="Text Placeholder 3">
            <a:extLst>
              <a:ext uri="{FF2B5EF4-FFF2-40B4-BE49-F238E27FC236}">
                <a16:creationId xmlns:a16="http://schemas.microsoft.com/office/drawing/2014/main" id="{6870A3BF-3050-D2AB-00EF-0C75E347A0B3}"/>
              </a:ext>
            </a:extLst>
          </p:cNvPr>
          <p:cNvSpPr txBox="1">
            <a:spLocks/>
          </p:cNvSpPr>
          <p:nvPr/>
        </p:nvSpPr>
        <p:spPr>
          <a:xfrm>
            <a:off x="6675120" y="701734"/>
            <a:ext cx="4946904" cy="12708993"/>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4000" kern="0" dirty="0">
                <a:latin typeface="+mn-lt"/>
              </a:rPr>
              <a:t>IDC</a:t>
            </a:r>
          </a:p>
          <a:p>
            <a:endParaRPr lang="en-US" sz="2000" kern="0" dirty="0">
              <a:solidFill>
                <a:schemeClr val="accent1"/>
              </a:solidFill>
              <a:latin typeface="+mn-lt"/>
              <a:sym typeface="IBM Plex Sans Light"/>
            </a:endParaRPr>
          </a:p>
          <a:p>
            <a:r>
              <a:rPr lang="en-US" sz="2400" kern="0" dirty="0">
                <a:solidFill>
                  <a:schemeClr val="accent1"/>
                </a:solidFill>
                <a:latin typeface="+mn-lt"/>
              </a:rPr>
              <a:t>I</a:t>
            </a:r>
            <a:r>
              <a:rPr lang="en-US" sz="2400" kern="0" dirty="0">
                <a:solidFill>
                  <a:schemeClr val="accent1"/>
                </a:solidFill>
                <a:latin typeface="+mn-lt"/>
                <a:sym typeface="IBM Plex Sans Light"/>
              </a:rPr>
              <a:t>BM ranking: #1 </a:t>
            </a:r>
          </a:p>
          <a:p>
            <a:r>
              <a:rPr lang="en-US" sz="2400" kern="0" dirty="0">
                <a:latin typeface="+mn-lt"/>
              </a:rPr>
              <a:t>Worldwide Artificial Intelligence Services</a:t>
            </a:r>
          </a:p>
          <a:p>
            <a:r>
              <a:rPr lang="en-US" sz="2400" kern="0" dirty="0">
                <a:solidFill>
                  <a:srgbClr val="A8A8A8"/>
                </a:solidFill>
                <a:latin typeface="+mn-lt"/>
              </a:rPr>
              <a:t>Market Analysis Perspective: Worldwide Analytics and Intelligent Automation Services, 2021</a:t>
            </a:r>
          </a:p>
          <a:p>
            <a:endParaRPr lang="en-US" sz="2400" kern="0" dirty="0">
              <a:latin typeface="+mn-lt"/>
            </a:endParaRPr>
          </a:p>
          <a:p>
            <a:r>
              <a:rPr lang="en-US" sz="2400" kern="0" dirty="0">
                <a:solidFill>
                  <a:schemeClr val="accent1"/>
                </a:solidFill>
                <a:latin typeface="+mn-lt"/>
                <a:sym typeface="IBM Plex Sans Light"/>
              </a:rPr>
              <a:t>IBM ranking: Major Player</a:t>
            </a:r>
          </a:p>
          <a:p>
            <a:r>
              <a:rPr lang="en-US" sz="2400" kern="0" dirty="0">
                <a:latin typeface="+mn-lt"/>
              </a:rPr>
              <a:t>Cloud Content Services</a:t>
            </a:r>
          </a:p>
          <a:p>
            <a:r>
              <a:rPr lang="en-US" sz="2400" kern="0" dirty="0">
                <a:solidFill>
                  <a:srgbClr val="A8A8A8"/>
                </a:solidFill>
                <a:latin typeface="+mn-lt"/>
              </a:rPr>
              <a:t>IDC MarketScape Worldwide Cloud Content Services 2022 Vendor Assessment</a:t>
            </a:r>
          </a:p>
          <a:p>
            <a:endParaRPr lang="en-US" sz="2400" kern="0" dirty="0">
              <a:latin typeface="+mn-lt"/>
            </a:endParaRPr>
          </a:p>
          <a:p>
            <a:r>
              <a:rPr lang="en-US" sz="2400" kern="0" dirty="0">
                <a:solidFill>
                  <a:schemeClr val="accent1"/>
                </a:solidFill>
                <a:latin typeface="+mn-lt"/>
                <a:sym typeface="IBM Plex Sans Light"/>
              </a:rPr>
              <a:t>IBM ranking: Major Player</a:t>
            </a:r>
          </a:p>
          <a:p>
            <a:r>
              <a:rPr lang="en-US" sz="2400" kern="0" dirty="0">
                <a:latin typeface="+mn-lt"/>
              </a:rPr>
              <a:t>Robotic Process Automation</a:t>
            </a:r>
          </a:p>
          <a:p>
            <a:r>
              <a:rPr lang="en-US" sz="2400" kern="0" dirty="0">
                <a:solidFill>
                  <a:srgbClr val="A8A8A8"/>
                </a:solidFill>
                <a:latin typeface="+mn-lt"/>
              </a:rPr>
              <a:t>IDC MarketScape Worldwide </a:t>
            </a:r>
            <a:br>
              <a:rPr lang="en-US" sz="2400" kern="0" dirty="0">
                <a:solidFill>
                  <a:srgbClr val="A8A8A8"/>
                </a:solidFill>
                <a:latin typeface="+mn-lt"/>
              </a:rPr>
            </a:br>
            <a:r>
              <a:rPr lang="en-US" sz="2400" kern="0" dirty="0">
                <a:solidFill>
                  <a:srgbClr val="A8A8A8"/>
                </a:solidFill>
                <a:latin typeface="+mn-lt"/>
              </a:rPr>
              <a:t>Robotic Process Automation Software</a:t>
            </a:r>
            <a:br>
              <a:rPr lang="en-US" sz="2400" kern="0" dirty="0">
                <a:solidFill>
                  <a:srgbClr val="A8A8A8"/>
                </a:solidFill>
                <a:latin typeface="+mn-lt"/>
              </a:rPr>
            </a:br>
            <a:r>
              <a:rPr lang="en-US" sz="2400" kern="0" dirty="0">
                <a:solidFill>
                  <a:srgbClr val="A8A8A8"/>
                </a:solidFill>
                <a:latin typeface="+mn-lt"/>
              </a:rPr>
              <a:t>Vendor Assessment, 2021–2022</a:t>
            </a:r>
          </a:p>
          <a:p>
            <a:endParaRPr lang="en-US" sz="2400" kern="0" dirty="0">
              <a:latin typeface="+mn-lt"/>
            </a:endParaRPr>
          </a:p>
          <a:p>
            <a:br>
              <a:rPr lang="en-US" sz="4000" kern="0" dirty="0">
                <a:latin typeface="+mn-lt"/>
              </a:rPr>
            </a:br>
            <a:r>
              <a:rPr lang="en-US" sz="4000" kern="0" dirty="0">
                <a:latin typeface="+mn-lt"/>
              </a:rPr>
              <a:t>Nelson Hall</a:t>
            </a:r>
          </a:p>
          <a:p>
            <a:endParaRPr lang="en-US" sz="2000" kern="0" dirty="0">
              <a:solidFill>
                <a:schemeClr val="accent1"/>
              </a:solidFill>
              <a:latin typeface="+mn-lt"/>
              <a:sym typeface="IBM Plex Sans Light"/>
            </a:endParaRPr>
          </a:p>
          <a:p>
            <a:r>
              <a:rPr lang="en-US" sz="2400" kern="0" dirty="0">
                <a:solidFill>
                  <a:schemeClr val="accent1"/>
                </a:solidFill>
                <a:latin typeface="+mn-lt"/>
              </a:rPr>
              <a:t>I</a:t>
            </a:r>
            <a:r>
              <a:rPr lang="en-US" sz="2400" kern="0" dirty="0">
                <a:solidFill>
                  <a:schemeClr val="accent1"/>
                </a:solidFill>
                <a:latin typeface="+mn-lt"/>
                <a:sym typeface="IBM Plex Sans Light"/>
              </a:rPr>
              <a:t>BM ranking: Leader</a:t>
            </a:r>
          </a:p>
          <a:p>
            <a:r>
              <a:rPr lang="en-US" sz="2400" kern="0" dirty="0">
                <a:latin typeface="+mn-lt"/>
              </a:rPr>
              <a:t>Process Discovery &amp; Mining</a:t>
            </a:r>
          </a:p>
          <a:p>
            <a:r>
              <a:rPr lang="en-US" sz="2400" kern="0" dirty="0">
                <a:solidFill>
                  <a:srgbClr val="A8A8A8"/>
                </a:solidFill>
                <a:latin typeface="+mn-lt"/>
              </a:rPr>
              <a:t>Vendor Evaluation &amp; Assessment Tool, 2021</a:t>
            </a:r>
          </a:p>
        </p:txBody>
      </p:sp>
    </p:spTree>
    <p:extLst>
      <p:ext uri="{BB962C8B-B14F-4D97-AF65-F5344CB8AC3E}">
        <p14:creationId xmlns:p14="http://schemas.microsoft.com/office/powerpoint/2010/main" val="297931010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1000"/>
                                        <p:tgtEl>
                                          <p:spTgt spid="8"/>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58">
            <a:extLst>
              <a:ext uri="{FF2B5EF4-FFF2-40B4-BE49-F238E27FC236}">
                <a16:creationId xmlns:a16="http://schemas.microsoft.com/office/drawing/2014/main" id="{0A19C444-54FC-0372-C7FD-84DF9F7AFA46}"/>
              </a:ext>
            </a:extLst>
          </p:cNvPr>
          <p:cNvPicPr>
            <a:picLocks noChangeAspect="1"/>
          </p:cNvPicPr>
          <p:nvPr/>
        </p:nvPicPr>
        <p:blipFill>
          <a:blip r:embed="rId3"/>
          <a:stretch>
            <a:fillRect/>
          </a:stretch>
        </p:blipFill>
        <p:spPr>
          <a:xfrm>
            <a:off x="17745749" y="8007490"/>
            <a:ext cx="4079692" cy="2552535"/>
          </a:xfrm>
          <a:prstGeom prst="rect">
            <a:avLst/>
          </a:prstGeom>
        </p:spPr>
      </p:pic>
      <p:grpSp>
        <p:nvGrpSpPr>
          <p:cNvPr id="156" name="Group 155">
            <a:extLst>
              <a:ext uri="{FF2B5EF4-FFF2-40B4-BE49-F238E27FC236}">
                <a16:creationId xmlns:a16="http://schemas.microsoft.com/office/drawing/2014/main" id="{261971DB-609D-0D90-2C50-2B8D540C2F10}"/>
              </a:ext>
            </a:extLst>
          </p:cNvPr>
          <p:cNvGrpSpPr/>
          <p:nvPr/>
        </p:nvGrpSpPr>
        <p:grpSpPr>
          <a:xfrm>
            <a:off x="21293970" y="5921896"/>
            <a:ext cx="1988849" cy="1641171"/>
            <a:chOff x="21505542" y="6745626"/>
            <a:chExt cx="1988849" cy="1641171"/>
          </a:xfrm>
        </p:grpSpPr>
        <p:sp>
          <p:nvSpPr>
            <p:cNvPr id="154" name="Freeform 153">
              <a:extLst>
                <a:ext uri="{FF2B5EF4-FFF2-40B4-BE49-F238E27FC236}">
                  <a16:creationId xmlns:a16="http://schemas.microsoft.com/office/drawing/2014/main" id="{5D762B5D-95CD-4E54-DDC4-8E254CE46BBF}"/>
                </a:ext>
              </a:extLst>
            </p:cNvPr>
            <p:cNvSpPr/>
            <p:nvPr/>
          </p:nvSpPr>
          <p:spPr>
            <a:xfrm>
              <a:off x="21904072" y="6745626"/>
              <a:ext cx="820702" cy="867508"/>
            </a:xfrm>
            <a:custGeom>
              <a:avLst/>
              <a:gdLst>
                <a:gd name="connsiteX0" fmla="*/ 649224 w 820702"/>
                <a:gd name="connsiteY0" fmla="*/ 867508 h 867508"/>
                <a:gd name="connsiteX1" fmla="*/ 628650 w 820702"/>
                <a:gd name="connsiteY1" fmla="*/ 867508 h 867508"/>
                <a:gd name="connsiteX2" fmla="*/ 628650 w 820702"/>
                <a:gd name="connsiteY2" fmla="*/ 653196 h 867508"/>
                <a:gd name="connsiteX3" fmla="*/ 460858 w 820702"/>
                <a:gd name="connsiteY3" fmla="*/ 441055 h 867508"/>
                <a:gd name="connsiteX4" fmla="*/ 452999 w 820702"/>
                <a:gd name="connsiteY4" fmla="*/ 432025 h 867508"/>
                <a:gd name="connsiteX5" fmla="*/ 459057 w 820702"/>
                <a:gd name="connsiteY5" fmla="*/ 421653 h 867508"/>
                <a:gd name="connsiteX6" fmla="*/ 530381 w 820702"/>
                <a:gd name="connsiteY6" fmla="*/ 312039 h 867508"/>
                <a:gd name="connsiteX7" fmla="*/ 410366 w 820702"/>
                <a:gd name="connsiteY7" fmla="*/ 191995 h 867508"/>
                <a:gd name="connsiteX8" fmla="*/ 290322 w 820702"/>
                <a:gd name="connsiteY8" fmla="*/ 312039 h 867508"/>
                <a:gd name="connsiteX9" fmla="*/ 361645 w 820702"/>
                <a:gd name="connsiteY9" fmla="*/ 421653 h 867508"/>
                <a:gd name="connsiteX10" fmla="*/ 367703 w 820702"/>
                <a:gd name="connsiteY10" fmla="*/ 432025 h 867508"/>
                <a:gd name="connsiteX11" fmla="*/ 359845 w 820702"/>
                <a:gd name="connsiteY11" fmla="*/ 441055 h 867508"/>
                <a:gd name="connsiteX12" fmla="*/ 192053 w 820702"/>
                <a:gd name="connsiteY12" fmla="*/ 653196 h 867508"/>
                <a:gd name="connsiteX13" fmla="*/ 192053 w 820702"/>
                <a:gd name="connsiteY13" fmla="*/ 867508 h 867508"/>
                <a:gd name="connsiteX14" fmla="*/ 171450 w 820702"/>
                <a:gd name="connsiteY14" fmla="*/ 867508 h 867508"/>
                <a:gd name="connsiteX15" fmla="*/ 171450 w 820702"/>
                <a:gd name="connsiteY15" fmla="*/ 653196 h 867508"/>
                <a:gd name="connsiteX16" fmla="*/ 331041 w 820702"/>
                <a:gd name="connsiteY16" fmla="*/ 428054 h 867508"/>
                <a:gd name="connsiteX17" fmla="*/ 269719 w 820702"/>
                <a:gd name="connsiteY17" fmla="*/ 312010 h 867508"/>
                <a:gd name="connsiteX18" fmla="*/ 350472 w 820702"/>
                <a:gd name="connsiteY18" fmla="*/ 184795 h 867508"/>
                <a:gd name="connsiteX19" fmla="*/ 358902 w 820702"/>
                <a:gd name="connsiteY19" fmla="*/ 140589 h 867508"/>
                <a:gd name="connsiteX20" fmla="*/ 238887 w 820702"/>
                <a:gd name="connsiteY20" fmla="*/ 20545 h 867508"/>
                <a:gd name="connsiteX21" fmla="*/ 118843 w 820702"/>
                <a:gd name="connsiteY21" fmla="*/ 140589 h 867508"/>
                <a:gd name="connsiteX22" fmla="*/ 190167 w 820702"/>
                <a:gd name="connsiteY22" fmla="*/ 250203 h 867508"/>
                <a:gd name="connsiteX23" fmla="*/ 196225 w 820702"/>
                <a:gd name="connsiteY23" fmla="*/ 260575 h 867508"/>
                <a:gd name="connsiteX24" fmla="*/ 188366 w 820702"/>
                <a:gd name="connsiteY24" fmla="*/ 269605 h 867508"/>
                <a:gd name="connsiteX25" fmla="*/ 20574 w 820702"/>
                <a:gd name="connsiteY25" fmla="*/ 481746 h 867508"/>
                <a:gd name="connsiteX26" fmla="*/ 20574 w 820702"/>
                <a:gd name="connsiteY26" fmla="*/ 696058 h 867508"/>
                <a:gd name="connsiteX27" fmla="*/ 0 w 820702"/>
                <a:gd name="connsiteY27" fmla="*/ 696058 h 867508"/>
                <a:gd name="connsiteX28" fmla="*/ 0 w 820702"/>
                <a:gd name="connsiteY28" fmla="*/ 481746 h 867508"/>
                <a:gd name="connsiteX29" fmla="*/ 159591 w 820702"/>
                <a:gd name="connsiteY29" fmla="*/ 256604 h 867508"/>
                <a:gd name="connsiteX30" fmla="*/ 98298 w 820702"/>
                <a:gd name="connsiteY30" fmla="*/ 140589 h 867508"/>
                <a:gd name="connsiteX31" fmla="*/ 238887 w 820702"/>
                <a:gd name="connsiteY31" fmla="*/ 0 h 867508"/>
                <a:gd name="connsiteX32" fmla="*/ 379476 w 820702"/>
                <a:gd name="connsiteY32" fmla="*/ 140589 h 867508"/>
                <a:gd name="connsiteX33" fmla="*/ 374990 w 820702"/>
                <a:gd name="connsiteY33" fmla="*/ 175936 h 867508"/>
                <a:gd name="connsiteX34" fmla="*/ 445656 w 820702"/>
                <a:gd name="connsiteY34" fmla="*/ 175936 h 867508"/>
                <a:gd name="connsiteX35" fmla="*/ 441169 w 820702"/>
                <a:gd name="connsiteY35" fmla="*/ 140589 h 867508"/>
                <a:gd name="connsiteX36" fmla="*/ 581787 w 820702"/>
                <a:gd name="connsiteY36" fmla="*/ 0 h 867508"/>
                <a:gd name="connsiteX37" fmla="*/ 722405 w 820702"/>
                <a:gd name="connsiteY37" fmla="*/ 140589 h 867508"/>
                <a:gd name="connsiteX38" fmla="*/ 661083 w 820702"/>
                <a:gd name="connsiteY38" fmla="*/ 256632 h 867508"/>
                <a:gd name="connsiteX39" fmla="*/ 820703 w 820702"/>
                <a:gd name="connsiteY39" fmla="*/ 481775 h 867508"/>
                <a:gd name="connsiteX40" fmla="*/ 820703 w 820702"/>
                <a:gd name="connsiteY40" fmla="*/ 696058 h 867508"/>
                <a:gd name="connsiteX41" fmla="*/ 800100 w 820702"/>
                <a:gd name="connsiteY41" fmla="*/ 696058 h 867508"/>
                <a:gd name="connsiteX42" fmla="*/ 800100 w 820702"/>
                <a:gd name="connsiteY42" fmla="*/ 481746 h 867508"/>
                <a:gd name="connsiteX43" fmla="*/ 632308 w 820702"/>
                <a:gd name="connsiteY43" fmla="*/ 269605 h 867508"/>
                <a:gd name="connsiteX44" fmla="*/ 624450 w 820702"/>
                <a:gd name="connsiteY44" fmla="*/ 260575 h 867508"/>
                <a:gd name="connsiteX45" fmla="*/ 630507 w 820702"/>
                <a:gd name="connsiteY45" fmla="*/ 250203 h 867508"/>
                <a:gd name="connsiteX46" fmla="*/ 701802 w 820702"/>
                <a:gd name="connsiteY46" fmla="*/ 140589 h 867508"/>
                <a:gd name="connsiteX47" fmla="*/ 581787 w 820702"/>
                <a:gd name="connsiteY47" fmla="*/ 20545 h 867508"/>
                <a:gd name="connsiteX48" fmla="*/ 461772 w 820702"/>
                <a:gd name="connsiteY48" fmla="*/ 140589 h 867508"/>
                <a:gd name="connsiteX49" fmla="*/ 470202 w 820702"/>
                <a:gd name="connsiteY49" fmla="*/ 184823 h 867508"/>
                <a:gd name="connsiteX50" fmla="*/ 550955 w 820702"/>
                <a:gd name="connsiteY50" fmla="*/ 312039 h 867508"/>
                <a:gd name="connsiteX51" fmla="*/ 489633 w 820702"/>
                <a:gd name="connsiteY51" fmla="*/ 428082 h 867508"/>
                <a:gd name="connsiteX52" fmla="*/ 649253 w 820702"/>
                <a:gd name="connsiteY52" fmla="*/ 653225 h 867508"/>
                <a:gd name="connsiteX53" fmla="*/ 649224 w 820702"/>
                <a:gd name="connsiteY53" fmla="*/ 867508 h 867508"/>
                <a:gd name="connsiteX54" fmla="*/ 649224 w 820702"/>
                <a:gd name="connsiteY54" fmla="*/ 867508 h 867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20702" h="867508">
                  <a:moveTo>
                    <a:pt x="649224" y="867508"/>
                  </a:moveTo>
                  <a:lnTo>
                    <a:pt x="628650" y="867508"/>
                  </a:lnTo>
                  <a:lnTo>
                    <a:pt x="628650" y="653196"/>
                  </a:lnTo>
                  <a:cubicBezTo>
                    <a:pt x="628650" y="551698"/>
                    <a:pt x="559670" y="464487"/>
                    <a:pt x="460858" y="441055"/>
                  </a:cubicBezTo>
                  <a:cubicBezTo>
                    <a:pt x="456571" y="440026"/>
                    <a:pt x="453400" y="436397"/>
                    <a:pt x="452999" y="432025"/>
                  </a:cubicBezTo>
                  <a:cubicBezTo>
                    <a:pt x="452571" y="427625"/>
                    <a:pt x="455028" y="423453"/>
                    <a:pt x="459057" y="421653"/>
                  </a:cubicBezTo>
                  <a:cubicBezTo>
                    <a:pt x="502406" y="402365"/>
                    <a:pt x="530381" y="359331"/>
                    <a:pt x="530381" y="312039"/>
                  </a:cubicBezTo>
                  <a:cubicBezTo>
                    <a:pt x="530381" y="245859"/>
                    <a:pt x="476545" y="191995"/>
                    <a:pt x="410366" y="191995"/>
                  </a:cubicBezTo>
                  <a:cubicBezTo>
                    <a:pt x="344186" y="191995"/>
                    <a:pt x="290322" y="245831"/>
                    <a:pt x="290322" y="312039"/>
                  </a:cubicBezTo>
                  <a:cubicBezTo>
                    <a:pt x="290322" y="359331"/>
                    <a:pt x="318326" y="402393"/>
                    <a:pt x="361645" y="421653"/>
                  </a:cubicBezTo>
                  <a:cubicBezTo>
                    <a:pt x="365674" y="423453"/>
                    <a:pt x="368132" y="427625"/>
                    <a:pt x="367703" y="432025"/>
                  </a:cubicBezTo>
                  <a:cubicBezTo>
                    <a:pt x="367303" y="436397"/>
                    <a:pt x="364131" y="440055"/>
                    <a:pt x="359845" y="441055"/>
                  </a:cubicBezTo>
                  <a:cubicBezTo>
                    <a:pt x="261033" y="464487"/>
                    <a:pt x="192053" y="551698"/>
                    <a:pt x="192053" y="653196"/>
                  </a:cubicBezTo>
                  <a:lnTo>
                    <a:pt x="192053" y="867508"/>
                  </a:lnTo>
                  <a:lnTo>
                    <a:pt x="171450" y="867508"/>
                  </a:lnTo>
                  <a:lnTo>
                    <a:pt x="171450" y="653196"/>
                  </a:lnTo>
                  <a:cubicBezTo>
                    <a:pt x="171450" y="550555"/>
                    <a:pt x="235944" y="461229"/>
                    <a:pt x="331041" y="428054"/>
                  </a:cubicBezTo>
                  <a:cubicBezTo>
                    <a:pt x="293151" y="402136"/>
                    <a:pt x="269719" y="358873"/>
                    <a:pt x="269719" y="312010"/>
                  </a:cubicBezTo>
                  <a:cubicBezTo>
                    <a:pt x="269719" y="255889"/>
                    <a:pt x="302781" y="207312"/>
                    <a:pt x="350472" y="184795"/>
                  </a:cubicBezTo>
                  <a:cubicBezTo>
                    <a:pt x="356073" y="170764"/>
                    <a:pt x="358902" y="155905"/>
                    <a:pt x="358902" y="140589"/>
                  </a:cubicBezTo>
                  <a:cubicBezTo>
                    <a:pt x="358902" y="74409"/>
                    <a:pt x="305067" y="20545"/>
                    <a:pt x="238887" y="20545"/>
                  </a:cubicBezTo>
                  <a:cubicBezTo>
                    <a:pt x="172707" y="20545"/>
                    <a:pt x="118843" y="74381"/>
                    <a:pt x="118843" y="140589"/>
                  </a:cubicBezTo>
                  <a:cubicBezTo>
                    <a:pt x="118843" y="187909"/>
                    <a:pt x="146847" y="230943"/>
                    <a:pt x="190167" y="250203"/>
                  </a:cubicBezTo>
                  <a:cubicBezTo>
                    <a:pt x="194224" y="252003"/>
                    <a:pt x="196625" y="256175"/>
                    <a:pt x="196225" y="260575"/>
                  </a:cubicBezTo>
                  <a:cubicBezTo>
                    <a:pt x="195824" y="264947"/>
                    <a:pt x="192653" y="268605"/>
                    <a:pt x="188366" y="269605"/>
                  </a:cubicBezTo>
                  <a:cubicBezTo>
                    <a:pt x="89554" y="293037"/>
                    <a:pt x="20574" y="380248"/>
                    <a:pt x="20574" y="481746"/>
                  </a:cubicBezTo>
                  <a:lnTo>
                    <a:pt x="20574" y="696058"/>
                  </a:lnTo>
                  <a:lnTo>
                    <a:pt x="0" y="696058"/>
                  </a:lnTo>
                  <a:lnTo>
                    <a:pt x="0" y="481746"/>
                  </a:lnTo>
                  <a:cubicBezTo>
                    <a:pt x="0" y="379105"/>
                    <a:pt x="64494" y="289779"/>
                    <a:pt x="159591" y="256604"/>
                  </a:cubicBezTo>
                  <a:cubicBezTo>
                    <a:pt x="121701" y="230686"/>
                    <a:pt x="98298" y="187423"/>
                    <a:pt x="98298" y="140589"/>
                  </a:cubicBezTo>
                  <a:cubicBezTo>
                    <a:pt x="98298" y="63065"/>
                    <a:pt x="161363" y="0"/>
                    <a:pt x="238887" y="0"/>
                  </a:cubicBezTo>
                  <a:cubicBezTo>
                    <a:pt x="316411" y="0"/>
                    <a:pt x="379476" y="63065"/>
                    <a:pt x="379476" y="140589"/>
                  </a:cubicBezTo>
                  <a:cubicBezTo>
                    <a:pt x="379476" y="152648"/>
                    <a:pt x="377990" y="164478"/>
                    <a:pt x="374990" y="175936"/>
                  </a:cubicBezTo>
                  <a:cubicBezTo>
                    <a:pt x="397593" y="170078"/>
                    <a:pt x="423081" y="170078"/>
                    <a:pt x="445656" y="175936"/>
                  </a:cubicBezTo>
                  <a:cubicBezTo>
                    <a:pt x="442684" y="164478"/>
                    <a:pt x="441169" y="152648"/>
                    <a:pt x="441169" y="140589"/>
                  </a:cubicBezTo>
                  <a:cubicBezTo>
                    <a:pt x="441169" y="63065"/>
                    <a:pt x="504263" y="0"/>
                    <a:pt x="581787" y="0"/>
                  </a:cubicBezTo>
                  <a:cubicBezTo>
                    <a:pt x="659311" y="0"/>
                    <a:pt x="722405" y="63065"/>
                    <a:pt x="722405" y="140589"/>
                  </a:cubicBezTo>
                  <a:cubicBezTo>
                    <a:pt x="722405" y="187452"/>
                    <a:pt x="698973" y="230715"/>
                    <a:pt x="661083" y="256632"/>
                  </a:cubicBezTo>
                  <a:cubicBezTo>
                    <a:pt x="756209" y="289808"/>
                    <a:pt x="820703" y="379133"/>
                    <a:pt x="820703" y="481775"/>
                  </a:cubicBezTo>
                  <a:lnTo>
                    <a:pt x="820703" y="696058"/>
                  </a:lnTo>
                  <a:lnTo>
                    <a:pt x="800100" y="696058"/>
                  </a:lnTo>
                  <a:lnTo>
                    <a:pt x="800100" y="481746"/>
                  </a:lnTo>
                  <a:cubicBezTo>
                    <a:pt x="800100" y="380248"/>
                    <a:pt x="731120" y="293037"/>
                    <a:pt x="632308" y="269605"/>
                  </a:cubicBezTo>
                  <a:cubicBezTo>
                    <a:pt x="628021" y="268576"/>
                    <a:pt x="624850" y="264947"/>
                    <a:pt x="624450" y="260575"/>
                  </a:cubicBezTo>
                  <a:cubicBezTo>
                    <a:pt x="624021" y="256175"/>
                    <a:pt x="626478" y="252003"/>
                    <a:pt x="630507" y="250203"/>
                  </a:cubicBezTo>
                  <a:cubicBezTo>
                    <a:pt x="673827" y="230915"/>
                    <a:pt x="701802" y="187881"/>
                    <a:pt x="701802" y="140589"/>
                  </a:cubicBezTo>
                  <a:cubicBezTo>
                    <a:pt x="701802" y="74409"/>
                    <a:pt x="647967" y="20545"/>
                    <a:pt x="581787" y="20545"/>
                  </a:cubicBezTo>
                  <a:cubicBezTo>
                    <a:pt x="515607" y="20545"/>
                    <a:pt x="461772" y="74381"/>
                    <a:pt x="461772" y="140589"/>
                  </a:cubicBezTo>
                  <a:cubicBezTo>
                    <a:pt x="461772" y="155905"/>
                    <a:pt x="464601" y="170764"/>
                    <a:pt x="470202" y="184823"/>
                  </a:cubicBezTo>
                  <a:cubicBezTo>
                    <a:pt x="517893" y="207369"/>
                    <a:pt x="550955" y="255918"/>
                    <a:pt x="550955" y="312039"/>
                  </a:cubicBezTo>
                  <a:cubicBezTo>
                    <a:pt x="550955" y="358902"/>
                    <a:pt x="527523" y="402165"/>
                    <a:pt x="489633" y="428082"/>
                  </a:cubicBezTo>
                  <a:cubicBezTo>
                    <a:pt x="584759" y="461258"/>
                    <a:pt x="649253" y="550583"/>
                    <a:pt x="649253" y="653225"/>
                  </a:cubicBezTo>
                  <a:lnTo>
                    <a:pt x="649224" y="867508"/>
                  </a:lnTo>
                  <a:lnTo>
                    <a:pt x="649224" y="867508"/>
                  </a:lnTo>
                  <a:close/>
                </a:path>
              </a:pathLst>
            </a:custGeom>
            <a:solidFill>
              <a:schemeClr val="accent1"/>
            </a:solidFill>
            <a:ln w="28575" cap="flat">
              <a:noFill/>
              <a:prstDash val="solid"/>
              <a:miter/>
            </a:ln>
          </p:spPr>
          <p:txBody>
            <a:bodyPr rtlCol="0" anchor="ctr"/>
            <a:lstStyle/>
            <a:p>
              <a:endParaRPr lang="en-US"/>
            </a:p>
          </p:txBody>
        </p:sp>
        <p:sp>
          <p:nvSpPr>
            <p:cNvPr id="31" name="TextBox 30">
              <a:extLst>
                <a:ext uri="{FF2B5EF4-FFF2-40B4-BE49-F238E27FC236}">
                  <a16:creationId xmlns:a16="http://schemas.microsoft.com/office/drawing/2014/main" id="{825CB851-C5A9-AF46-FB6C-2973622305F3}"/>
                </a:ext>
              </a:extLst>
            </p:cNvPr>
            <p:cNvSpPr txBox="1"/>
            <p:nvPr/>
          </p:nvSpPr>
          <p:spPr>
            <a:xfrm>
              <a:off x="21505542" y="7863577"/>
              <a:ext cx="1988849" cy="52322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a:spAutoFit/>
            </a:bodyPr>
            <a:lstStyle/>
            <a:p>
              <a:pPr algn="ctr"/>
              <a:r>
                <a:rPr kumimoji="0" lang="en-US" sz="2800" u="none" strike="noStrike" kern="1200" cap="none" spc="0" normalizeH="0" baseline="0" noProof="0" dirty="0">
                  <a:ln>
                    <a:noFill/>
                  </a:ln>
                  <a:effectLst/>
                  <a:uLnTx/>
                  <a:uFillTx/>
                  <a:latin typeface="IBM Plex Sans Text" panose="020B0503050203000203" pitchFamily="34" charset="0"/>
                </a:rPr>
                <a:t>Employees</a:t>
              </a:r>
              <a:endParaRPr lang="en-US" sz="2800" dirty="0">
                <a:latin typeface="IBM Plex Sans Text" panose="020B0503050203000203" pitchFamily="34" charset="0"/>
              </a:endParaRPr>
            </a:p>
          </p:txBody>
        </p:sp>
      </p:grpSp>
      <p:grpSp>
        <p:nvGrpSpPr>
          <p:cNvPr id="152" name="Group 151">
            <a:extLst>
              <a:ext uri="{FF2B5EF4-FFF2-40B4-BE49-F238E27FC236}">
                <a16:creationId xmlns:a16="http://schemas.microsoft.com/office/drawing/2014/main" id="{ED0E46B7-0DDF-3647-DFBB-C36699B8DABA}"/>
              </a:ext>
            </a:extLst>
          </p:cNvPr>
          <p:cNvGrpSpPr/>
          <p:nvPr/>
        </p:nvGrpSpPr>
        <p:grpSpPr>
          <a:xfrm>
            <a:off x="17398808" y="6030765"/>
            <a:ext cx="3363731" cy="1419494"/>
            <a:chOff x="17303099" y="6727310"/>
            <a:chExt cx="3363731" cy="1419494"/>
          </a:xfrm>
        </p:grpSpPr>
        <p:pic>
          <p:nvPicPr>
            <p:cNvPr id="74" name="Graphic 73">
              <a:extLst>
                <a:ext uri="{FF2B5EF4-FFF2-40B4-BE49-F238E27FC236}">
                  <a16:creationId xmlns:a16="http://schemas.microsoft.com/office/drawing/2014/main" id="{BCE93307-2538-8645-BFD8-3AD3F73B791A}"/>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8527764" y="6727310"/>
              <a:ext cx="914400" cy="914400"/>
            </a:xfrm>
            <a:prstGeom prst="rect">
              <a:avLst/>
            </a:prstGeom>
          </p:spPr>
        </p:pic>
        <p:pic>
          <p:nvPicPr>
            <p:cNvPr id="77" name="Graphic 76">
              <a:extLst>
                <a:ext uri="{FF2B5EF4-FFF2-40B4-BE49-F238E27FC236}">
                  <a16:creationId xmlns:a16="http://schemas.microsoft.com/office/drawing/2014/main" id="{8B3A9D6C-03D6-F650-659B-A0FA5E82EF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7303099" y="7890772"/>
              <a:ext cx="3363731" cy="256032"/>
            </a:xfrm>
            <a:prstGeom prst="rect">
              <a:avLst/>
            </a:prstGeom>
          </p:spPr>
        </p:pic>
      </p:grpSp>
      <p:cxnSp>
        <p:nvCxnSpPr>
          <p:cNvPr id="89" name="Straight Connector 88">
            <a:extLst>
              <a:ext uri="{FF2B5EF4-FFF2-40B4-BE49-F238E27FC236}">
                <a16:creationId xmlns:a16="http://schemas.microsoft.com/office/drawing/2014/main" id="{006FAD2B-8EA7-BD33-0D73-51744F876FE4}"/>
              </a:ext>
            </a:extLst>
          </p:cNvPr>
          <p:cNvCxnSpPr>
            <a:cxnSpLocks/>
          </p:cNvCxnSpPr>
          <p:nvPr/>
        </p:nvCxnSpPr>
        <p:spPr bwMode="auto">
          <a:xfrm flipV="1">
            <a:off x="5814516" y="7346543"/>
            <a:ext cx="2274615" cy="7934"/>
          </a:xfrm>
          <a:prstGeom prst="line">
            <a:avLst/>
          </a:prstGeom>
          <a:ln w="50800" cap="rnd">
            <a:solidFill>
              <a:srgbClr val="82CFFF"/>
            </a:solidFill>
            <a:prstDash val="sysDot"/>
            <a:headEnd type="none" w="med" len="med"/>
            <a:tailEnd type="arrow"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C51BBA3A-8CA4-DC13-08AA-B253FF9181E8}"/>
              </a:ext>
            </a:extLst>
          </p:cNvPr>
          <p:cNvCxnSpPr>
            <a:cxnSpLocks/>
          </p:cNvCxnSpPr>
          <p:nvPr/>
        </p:nvCxnSpPr>
        <p:spPr bwMode="auto">
          <a:xfrm flipV="1">
            <a:off x="5814516" y="3959268"/>
            <a:ext cx="2058591" cy="11502"/>
          </a:xfrm>
          <a:prstGeom prst="line">
            <a:avLst/>
          </a:prstGeom>
          <a:ln w="50800" cap="rnd">
            <a:solidFill>
              <a:srgbClr val="82CFFF"/>
            </a:solidFill>
            <a:prstDash val="sysDot"/>
            <a:headEnd type="none" w="med" len="med"/>
            <a:tailEnd type="arrow" w="med" len="med"/>
          </a:ln>
          <a:effectLst/>
        </p:spPr>
        <p:style>
          <a:lnRef idx="1">
            <a:schemeClr val="dk1"/>
          </a:lnRef>
          <a:fillRef idx="0">
            <a:schemeClr val="dk1"/>
          </a:fillRef>
          <a:effectRef idx="0">
            <a:schemeClr val="dk1"/>
          </a:effectRef>
          <a:fontRef idx="minor">
            <a:schemeClr val="tx1"/>
          </a:fontRef>
        </p:style>
      </p:cxnSp>
      <p:sp>
        <p:nvSpPr>
          <p:cNvPr id="85" name="Rectangle 84">
            <a:extLst>
              <a:ext uri="{FF2B5EF4-FFF2-40B4-BE49-F238E27FC236}">
                <a16:creationId xmlns:a16="http://schemas.microsoft.com/office/drawing/2014/main" id="{75346E05-9221-87AF-26F1-E53A60A0EC4E}"/>
              </a:ext>
            </a:extLst>
          </p:cNvPr>
          <p:cNvSpPr/>
          <p:nvPr/>
        </p:nvSpPr>
        <p:spPr bwMode="auto">
          <a:xfrm>
            <a:off x="8089131" y="6589403"/>
            <a:ext cx="6281611" cy="1982333"/>
          </a:xfrm>
          <a:prstGeom prst="rect">
            <a:avLst/>
          </a:prstGeom>
          <a:solidFill>
            <a:srgbClr val="F6F2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200" tIns="0" rIns="228600" bIns="0" numCol="1" rtlCol="0" anchor="ctr" anchorCtr="0" compatLnSpc="1">
            <a:prstTxWarp prst="textNoShape">
              <a:avLst/>
            </a:prstTxWarp>
          </a:bodyPr>
          <a:lstStyle/>
          <a:p>
            <a:pPr defTabSz="812780">
              <a:spcBef>
                <a:spcPts val="1600"/>
              </a:spcBef>
              <a:defRPr/>
            </a:pPr>
            <a:r>
              <a:rPr lang="en-US" sz="2800" dirty="0">
                <a:solidFill>
                  <a:prstClr val="black"/>
                </a:solidFill>
                <a:latin typeface="IBM Plex Sans Light" panose="020B0403050203000203" pitchFamily="34" charset="0"/>
              </a:rPr>
              <a:t>users of watsonx.ai can </a:t>
            </a:r>
            <a:r>
              <a:rPr lang="en-US" sz="2800" dirty="0">
                <a:solidFill>
                  <a:schemeClr val="accent1"/>
                </a:solidFill>
                <a:latin typeface="IBM Plex Sans Light" panose="020B0403050203000203" pitchFamily="34" charset="0"/>
              </a:rPr>
              <a:t>serve OS </a:t>
            </a:r>
            <a:br>
              <a:rPr lang="en-US" sz="2800" dirty="0">
                <a:solidFill>
                  <a:schemeClr val="accent1"/>
                </a:solidFill>
                <a:latin typeface="IBM Plex Sans Light" panose="020B0403050203000203" pitchFamily="34" charset="0"/>
              </a:rPr>
            </a:br>
            <a:r>
              <a:rPr lang="en-US" sz="2800" dirty="0">
                <a:solidFill>
                  <a:schemeClr val="accent1"/>
                </a:solidFill>
                <a:latin typeface="IBM Plex Sans Light" panose="020B0403050203000203" pitchFamily="34" charset="0"/>
              </a:rPr>
              <a:t>or custom models</a:t>
            </a:r>
            <a:r>
              <a:rPr lang="en-US" sz="2800" dirty="0">
                <a:solidFill>
                  <a:prstClr val="black"/>
                </a:solidFill>
                <a:latin typeface="IBM Plex Sans Light" panose="020B0403050203000203" pitchFamily="34" charset="0"/>
              </a:rPr>
              <a:t> to watsonx Orchestrate</a:t>
            </a:r>
            <a:endParaRPr lang="en-US" sz="2800" dirty="0">
              <a:solidFill>
                <a:schemeClr val="accent1"/>
              </a:solidFill>
              <a:latin typeface="IBM Plex Sans" panose="020B0503050203000203" pitchFamily="34" charset="0"/>
            </a:endParaRPr>
          </a:p>
        </p:txBody>
      </p:sp>
      <p:sp>
        <p:nvSpPr>
          <p:cNvPr id="84" name="Rectangle 83">
            <a:extLst>
              <a:ext uri="{FF2B5EF4-FFF2-40B4-BE49-F238E27FC236}">
                <a16:creationId xmlns:a16="http://schemas.microsoft.com/office/drawing/2014/main" id="{529783BC-811D-0271-F9C6-CBB05A672DF6}"/>
              </a:ext>
            </a:extLst>
          </p:cNvPr>
          <p:cNvSpPr/>
          <p:nvPr/>
        </p:nvSpPr>
        <p:spPr bwMode="auto">
          <a:xfrm>
            <a:off x="8089131" y="3213630"/>
            <a:ext cx="6281611" cy="1982333"/>
          </a:xfrm>
          <a:prstGeom prst="rect">
            <a:avLst/>
          </a:prstGeom>
          <a:solidFill>
            <a:srgbClr val="F6F2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200" tIns="0" rIns="228600" bIns="0" numCol="1" rtlCol="0" anchor="ctr" anchorCtr="0" compatLnSpc="1">
            <a:prstTxWarp prst="textNoShape">
              <a:avLst/>
            </a:prstTxWarp>
          </a:bodyPr>
          <a:lstStyle/>
          <a:p>
            <a:pPr defTabSz="812780">
              <a:spcBef>
                <a:spcPts val="1600"/>
              </a:spcBef>
              <a:defRPr/>
            </a:pPr>
            <a:r>
              <a:rPr lang="en-US" sz="2800" dirty="0">
                <a:solidFill>
                  <a:prstClr val="black"/>
                </a:solidFill>
                <a:latin typeface="IBM Plex Sans Light" panose="020B0403050203000203" pitchFamily="34" charset="0"/>
              </a:rPr>
              <a:t>watsonx.ai delivers </a:t>
            </a:r>
            <a:r>
              <a:rPr lang="en-US" sz="2800" dirty="0">
                <a:solidFill>
                  <a:schemeClr val="accent1"/>
                </a:solidFill>
                <a:latin typeface="IBM Plex Sans Light" panose="020B0403050203000203" pitchFamily="34" charset="0"/>
              </a:rPr>
              <a:t>IBM developed fine-tuned models </a:t>
            </a:r>
            <a:r>
              <a:rPr lang="en-US" sz="2800" dirty="0">
                <a:solidFill>
                  <a:prstClr val="black"/>
                </a:solidFill>
                <a:latin typeface="IBM Plex Sans Light" panose="020B0403050203000203" pitchFamily="34" charset="0"/>
              </a:rPr>
              <a:t>out of the box in watsonx Orchestrate</a:t>
            </a:r>
            <a:endParaRPr lang="en-US" sz="2800" dirty="0">
              <a:solidFill>
                <a:schemeClr val="accent1"/>
              </a:solidFill>
              <a:latin typeface="IBM Plex Sans" panose="020B0503050203000203" pitchFamily="34" charset="0"/>
            </a:endParaRPr>
          </a:p>
        </p:txBody>
      </p:sp>
      <p:sp>
        <p:nvSpPr>
          <p:cNvPr id="86" name="Rectangle 85">
            <a:extLst>
              <a:ext uri="{FF2B5EF4-FFF2-40B4-BE49-F238E27FC236}">
                <a16:creationId xmlns:a16="http://schemas.microsoft.com/office/drawing/2014/main" id="{02DD9436-7058-8F5F-BA8B-26490241439C}"/>
              </a:ext>
            </a:extLst>
          </p:cNvPr>
          <p:cNvSpPr/>
          <p:nvPr/>
        </p:nvSpPr>
        <p:spPr bwMode="auto">
          <a:xfrm>
            <a:off x="8089131" y="9982105"/>
            <a:ext cx="6281611" cy="1982333"/>
          </a:xfrm>
          <a:prstGeom prst="rect">
            <a:avLst/>
          </a:prstGeom>
          <a:solidFill>
            <a:srgbClr val="F6F2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200" tIns="0" rIns="228600" bIns="0" numCol="1" rtlCol="0" anchor="ctr" anchorCtr="0" compatLnSpc="1">
            <a:prstTxWarp prst="textNoShape">
              <a:avLst/>
            </a:prstTxWarp>
          </a:bodyPr>
          <a:lstStyle/>
          <a:p>
            <a:pPr defTabSz="812780">
              <a:spcBef>
                <a:spcPts val="1600"/>
              </a:spcBef>
              <a:defRPr/>
            </a:pPr>
            <a:r>
              <a:rPr lang="en-US" sz="2800" dirty="0">
                <a:solidFill>
                  <a:prstClr val="black"/>
                </a:solidFill>
                <a:latin typeface="IBM Plex Sans Light" panose="020B0403050203000203" pitchFamily="34" charset="0"/>
              </a:rPr>
              <a:t>users of </a:t>
            </a:r>
            <a:r>
              <a:rPr lang="en-US" sz="2800" dirty="0">
                <a:solidFill>
                  <a:schemeClr val="accent1"/>
                </a:solidFill>
                <a:latin typeface="IBM Plex Sans Light" panose="020B0403050203000203" pitchFamily="34" charset="0"/>
              </a:rPr>
              <a:t>3rd party LLMs </a:t>
            </a:r>
            <a:r>
              <a:rPr lang="en-US" sz="2800" dirty="0">
                <a:solidFill>
                  <a:prstClr val="black"/>
                </a:solidFill>
                <a:latin typeface="IBM Plex Sans Light" panose="020B0403050203000203" pitchFamily="34" charset="0"/>
              </a:rPr>
              <a:t>can serve their models to watsonx Orchestrate</a:t>
            </a:r>
            <a:endParaRPr lang="en-US" sz="2800" dirty="0">
              <a:solidFill>
                <a:schemeClr val="accent1"/>
              </a:solidFill>
              <a:latin typeface="IBM Plex Sans" panose="020B0503050203000203" pitchFamily="34" charset="0"/>
            </a:endParaRPr>
          </a:p>
        </p:txBody>
      </p:sp>
      <p:cxnSp>
        <p:nvCxnSpPr>
          <p:cNvPr id="92" name="Straight Connector 91">
            <a:extLst>
              <a:ext uri="{FF2B5EF4-FFF2-40B4-BE49-F238E27FC236}">
                <a16:creationId xmlns:a16="http://schemas.microsoft.com/office/drawing/2014/main" id="{9FBF802C-2B0D-E7D3-0B07-C3D7C5BA5E80}"/>
              </a:ext>
            </a:extLst>
          </p:cNvPr>
          <p:cNvCxnSpPr>
            <a:cxnSpLocks/>
          </p:cNvCxnSpPr>
          <p:nvPr/>
        </p:nvCxnSpPr>
        <p:spPr bwMode="auto">
          <a:xfrm>
            <a:off x="5814516" y="10739245"/>
            <a:ext cx="2274615" cy="0"/>
          </a:xfrm>
          <a:prstGeom prst="line">
            <a:avLst/>
          </a:prstGeom>
          <a:ln w="50800" cap="rnd">
            <a:solidFill>
              <a:srgbClr val="C6C6C6"/>
            </a:solidFill>
            <a:prstDash val="sysDot"/>
            <a:headEnd type="none" w="med" len="med"/>
            <a:tailEnd type="arrow" w="med" len="med"/>
          </a:ln>
          <a:effectLst/>
        </p:spPr>
        <p:style>
          <a:lnRef idx="1">
            <a:schemeClr val="dk1"/>
          </a:lnRef>
          <a:fillRef idx="0">
            <a:schemeClr val="dk1"/>
          </a:fillRef>
          <a:effectRef idx="0">
            <a:schemeClr val="dk1"/>
          </a:effectRef>
          <a:fontRef idx="minor">
            <a:schemeClr val="tx1"/>
          </a:fontRef>
        </p:style>
      </p:cxnSp>
      <p:grpSp>
        <p:nvGrpSpPr>
          <p:cNvPr id="158" name="Group 157">
            <a:extLst>
              <a:ext uri="{FF2B5EF4-FFF2-40B4-BE49-F238E27FC236}">
                <a16:creationId xmlns:a16="http://schemas.microsoft.com/office/drawing/2014/main" id="{369FE23F-C15B-33AC-4BAE-5973FECFDF1E}"/>
              </a:ext>
            </a:extLst>
          </p:cNvPr>
          <p:cNvGrpSpPr/>
          <p:nvPr/>
        </p:nvGrpSpPr>
        <p:grpSpPr>
          <a:xfrm>
            <a:off x="1392387" y="9514011"/>
            <a:ext cx="4343400" cy="2450468"/>
            <a:chOff x="3369520" y="9351976"/>
            <a:chExt cx="4343400" cy="2450468"/>
          </a:xfrm>
        </p:grpSpPr>
        <p:sp>
          <p:nvSpPr>
            <p:cNvPr id="104" name="Rectangle 103">
              <a:extLst>
                <a:ext uri="{FF2B5EF4-FFF2-40B4-BE49-F238E27FC236}">
                  <a16:creationId xmlns:a16="http://schemas.microsoft.com/office/drawing/2014/main" id="{22D8F5A6-4372-43E2-8AC8-4D22FC3C0D0F}"/>
                </a:ext>
              </a:extLst>
            </p:cNvPr>
            <p:cNvSpPr/>
            <p:nvPr/>
          </p:nvSpPr>
          <p:spPr bwMode="auto">
            <a:xfrm>
              <a:off x="3369520" y="9351976"/>
              <a:ext cx="4343400" cy="2450468"/>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200" tIns="0" rIns="228600" bIns="0" numCol="1" rtlCol="0" anchor="ctr" anchorCtr="0" compatLnSpc="1">
              <a:prstTxWarp prst="textNoShape">
                <a:avLst/>
              </a:prstTxWarp>
            </a:bodyPr>
            <a:lstStyle/>
            <a:p>
              <a:pPr defTabSz="812780">
                <a:spcBef>
                  <a:spcPts val="1600"/>
                </a:spcBef>
                <a:defRPr/>
              </a:pPr>
              <a:endParaRPr lang="en-US" sz="1800" dirty="0">
                <a:solidFill>
                  <a:schemeClr val="accent1"/>
                </a:solidFill>
                <a:latin typeface="IBM Plex Sans" panose="020B0503050203000203" pitchFamily="34" charset="0"/>
              </a:endParaRPr>
            </a:p>
          </p:txBody>
        </p:sp>
        <p:sp>
          <p:nvSpPr>
            <p:cNvPr id="108" name="TextBox 107">
              <a:extLst>
                <a:ext uri="{FF2B5EF4-FFF2-40B4-BE49-F238E27FC236}">
                  <a16:creationId xmlns:a16="http://schemas.microsoft.com/office/drawing/2014/main" id="{F5F1D925-7333-BB50-31C5-87E26E4DD79C}"/>
                </a:ext>
              </a:extLst>
            </p:cNvPr>
            <p:cNvSpPr txBox="1"/>
            <p:nvPr/>
          </p:nvSpPr>
          <p:spPr>
            <a:xfrm>
              <a:off x="4091196" y="9603920"/>
              <a:ext cx="3081267" cy="52322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a:spAutoFit/>
            </a:bodyPr>
            <a:lstStyle/>
            <a:p>
              <a:pPr algn="ctr"/>
              <a:r>
                <a:rPr kumimoji="0" lang="en-US" sz="2800" u="none" strike="noStrike" kern="1200" cap="none" spc="0" normalizeH="0" baseline="0" noProof="0" dirty="0">
                  <a:ln>
                    <a:noFill/>
                  </a:ln>
                  <a:effectLst/>
                  <a:uLnTx/>
                  <a:uFillTx/>
                  <a:latin typeface="IBM Plex Sans Light" panose="020B0403050203000203" pitchFamily="34" charset="0"/>
                </a:rPr>
                <a:t>3</a:t>
              </a:r>
              <a:r>
                <a:rPr kumimoji="0" lang="en-US" sz="2800" u="none" strike="noStrike" kern="1200" cap="none" spc="0" normalizeH="0" baseline="30000" noProof="0" dirty="0">
                  <a:ln>
                    <a:noFill/>
                  </a:ln>
                  <a:effectLst/>
                  <a:uLnTx/>
                  <a:uFillTx/>
                  <a:latin typeface="IBM Plex Sans Light" panose="020B0403050203000203" pitchFamily="34" charset="0"/>
                </a:rPr>
                <a:t>rd</a:t>
              </a:r>
              <a:r>
                <a:rPr kumimoji="0" lang="en-US" sz="2800" u="none" strike="noStrike" kern="1200" cap="none" spc="0" normalizeH="0" baseline="0" noProof="0" dirty="0">
                  <a:ln>
                    <a:noFill/>
                  </a:ln>
                  <a:effectLst/>
                  <a:uLnTx/>
                  <a:uFillTx/>
                  <a:latin typeface="IBM Plex Sans Light" panose="020B0403050203000203" pitchFamily="34" charset="0"/>
                </a:rPr>
                <a:t> party provider</a:t>
              </a:r>
              <a:endParaRPr lang="en-US" sz="2800" dirty="0">
                <a:latin typeface="IBM Plex Sans Light" panose="020B0403050203000203" pitchFamily="34" charset="0"/>
              </a:endParaRPr>
            </a:p>
          </p:txBody>
        </p:sp>
        <p:sp>
          <p:nvSpPr>
            <p:cNvPr id="109" name="TextBox 108">
              <a:extLst>
                <a:ext uri="{FF2B5EF4-FFF2-40B4-BE49-F238E27FC236}">
                  <a16:creationId xmlns:a16="http://schemas.microsoft.com/office/drawing/2014/main" id="{9F26D2D9-8E7B-C3C0-6D1D-5E924C026D26}"/>
                </a:ext>
              </a:extLst>
            </p:cNvPr>
            <p:cNvSpPr txBox="1"/>
            <p:nvPr/>
          </p:nvSpPr>
          <p:spPr>
            <a:xfrm>
              <a:off x="4499820" y="11239601"/>
              <a:ext cx="2082801" cy="52322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a:spAutoFit/>
            </a:bodyPr>
            <a:lstStyle/>
            <a:p>
              <a:pPr algn="ctr"/>
              <a:r>
                <a:rPr lang="en-US" sz="2800" dirty="0">
                  <a:latin typeface="IBM Plex Sans Light" panose="020B0403050203000203" pitchFamily="34" charset="0"/>
                </a:rPr>
                <a:t>o</a:t>
              </a:r>
              <a:r>
                <a:rPr kumimoji="0" lang="en-US" sz="2800" u="none" strike="noStrike" kern="1200" cap="none" spc="0" normalizeH="0" baseline="0" noProof="0" dirty="0">
                  <a:ln>
                    <a:noFill/>
                  </a:ln>
                  <a:effectLst/>
                  <a:uLnTx/>
                  <a:uFillTx/>
                  <a:latin typeface="IBM Plex Sans Light" panose="020B0403050203000203" pitchFamily="34" charset="0"/>
                </a:rPr>
                <a:t>ther LLMs</a:t>
              </a:r>
              <a:endParaRPr lang="en-US" sz="2800" dirty="0">
                <a:latin typeface="IBM Plex Sans Light" panose="020B0403050203000203" pitchFamily="34" charset="0"/>
              </a:endParaRPr>
            </a:p>
          </p:txBody>
        </p:sp>
        <p:pic>
          <p:nvPicPr>
            <p:cNvPr id="111" name="Graphic 110">
              <a:extLst>
                <a:ext uri="{FF2B5EF4-FFF2-40B4-BE49-F238E27FC236}">
                  <a16:creationId xmlns:a16="http://schemas.microsoft.com/office/drawing/2014/main" id="{3902FD1F-FFE0-38F6-2E20-CC8870295F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98320" y="10234310"/>
              <a:ext cx="685800" cy="685800"/>
            </a:xfrm>
            <a:prstGeom prst="rect">
              <a:avLst/>
            </a:prstGeom>
          </p:spPr>
        </p:pic>
      </p:grpSp>
      <p:grpSp>
        <p:nvGrpSpPr>
          <p:cNvPr id="157" name="Group 156">
            <a:extLst>
              <a:ext uri="{FF2B5EF4-FFF2-40B4-BE49-F238E27FC236}">
                <a16:creationId xmlns:a16="http://schemas.microsoft.com/office/drawing/2014/main" id="{32E0DE1B-7B8D-6183-C593-BF676010B6E5}"/>
              </a:ext>
            </a:extLst>
          </p:cNvPr>
          <p:cNvGrpSpPr/>
          <p:nvPr/>
        </p:nvGrpSpPr>
        <p:grpSpPr>
          <a:xfrm>
            <a:off x="1392387" y="2745536"/>
            <a:ext cx="4343400" cy="6291072"/>
            <a:chOff x="3369520" y="2583503"/>
            <a:chExt cx="4343400" cy="6291072"/>
          </a:xfrm>
        </p:grpSpPr>
        <p:sp>
          <p:nvSpPr>
            <p:cNvPr id="102" name="Rectangle 101">
              <a:extLst>
                <a:ext uri="{FF2B5EF4-FFF2-40B4-BE49-F238E27FC236}">
                  <a16:creationId xmlns:a16="http://schemas.microsoft.com/office/drawing/2014/main" id="{C597F84F-158E-3C42-75A8-CF9ABC652E2C}"/>
                </a:ext>
              </a:extLst>
            </p:cNvPr>
            <p:cNvSpPr/>
            <p:nvPr/>
          </p:nvSpPr>
          <p:spPr bwMode="auto">
            <a:xfrm>
              <a:off x="3369520" y="2583503"/>
              <a:ext cx="4343400" cy="6291072"/>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200" tIns="0" rIns="228600" bIns="0" numCol="1" rtlCol="0" anchor="ctr" anchorCtr="0" compatLnSpc="1">
              <a:prstTxWarp prst="textNoShape">
                <a:avLst/>
              </a:prstTxWarp>
            </a:bodyPr>
            <a:lstStyle/>
            <a:p>
              <a:pPr defTabSz="812780">
                <a:spcBef>
                  <a:spcPts val="1600"/>
                </a:spcBef>
                <a:defRPr/>
              </a:pPr>
              <a:endParaRPr lang="en-US" sz="1800" dirty="0">
                <a:solidFill>
                  <a:schemeClr val="accent1"/>
                </a:solidFill>
                <a:latin typeface="IBM Plex Sans" panose="020B0503050203000203" pitchFamily="34" charset="0"/>
              </a:endParaRPr>
            </a:p>
          </p:txBody>
        </p:sp>
        <p:pic>
          <p:nvPicPr>
            <p:cNvPr id="23" name="Graphic 22">
              <a:extLst>
                <a:ext uri="{FF2B5EF4-FFF2-40B4-BE49-F238E27FC236}">
                  <a16:creationId xmlns:a16="http://schemas.microsoft.com/office/drawing/2014/main" id="{226997CE-A079-D210-0318-653298B1C90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655270" y="2861840"/>
              <a:ext cx="685800" cy="685800"/>
            </a:xfrm>
            <a:prstGeom prst="rect">
              <a:avLst/>
            </a:prstGeom>
          </p:spPr>
        </p:pic>
        <p:pic>
          <p:nvPicPr>
            <p:cNvPr id="94" name="Graphic 93">
              <a:extLst>
                <a:ext uri="{FF2B5EF4-FFF2-40B4-BE49-F238E27FC236}">
                  <a16:creationId xmlns:a16="http://schemas.microsoft.com/office/drawing/2014/main" id="{A1C51E98-FE65-68E2-86CF-61E4E47F6D5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626820" y="3075054"/>
              <a:ext cx="1828800" cy="259373"/>
            </a:xfrm>
            <a:prstGeom prst="rect">
              <a:avLst/>
            </a:prstGeom>
          </p:spPr>
        </p:pic>
        <p:grpSp>
          <p:nvGrpSpPr>
            <p:cNvPr id="145" name="Group 144">
              <a:extLst>
                <a:ext uri="{FF2B5EF4-FFF2-40B4-BE49-F238E27FC236}">
                  <a16:creationId xmlns:a16="http://schemas.microsoft.com/office/drawing/2014/main" id="{E42490BE-D90C-58F1-FE60-19C8C4CE42BE}"/>
                </a:ext>
              </a:extLst>
            </p:cNvPr>
            <p:cNvGrpSpPr/>
            <p:nvPr/>
          </p:nvGrpSpPr>
          <p:grpSpPr>
            <a:xfrm>
              <a:off x="4732340" y="7330367"/>
              <a:ext cx="1617760" cy="1427577"/>
              <a:chOff x="21657848" y="3216953"/>
              <a:chExt cx="1617760" cy="1427577"/>
            </a:xfrm>
          </p:grpSpPr>
          <p:sp>
            <p:nvSpPr>
              <p:cNvPr id="134" name="TextBox 133">
                <a:extLst>
                  <a:ext uri="{FF2B5EF4-FFF2-40B4-BE49-F238E27FC236}">
                    <a16:creationId xmlns:a16="http://schemas.microsoft.com/office/drawing/2014/main" id="{52EBC437-E832-7408-C779-158B9A357C09}"/>
                  </a:ext>
                </a:extLst>
              </p:cNvPr>
              <p:cNvSpPr txBox="1"/>
              <p:nvPr/>
            </p:nvSpPr>
            <p:spPr>
              <a:xfrm>
                <a:off x="21657848" y="4121310"/>
                <a:ext cx="1617760" cy="52322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a:spAutoFit/>
              </a:bodyPr>
              <a:lstStyle/>
              <a:p>
                <a:pPr algn="ctr"/>
                <a:r>
                  <a:rPr kumimoji="0" lang="en-US" sz="2800" u="none" strike="noStrike" kern="1200" cap="none" spc="0" normalizeH="0" baseline="0" noProof="0" dirty="0">
                    <a:ln>
                      <a:noFill/>
                    </a:ln>
                    <a:effectLst/>
                    <a:uLnTx/>
                    <a:uFillTx/>
                    <a:latin typeface="IBM Plex Sans Light" panose="020B0403050203000203" pitchFamily="34" charset="0"/>
                  </a:rPr>
                  <a:t>Efficient</a:t>
                </a:r>
                <a:endParaRPr lang="en-US" sz="2800" dirty="0">
                  <a:latin typeface="IBM Plex Sans Light" panose="020B0403050203000203" pitchFamily="34" charset="0"/>
                </a:endParaRPr>
              </a:p>
            </p:txBody>
          </p:sp>
          <p:sp>
            <p:nvSpPr>
              <p:cNvPr id="140" name="Freeform 139">
                <a:extLst>
                  <a:ext uri="{FF2B5EF4-FFF2-40B4-BE49-F238E27FC236}">
                    <a16:creationId xmlns:a16="http://schemas.microsoft.com/office/drawing/2014/main" id="{DD67D044-2FA4-08C0-2E6E-C0258FD6A6FC}"/>
                  </a:ext>
                </a:extLst>
              </p:cNvPr>
              <p:cNvSpPr>
                <a:spLocks noChangeAspect="1"/>
              </p:cNvSpPr>
              <p:nvPr/>
            </p:nvSpPr>
            <p:spPr>
              <a:xfrm>
                <a:off x="22123828" y="3216953"/>
                <a:ext cx="685800" cy="682490"/>
              </a:xfrm>
              <a:custGeom>
                <a:avLst/>
                <a:gdLst>
                  <a:gd name="connsiteX0" fmla="*/ 610362 w 882081"/>
                  <a:gd name="connsiteY0" fmla="*/ 877824 h 877824"/>
                  <a:gd name="connsiteX1" fmla="*/ 514350 w 882081"/>
                  <a:gd name="connsiteY1" fmla="*/ 781812 h 877824"/>
                  <a:gd name="connsiteX2" fmla="*/ 514350 w 882081"/>
                  <a:gd name="connsiteY2" fmla="*/ 524637 h 877824"/>
                  <a:gd name="connsiteX3" fmla="*/ 534953 w 882081"/>
                  <a:gd name="connsiteY3" fmla="*/ 524637 h 877824"/>
                  <a:gd name="connsiteX4" fmla="*/ 534953 w 882081"/>
                  <a:gd name="connsiteY4" fmla="*/ 781812 h 877824"/>
                  <a:gd name="connsiteX5" fmla="*/ 610391 w 882081"/>
                  <a:gd name="connsiteY5" fmla="*/ 857250 h 877824"/>
                  <a:gd name="connsiteX6" fmla="*/ 685829 w 882081"/>
                  <a:gd name="connsiteY6" fmla="*/ 781812 h 877824"/>
                  <a:gd name="connsiteX7" fmla="*/ 685829 w 882081"/>
                  <a:gd name="connsiteY7" fmla="*/ 638937 h 877824"/>
                  <a:gd name="connsiteX8" fmla="*/ 706431 w 882081"/>
                  <a:gd name="connsiteY8" fmla="*/ 638937 h 877824"/>
                  <a:gd name="connsiteX9" fmla="*/ 706431 w 882081"/>
                  <a:gd name="connsiteY9" fmla="*/ 781812 h 877824"/>
                  <a:gd name="connsiteX10" fmla="*/ 610362 w 882081"/>
                  <a:gd name="connsiteY10" fmla="*/ 877824 h 877824"/>
                  <a:gd name="connsiteX11" fmla="*/ 267462 w 882081"/>
                  <a:gd name="connsiteY11" fmla="*/ 877824 h 877824"/>
                  <a:gd name="connsiteX12" fmla="*/ 171450 w 882081"/>
                  <a:gd name="connsiteY12" fmla="*/ 781812 h 877824"/>
                  <a:gd name="connsiteX13" fmla="*/ 171450 w 882081"/>
                  <a:gd name="connsiteY13" fmla="*/ 524637 h 877824"/>
                  <a:gd name="connsiteX14" fmla="*/ 192024 w 882081"/>
                  <a:gd name="connsiteY14" fmla="*/ 524637 h 877824"/>
                  <a:gd name="connsiteX15" fmla="*/ 192024 w 882081"/>
                  <a:gd name="connsiteY15" fmla="*/ 781812 h 877824"/>
                  <a:gd name="connsiteX16" fmla="*/ 267462 w 882081"/>
                  <a:gd name="connsiteY16" fmla="*/ 857250 h 877824"/>
                  <a:gd name="connsiteX17" fmla="*/ 342900 w 882081"/>
                  <a:gd name="connsiteY17" fmla="*/ 781812 h 877824"/>
                  <a:gd name="connsiteX18" fmla="*/ 342900 w 882081"/>
                  <a:gd name="connsiteY18" fmla="*/ 96012 h 877824"/>
                  <a:gd name="connsiteX19" fmla="*/ 438912 w 882081"/>
                  <a:gd name="connsiteY19" fmla="*/ 0 h 877824"/>
                  <a:gd name="connsiteX20" fmla="*/ 534924 w 882081"/>
                  <a:gd name="connsiteY20" fmla="*/ 96012 h 877824"/>
                  <a:gd name="connsiteX21" fmla="*/ 534924 w 882081"/>
                  <a:gd name="connsiteY21" fmla="*/ 353187 h 877824"/>
                  <a:gd name="connsiteX22" fmla="*/ 514350 w 882081"/>
                  <a:gd name="connsiteY22" fmla="*/ 353187 h 877824"/>
                  <a:gd name="connsiteX23" fmla="*/ 514350 w 882081"/>
                  <a:gd name="connsiteY23" fmla="*/ 96012 h 877824"/>
                  <a:gd name="connsiteX24" fmla="*/ 438912 w 882081"/>
                  <a:gd name="connsiteY24" fmla="*/ 20574 h 877824"/>
                  <a:gd name="connsiteX25" fmla="*/ 363474 w 882081"/>
                  <a:gd name="connsiteY25" fmla="*/ 96012 h 877824"/>
                  <a:gd name="connsiteX26" fmla="*/ 363474 w 882081"/>
                  <a:gd name="connsiteY26" fmla="*/ 781812 h 877824"/>
                  <a:gd name="connsiteX27" fmla="*/ 267462 w 882081"/>
                  <a:gd name="connsiteY27" fmla="*/ 877824 h 877824"/>
                  <a:gd name="connsiteX28" fmla="*/ 760524 w 882081"/>
                  <a:gd name="connsiteY28" fmla="*/ 560499 h 877824"/>
                  <a:gd name="connsiteX29" fmla="*/ 745950 w 882081"/>
                  <a:gd name="connsiteY29" fmla="*/ 545925 h 877824"/>
                  <a:gd name="connsiteX30" fmla="*/ 842705 w 882081"/>
                  <a:gd name="connsiteY30" fmla="*/ 449199 h 877824"/>
                  <a:gd name="connsiteX31" fmla="*/ 438912 w 882081"/>
                  <a:gd name="connsiteY31" fmla="*/ 449199 h 877824"/>
                  <a:gd name="connsiteX32" fmla="*/ 438912 w 882081"/>
                  <a:gd name="connsiteY32" fmla="*/ 428625 h 877824"/>
                  <a:gd name="connsiteX33" fmla="*/ 842705 w 882081"/>
                  <a:gd name="connsiteY33" fmla="*/ 428625 h 877824"/>
                  <a:gd name="connsiteX34" fmla="*/ 745950 w 882081"/>
                  <a:gd name="connsiteY34" fmla="*/ 331870 h 877824"/>
                  <a:gd name="connsiteX35" fmla="*/ 760524 w 882081"/>
                  <a:gd name="connsiteY35" fmla="*/ 317325 h 877824"/>
                  <a:gd name="connsiteX36" fmla="*/ 882082 w 882081"/>
                  <a:gd name="connsiteY36" fmla="*/ 438912 h 877824"/>
                  <a:gd name="connsiteX37" fmla="*/ 760524 w 882081"/>
                  <a:gd name="connsiteY37" fmla="*/ 560499 h 877824"/>
                  <a:gd name="connsiteX38" fmla="*/ 267462 w 882081"/>
                  <a:gd name="connsiteY38" fmla="*/ 449199 h 877824"/>
                  <a:gd name="connsiteX39" fmla="*/ 10287 w 882081"/>
                  <a:gd name="connsiteY39" fmla="*/ 449199 h 877824"/>
                  <a:gd name="connsiteX40" fmla="*/ 10287 w 882081"/>
                  <a:gd name="connsiteY40" fmla="*/ 428625 h 877824"/>
                  <a:gd name="connsiteX41" fmla="*/ 267462 w 882081"/>
                  <a:gd name="connsiteY41" fmla="*/ 428625 h 877824"/>
                  <a:gd name="connsiteX42" fmla="*/ 267462 w 882081"/>
                  <a:gd name="connsiteY42" fmla="*/ 449199 h 877824"/>
                  <a:gd name="connsiteX43" fmla="*/ 192024 w 882081"/>
                  <a:gd name="connsiteY43" fmla="*/ 353187 h 877824"/>
                  <a:gd name="connsiteX44" fmla="*/ 171450 w 882081"/>
                  <a:gd name="connsiteY44" fmla="*/ 353187 h 877824"/>
                  <a:gd name="connsiteX45" fmla="*/ 171450 w 882081"/>
                  <a:gd name="connsiteY45" fmla="*/ 96012 h 877824"/>
                  <a:gd name="connsiteX46" fmla="*/ 96012 w 882081"/>
                  <a:gd name="connsiteY46" fmla="*/ 20574 h 877824"/>
                  <a:gd name="connsiteX47" fmla="*/ 20574 w 882081"/>
                  <a:gd name="connsiteY47" fmla="*/ 96012 h 877824"/>
                  <a:gd name="connsiteX48" fmla="*/ 20574 w 882081"/>
                  <a:gd name="connsiteY48" fmla="*/ 353187 h 877824"/>
                  <a:gd name="connsiteX49" fmla="*/ 0 w 882081"/>
                  <a:gd name="connsiteY49" fmla="*/ 353187 h 877824"/>
                  <a:gd name="connsiteX50" fmla="*/ 0 w 882081"/>
                  <a:gd name="connsiteY50" fmla="*/ 96012 h 877824"/>
                  <a:gd name="connsiteX51" fmla="*/ 96012 w 882081"/>
                  <a:gd name="connsiteY51" fmla="*/ 0 h 877824"/>
                  <a:gd name="connsiteX52" fmla="*/ 192024 w 882081"/>
                  <a:gd name="connsiteY52" fmla="*/ 96012 h 877824"/>
                  <a:gd name="connsiteX53" fmla="*/ 192024 w 882081"/>
                  <a:gd name="connsiteY53" fmla="*/ 353187 h 877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82081" h="877824">
                    <a:moveTo>
                      <a:pt x="610362" y="877824"/>
                    </a:moveTo>
                    <a:cubicBezTo>
                      <a:pt x="557413" y="877824"/>
                      <a:pt x="514350" y="834733"/>
                      <a:pt x="514350" y="781812"/>
                    </a:cubicBezTo>
                    <a:lnTo>
                      <a:pt x="514350" y="524637"/>
                    </a:lnTo>
                    <a:lnTo>
                      <a:pt x="534953" y="524637"/>
                    </a:lnTo>
                    <a:lnTo>
                      <a:pt x="534953" y="781812"/>
                    </a:lnTo>
                    <a:cubicBezTo>
                      <a:pt x="534953" y="823417"/>
                      <a:pt x="568785" y="857250"/>
                      <a:pt x="610391" y="857250"/>
                    </a:cubicBezTo>
                    <a:cubicBezTo>
                      <a:pt x="651996" y="857250"/>
                      <a:pt x="685829" y="823417"/>
                      <a:pt x="685829" y="781812"/>
                    </a:cubicBezTo>
                    <a:lnTo>
                      <a:pt x="685829" y="638937"/>
                    </a:lnTo>
                    <a:lnTo>
                      <a:pt x="706431" y="638937"/>
                    </a:lnTo>
                    <a:lnTo>
                      <a:pt x="706431" y="781812"/>
                    </a:lnTo>
                    <a:cubicBezTo>
                      <a:pt x="706374" y="834762"/>
                      <a:pt x="663312" y="877824"/>
                      <a:pt x="610362" y="877824"/>
                    </a:cubicBezTo>
                    <a:close/>
                    <a:moveTo>
                      <a:pt x="267462" y="877824"/>
                    </a:moveTo>
                    <a:cubicBezTo>
                      <a:pt x="214513" y="877824"/>
                      <a:pt x="171450" y="834733"/>
                      <a:pt x="171450" y="781812"/>
                    </a:cubicBezTo>
                    <a:lnTo>
                      <a:pt x="171450" y="524637"/>
                    </a:lnTo>
                    <a:lnTo>
                      <a:pt x="192024" y="524637"/>
                    </a:lnTo>
                    <a:lnTo>
                      <a:pt x="192024" y="781812"/>
                    </a:lnTo>
                    <a:cubicBezTo>
                      <a:pt x="192024" y="823417"/>
                      <a:pt x="225885" y="857250"/>
                      <a:pt x="267462" y="857250"/>
                    </a:cubicBezTo>
                    <a:cubicBezTo>
                      <a:pt x="309039" y="857250"/>
                      <a:pt x="342900" y="823417"/>
                      <a:pt x="342900" y="781812"/>
                    </a:cubicBezTo>
                    <a:lnTo>
                      <a:pt x="342900" y="96012"/>
                    </a:lnTo>
                    <a:cubicBezTo>
                      <a:pt x="342900" y="43063"/>
                      <a:pt x="385963" y="0"/>
                      <a:pt x="438912" y="0"/>
                    </a:cubicBezTo>
                    <a:cubicBezTo>
                      <a:pt x="491862" y="0"/>
                      <a:pt x="534924" y="43063"/>
                      <a:pt x="534924" y="96012"/>
                    </a:cubicBezTo>
                    <a:lnTo>
                      <a:pt x="534924" y="353187"/>
                    </a:lnTo>
                    <a:lnTo>
                      <a:pt x="514350" y="353187"/>
                    </a:lnTo>
                    <a:lnTo>
                      <a:pt x="514350" y="96012"/>
                    </a:lnTo>
                    <a:cubicBezTo>
                      <a:pt x="514350" y="54407"/>
                      <a:pt x="480517" y="20574"/>
                      <a:pt x="438912" y="20574"/>
                    </a:cubicBezTo>
                    <a:cubicBezTo>
                      <a:pt x="397307" y="20574"/>
                      <a:pt x="363474" y="54435"/>
                      <a:pt x="363474" y="96012"/>
                    </a:cubicBezTo>
                    <a:lnTo>
                      <a:pt x="363474" y="781812"/>
                    </a:lnTo>
                    <a:cubicBezTo>
                      <a:pt x="363474" y="834762"/>
                      <a:pt x="320411" y="877824"/>
                      <a:pt x="267462" y="877824"/>
                    </a:cubicBezTo>
                    <a:close/>
                    <a:moveTo>
                      <a:pt x="760524" y="560499"/>
                    </a:moveTo>
                    <a:lnTo>
                      <a:pt x="745950" y="545925"/>
                    </a:lnTo>
                    <a:lnTo>
                      <a:pt x="842705" y="449199"/>
                    </a:lnTo>
                    <a:lnTo>
                      <a:pt x="438912" y="449199"/>
                    </a:lnTo>
                    <a:lnTo>
                      <a:pt x="438912" y="428625"/>
                    </a:lnTo>
                    <a:lnTo>
                      <a:pt x="842705" y="428625"/>
                    </a:lnTo>
                    <a:lnTo>
                      <a:pt x="745950" y="331870"/>
                    </a:lnTo>
                    <a:lnTo>
                      <a:pt x="760524" y="317325"/>
                    </a:lnTo>
                    <a:lnTo>
                      <a:pt x="882082" y="438912"/>
                    </a:lnTo>
                    <a:lnTo>
                      <a:pt x="760524" y="560499"/>
                    </a:lnTo>
                    <a:close/>
                    <a:moveTo>
                      <a:pt x="267462" y="449199"/>
                    </a:moveTo>
                    <a:lnTo>
                      <a:pt x="10287" y="449199"/>
                    </a:lnTo>
                    <a:lnTo>
                      <a:pt x="10287" y="428625"/>
                    </a:lnTo>
                    <a:lnTo>
                      <a:pt x="267462" y="428625"/>
                    </a:lnTo>
                    <a:lnTo>
                      <a:pt x="267462" y="449199"/>
                    </a:lnTo>
                    <a:close/>
                    <a:moveTo>
                      <a:pt x="192024" y="353187"/>
                    </a:moveTo>
                    <a:lnTo>
                      <a:pt x="171450" y="353187"/>
                    </a:lnTo>
                    <a:lnTo>
                      <a:pt x="171450" y="96012"/>
                    </a:lnTo>
                    <a:cubicBezTo>
                      <a:pt x="171450" y="54407"/>
                      <a:pt x="137589" y="20574"/>
                      <a:pt x="96012" y="20574"/>
                    </a:cubicBezTo>
                    <a:cubicBezTo>
                      <a:pt x="54435" y="20574"/>
                      <a:pt x="20574" y="54407"/>
                      <a:pt x="20574" y="96012"/>
                    </a:cubicBezTo>
                    <a:lnTo>
                      <a:pt x="20574" y="353187"/>
                    </a:lnTo>
                    <a:lnTo>
                      <a:pt x="0" y="353187"/>
                    </a:lnTo>
                    <a:lnTo>
                      <a:pt x="0" y="96012"/>
                    </a:lnTo>
                    <a:cubicBezTo>
                      <a:pt x="0" y="43063"/>
                      <a:pt x="43063" y="0"/>
                      <a:pt x="96012" y="0"/>
                    </a:cubicBezTo>
                    <a:cubicBezTo>
                      <a:pt x="148961" y="0"/>
                      <a:pt x="192024" y="43063"/>
                      <a:pt x="192024" y="96012"/>
                    </a:cubicBezTo>
                    <a:lnTo>
                      <a:pt x="192024" y="353187"/>
                    </a:lnTo>
                    <a:close/>
                  </a:path>
                </a:pathLst>
              </a:custGeom>
              <a:solidFill>
                <a:srgbClr val="0F62FE"/>
              </a:solidFill>
              <a:ln w="28575" cap="flat">
                <a:noFill/>
                <a:prstDash val="solid"/>
                <a:miter/>
              </a:ln>
            </p:spPr>
            <p:txBody>
              <a:bodyPr rtlCol="0" anchor="ctr"/>
              <a:lstStyle/>
              <a:p>
                <a:endParaRPr lang="en-US"/>
              </a:p>
            </p:txBody>
          </p:sp>
        </p:grpSp>
        <p:grpSp>
          <p:nvGrpSpPr>
            <p:cNvPr id="144" name="Group 143">
              <a:extLst>
                <a:ext uri="{FF2B5EF4-FFF2-40B4-BE49-F238E27FC236}">
                  <a16:creationId xmlns:a16="http://schemas.microsoft.com/office/drawing/2014/main" id="{18221711-E074-4EA4-6E79-21523A50F32C}"/>
                </a:ext>
              </a:extLst>
            </p:cNvPr>
            <p:cNvGrpSpPr/>
            <p:nvPr/>
          </p:nvGrpSpPr>
          <p:grpSpPr>
            <a:xfrm>
              <a:off x="4256637" y="3797235"/>
              <a:ext cx="2750386" cy="1484405"/>
              <a:chOff x="16864145" y="3221680"/>
              <a:chExt cx="2750386" cy="1484405"/>
            </a:xfrm>
          </p:grpSpPr>
          <p:sp>
            <p:nvSpPr>
              <p:cNvPr id="130" name="TextBox 129">
                <a:extLst>
                  <a:ext uri="{FF2B5EF4-FFF2-40B4-BE49-F238E27FC236}">
                    <a16:creationId xmlns:a16="http://schemas.microsoft.com/office/drawing/2014/main" id="{1A211BDA-C36B-2F50-416F-8A0042B7A9FF}"/>
                  </a:ext>
                </a:extLst>
              </p:cNvPr>
              <p:cNvSpPr txBox="1"/>
              <p:nvPr/>
            </p:nvSpPr>
            <p:spPr>
              <a:xfrm>
                <a:off x="16864145" y="4121310"/>
                <a:ext cx="2750386" cy="58477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a:spAutoFit/>
              </a:bodyPr>
              <a:lstStyle/>
              <a:p>
                <a:pPr algn="ctr"/>
                <a:r>
                  <a:rPr kumimoji="0" lang="en-US" sz="3200" u="none" strike="noStrike" kern="1200" cap="none" spc="0" normalizeH="0" baseline="0" noProof="0" dirty="0">
                    <a:ln>
                      <a:noFill/>
                    </a:ln>
                    <a:effectLst/>
                    <a:uLnTx/>
                    <a:uFillTx/>
                    <a:latin typeface="IBM Plex Sans Light" panose="020B0403050203000203" pitchFamily="34" charset="0"/>
                  </a:rPr>
                  <a:t>Trustworthy</a:t>
                </a:r>
                <a:endParaRPr lang="en-US" sz="3200" dirty="0">
                  <a:latin typeface="IBM Plex Sans Light" panose="020B0403050203000203" pitchFamily="34" charset="0"/>
                </a:endParaRPr>
              </a:p>
            </p:txBody>
          </p:sp>
          <p:sp>
            <p:nvSpPr>
              <p:cNvPr id="141" name="Freeform 140">
                <a:extLst>
                  <a:ext uri="{FF2B5EF4-FFF2-40B4-BE49-F238E27FC236}">
                    <a16:creationId xmlns:a16="http://schemas.microsoft.com/office/drawing/2014/main" id="{F78F4DCD-AF57-8F0A-11BE-BA2F30D4B29F}"/>
                  </a:ext>
                </a:extLst>
              </p:cNvPr>
              <p:cNvSpPr>
                <a:spLocks noChangeAspect="1"/>
              </p:cNvSpPr>
              <p:nvPr/>
            </p:nvSpPr>
            <p:spPr>
              <a:xfrm>
                <a:off x="17805828" y="3221680"/>
                <a:ext cx="685800" cy="677763"/>
              </a:xfrm>
              <a:custGeom>
                <a:avLst/>
                <a:gdLst>
                  <a:gd name="connsiteX0" fmla="*/ 877824 w 877824"/>
                  <a:gd name="connsiteY0" fmla="*/ 867537 h 867537"/>
                  <a:gd name="connsiteX1" fmla="*/ 857250 w 877824"/>
                  <a:gd name="connsiteY1" fmla="*/ 867537 h 867537"/>
                  <a:gd name="connsiteX2" fmla="*/ 532667 w 877824"/>
                  <a:gd name="connsiteY2" fmla="*/ 473431 h 867537"/>
                  <a:gd name="connsiteX3" fmla="*/ 524808 w 877824"/>
                  <a:gd name="connsiteY3" fmla="*/ 464372 h 867537"/>
                  <a:gd name="connsiteX4" fmla="*/ 530866 w 877824"/>
                  <a:gd name="connsiteY4" fmla="*/ 454028 h 867537"/>
                  <a:gd name="connsiteX5" fmla="*/ 665455 w 877824"/>
                  <a:gd name="connsiteY5" fmla="*/ 247117 h 867537"/>
                  <a:gd name="connsiteX6" fmla="*/ 438941 w 877824"/>
                  <a:gd name="connsiteY6" fmla="*/ 20603 h 867537"/>
                  <a:gd name="connsiteX7" fmla="*/ 212398 w 877824"/>
                  <a:gd name="connsiteY7" fmla="*/ 247117 h 867537"/>
                  <a:gd name="connsiteX8" fmla="*/ 347015 w 877824"/>
                  <a:gd name="connsiteY8" fmla="*/ 454028 h 867537"/>
                  <a:gd name="connsiteX9" fmla="*/ 353073 w 877824"/>
                  <a:gd name="connsiteY9" fmla="*/ 464372 h 867537"/>
                  <a:gd name="connsiteX10" fmla="*/ 345215 w 877824"/>
                  <a:gd name="connsiteY10" fmla="*/ 473431 h 867537"/>
                  <a:gd name="connsiteX11" fmla="*/ 20574 w 877824"/>
                  <a:gd name="connsiteY11" fmla="*/ 867537 h 867537"/>
                  <a:gd name="connsiteX12" fmla="*/ 0 w 877824"/>
                  <a:gd name="connsiteY12" fmla="*/ 867537 h 867537"/>
                  <a:gd name="connsiteX13" fmla="*/ 314382 w 877824"/>
                  <a:gd name="connsiteY13" fmla="*/ 460400 h 867537"/>
                  <a:gd name="connsiteX14" fmla="*/ 191767 w 877824"/>
                  <a:gd name="connsiteY14" fmla="*/ 247088 h 867537"/>
                  <a:gd name="connsiteX15" fmla="*/ 438883 w 877824"/>
                  <a:gd name="connsiteY15" fmla="*/ 0 h 867537"/>
                  <a:gd name="connsiteX16" fmla="*/ 685971 w 877824"/>
                  <a:gd name="connsiteY16" fmla="*/ 247088 h 867537"/>
                  <a:gd name="connsiteX17" fmla="*/ 563385 w 877824"/>
                  <a:gd name="connsiteY17" fmla="*/ 460400 h 867537"/>
                  <a:gd name="connsiteX18" fmla="*/ 877824 w 877824"/>
                  <a:gd name="connsiteY18" fmla="*/ 867537 h 867537"/>
                  <a:gd name="connsiteX19" fmla="*/ 438912 w 877824"/>
                  <a:gd name="connsiteY19" fmla="*/ 849249 h 867537"/>
                  <a:gd name="connsiteX20" fmla="*/ 431654 w 877824"/>
                  <a:gd name="connsiteY20" fmla="*/ 846249 h 867537"/>
                  <a:gd name="connsiteX21" fmla="*/ 318440 w 877824"/>
                  <a:gd name="connsiteY21" fmla="*/ 733034 h 867537"/>
                  <a:gd name="connsiteX22" fmla="*/ 295637 w 877824"/>
                  <a:gd name="connsiteY22" fmla="*/ 678313 h 867537"/>
                  <a:gd name="connsiteX23" fmla="*/ 318411 w 877824"/>
                  <a:gd name="connsiteY23" fmla="*/ 622935 h 867537"/>
                  <a:gd name="connsiteX24" fmla="*/ 373304 w 877824"/>
                  <a:gd name="connsiteY24" fmla="*/ 600075 h 867537"/>
                  <a:gd name="connsiteX25" fmla="*/ 373418 w 877824"/>
                  <a:gd name="connsiteY25" fmla="*/ 600075 h 867537"/>
                  <a:gd name="connsiteX26" fmla="*/ 428454 w 877824"/>
                  <a:gd name="connsiteY26" fmla="*/ 622935 h 867537"/>
                  <a:gd name="connsiteX27" fmla="*/ 438912 w 877824"/>
                  <a:gd name="connsiteY27" fmla="*/ 633365 h 867537"/>
                  <a:gd name="connsiteX28" fmla="*/ 449342 w 877824"/>
                  <a:gd name="connsiteY28" fmla="*/ 622935 h 867537"/>
                  <a:gd name="connsiteX29" fmla="*/ 559413 w 877824"/>
                  <a:gd name="connsiteY29" fmla="*/ 622935 h 867537"/>
                  <a:gd name="connsiteX30" fmla="*/ 582216 w 877824"/>
                  <a:gd name="connsiteY30" fmla="*/ 679399 h 867537"/>
                  <a:gd name="connsiteX31" fmla="*/ 559413 w 877824"/>
                  <a:gd name="connsiteY31" fmla="*/ 733063 h 867537"/>
                  <a:gd name="connsiteX32" fmla="*/ 446199 w 877824"/>
                  <a:gd name="connsiteY32" fmla="*/ 846277 h 867537"/>
                  <a:gd name="connsiteX33" fmla="*/ 438912 w 877824"/>
                  <a:gd name="connsiteY33" fmla="*/ 849249 h 867537"/>
                  <a:gd name="connsiteX34" fmla="*/ 373447 w 877824"/>
                  <a:gd name="connsiteY34" fmla="*/ 620649 h 867537"/>
                  <a:gd name="connsiteX35" fmla="*/ 373361 w 877824"/>
                  <a:gd name="connsiteY35" fmla="*/ 620649 h 867537"/>
                  <a:gd name="connsiteX36" fmla="*/ 332984 w 877824"/>
                  <a:gd name="connsiteY36" fmla="*/ 637480 h 867537"/>
                  <a:gd name="connsiteX37" fmla="*/ 316211 w 877824"/>
                  <a:gd name="connsiteY37" fmla="*/ 678228 h 867537"/>
                  <a:gd name="connsiteX38" fmla="*/ 332984 w 877824"/>
                  <a:gd name="connsiteY38" fmla="*/ 718461 h 867537"/>
                  <a:gd name="connsiteX39" fmla="*/ 438912 w 877824"/>
                  <a:gd name="connsiteY39" fmla="*/ 824417 h 867537"/>
                  <a:gd name="connsiteX40" fmla="*/ 544840 w 877824"/>
                  <a:gd name="connsiteY40" fmla="*/ 718461 h 867537"/>
                  <a:gd name="connsiteX41" fmla="*/ 561613 w 877824"/>
                  <a:gd name="connsiteY41" fmla="*/ 678999 h 867537"/>
                  <a:gd name="connsiteX42" fmla="*/ 544840 w 877824"/>
                  <a:gd name="connsiteY42" fmla="*/ 637480 h 867537"/>
                  <a:gd name="connsiteX43" fmla="*/ 463887 w 877824"/>
                  <a:gd name="connsiteY43" fmla="*/ 637480 h 867537"/>
                  <a:gd name="connsiteX44" fmla="*/ 446199 w 877824"/>
                  <a:gd name="connsiteY44" fmla="*/ 655168 h 867537"/>
                  <a:gd name="connsiteX45" fmla="*/ 431654 w 877824"/>
                  <a:gd name="connsiteY45" fmla="*/ 655168 h 867537"/>
                  <a:gd name="connsiteX46" fmla="*/ 413966 w 877824"/>
                  <a:gd name="connsiteY46" fmla="*/ 637480 h 867537"/>
                  <a:gd name="connsiteX47" fmla="*/ 373447 w 877824"/>
                  <a:gd name="connsiteY47" fmla="*/ 620649 h 867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77824" h="867537">
                    <a:moveTo>
                      <a:pt x="877824" y="867537"/>
                    </a:moveTo>
                    <a:lnTo>
                      <a:pt x="857250" y="867537"/>
                    </a:lnTo>
                    <a:cubicBezTo>
                      <a:pt x="857250" y="683743"/>
                      <a:pt x="720747" y="518008"/>
                      <a:pt x="532667" y="473431"/>
                    </a:cubicBezTo>
                    <a:cubicBezTo>
                      <a:pt x="528380" y="472402"/>
                      <a:pt x="525209" y="468773"/>
                      <a:pt x="524808" y="464372"/>
                    </a:cubicBezTo>
                    <a:cubicBezTo>
                      <a:pt x="524380" y="460000"/>
                      <a:pt x="526837" y="455828"/>
                      <a:pt x="530866" y="454028"/>
                    </a:cubicBezTo>
                    <a:cubicBezTo>
                      <a:pt x="612619" y="417652"/>
                      <a:pt x="665455" y="336413"/>
                      <a:pt x="665455" y="247117"/>
                    </a:cubicBezTo>
                    <a:cubicBezTo>
                      <a:pt x="665455" y="122215"/>
                      <a:pt x="563842" y="20603"/>
                      <a:pt x="438941" y="20603"/>
                    </a:cubicBezTo>
                    <a:cubicBezTo>
                      <a:pt x="314011" y="20603"/>
                      <a:pt x="212398" y="122215"/>
                      <a:pt x="212398" y="247117"/>
                    </a:cubicBezTo>
                    <a:cubicBezTo>
                      <a:pt x="212398" y="336413"/>
                      <a:pt x="265233" y="417652"/>
                      <a:pt x="347015" y="454028"/>
                    </a:cubicBezTo>
                    <a:cubicBezTo>
                      <a:pt x="351044" y="455828"/>
                      <a:pt x="353473" y="460000"/>
                      <a:pt x="353073" y="464372"/>
                    </a:cubicBezTo>
                    <a:cubicBezTo>
                      <a:pt x="352673" y="468773"/>
                      <a:pt x="349501" y="472402"/>
                      <a:pt x="345215" y="473431"/>
                    </a:cubicBezTo>
                    <a:cubicBezTo>
                      <a:pt x="157077" y="518008"/>
                      <a:pt x="20574" y="683743"/>
                      <a:pt x="20574" y="867537"/>
                    </a:cubicBezTo>
                    <a:lnTo>
                      <a:pt x="0" y="867537"/>
                    </a:lnTo>
                    <a:cubicBezTo>
                      <a:pt x="0" y="682943"/>
                      <a:pt x="130702" y="515722"/>
                      <a:pt x="314382" y="460400"/>
                    </a:cubicBezTo>
                    <a:cubicBezTo>
                      <a:pt x="239116" y="416423"/>
                      <a:pt x="191767" y="335385"/>
                      <a:pt x="191767" y="247088"/>
                    </a:cubicBezTo>
                    <a:cubicBezTo>
                      <a:pt x="191767" y="110842"/>
                      <a:pt x="302609" y="0"/>
                      <a:pt x="438883" y="0"/>
                    </a:cubicBezTo>
                    <a:cubicBezTo>
                      <a:pt x="575129" y="0"/>
                      <a:pt x="685971" y="110842"/>
                      <a:pt x="685971" y="247088"/>
                    </a:cubicBezTo>
                    <a:cubicBezTo>
                      <a:pt x="685971" y="335385"/>
                      <a:pt x="638651" y="416423"/>
                      <a:pt x="563385" y="460400"/>
                    </a:cubicBezTo>
                    <a:cubicBezTo>
                      <a:pt x="747122" y="515722"/>
                      <a:pt x="877824" y="682943"/>
                      <a:pt x="877824" y="867537"/>
                    </a:cubicBezTo>
                    <a:close/>
                    <a:moveTo>
                      <a:pt x="438912" y="849249"/>
                    </a:moveTo>
                    <a:cubicBezTo>
                      <a:pt x="436283" y="849249"/>
                      <a:pt x="433654" y="848249"/>
                      <a:pt x="431654" y="846249"/>
                    </a:cubicBezTo>
                    <a:lnTo>
                      <a:pt x="318440" y="733034"/>
                    </a:lnTo>
                    <a:cubicBezTo>
                      <a:pt x="303809" y="718404"/>
                      <a:pt x="295723" y="699002"/>
                      <a:pt x="295637" y="678313"/>
                    </a:cubicBezTo>
                    <a:cubicBezTo>
                      <a:pt x="295551" y="657425"/>
                      <a:pt x="303638" y="637737"/>
                      <a:pt x="318411" y="622935"/>
                    </a:cubicBezTo>
                    <a:cubicBezTo>
                      <a:pt x="333156" y="608219"/>
                      <a:pt x="352644" y="600132"/>
                      <a:pt x="373304" y="600075"/>
                    </a:cubicBezTo>
                    <a:cubicBezTo>
                      <a:pt x="373332" y="600075"/>
                      <a:pt x="373390" y="600075"/>
                      <a:pt x="373418" y="600075"/>
                    </a:cubicBezTo>
                    <a:cubicBezTo>
                      <a:pt x="394164" y="600075"/>
                      <a:pt x="413709" y="608190"/>
                      <a:pt x="428454" y="622935"/>
                    </a:cubicBezTo>
                    <a:lnTo>
                      <a:pt x="438912" y="633365"/>
                    </a:lnTo>
                    <a:lnTo>
                      <a:pt x="449342" y="622935"/>
                    </a:lnTo>
                    <a:cubicBezTo>
                      <a:pt x="478860" y="593474"/>
                      <a:pt x="529981" y="593503"/>
                      <a:pt x="559413" y="622935"/>
                    </a:cubicBezTo>
                    <a:cubicBezTo>
                      <a:pt x="574472" y="637994"/>
                      <a:pt x="582587" y="658054"/>
                      <a:pt x="582216" y="679399"/>
                    </a:cubicBezTo>
                    <a:cubicBezTo>
                      <a:pt x="581816" y="699687"/>
                      <a:pt x="573729" y="718718"/>
                      <a:pt x="559413" y="733063"/>
                    </a:cubicBezTo>
                    <a:lnTo>
                      <a:pt x="446199" y="846277"/>
                    </a:lnTo>
                    <a:cubicBezTo>
                      <a:pt x="444170" y="848249"/>
                      <a:pt x="441541" y="849249"/>
                      <a:pt x="438912" y="849249"/>
                    </a:cubicBezTo>
                    <a:close/>
                    <a:moveTo>
                      <a:pt x="373447" y="620649"/>
                    </a:moveTo>
                    <a:cubicBezTo>
                      <a:pt x="373418" y="620649"/>
                      <a:pt x="373390" y="620649"/>
                      <a:pt x="373361" y="620649"/>
                    </a:cubicBezTo>
                    <a:cubicBezTo>
                      <a:pt x="358159" y="620678"/>
                      <a:pt x="343814" y="626650"/>
                      <a:pt x="332984" y="637480"/>
                    </a:cubicBezTo>
                    <a:cubicBezTo>
                      <a:pt x="322097" y="648367"/>
                      <a:pt x="316154" y="662854"/>
                      <a:pt x="316211" y="678228"/>
                    </a:cubicBezTo>
                    <a:cubicBezTo>
                      <a:pt x="316268" y="693430"/>
                      <a:pt x="322240" y="707717"/>
                      <a:pt x="332984" y="718461"/>
                    </a:cubicBezTo>
                    <a:lnTo>
                      <a:pt x="438912" y="824417"/>
                    </a:lnTo>
                    <a:lnTo>
                      <a:pt x="544840" y="718461"/>
                    </a:lnTo>
                    <a:cubicBezTo>
                      <a:pt x="555384" y="707917"/>
                      <a:pt x="561356" y="693915"/>
                      <a:pt x="561613" y="678999"/>
                    </a:cubicBezTo>
                    <a:cubicBezTo>
                      <a:pt x="561899" y="663312"/>
                      <a:pt x="555955" y="648567"/>
                      <a:pt x="544840" y="637480"/>
                    </a:cubicBezTo>
                    <a:cubicBezTo>
                      <a:pt x="523151" y="615763"/>
                      <a:pt x="485661" y="615734"/>
                      <a:pt x="463887" y="637480"/>
                    </a:cubicBezTo>
                    <a:lnTo>
                      <a:pt x="446199" y="655168"/>
                    </a:lnTo>
                    <a:cubicBezTo>
                      <a:pt x="442170" y="659197"/>
                      <a:pt x="435683" y="659197"/>
                      <a:pt x="431654" y="655168"/>
                    </a:cubicBezTo>
                    <a:lnTo>
                      <a:pt x="413966" y="637480"/>
                    </a:lnTo>
                    <a:cubicBezTo>
                      <a:pt x="403079" y="626621"/>
                      <a:pt x="388706" y="620649"/>
                      <a:pt x="373447" y="620649"/>
                    </a:cubicBezTo>
                    <a:close/>
                  </a:path>
                </a:pathLst>
              </a:custGeom>
              <a:solidFill>
                <a:srgbClr val="0F62FE"/>
              </a:solidFill>
              <a:ln w="28575" cap="flat">
                <a:noFill/>
                <a:prstDash val="solid"/>
                <a:miter/>
              </a:ln>
            </p:spPr>
            <p:txBody>
              <a:bodyPr rtlCol="0" anchor="ctr"/>
              <a:lstStyle/>
              <a:p>
                <a:endParaRPr lang="en-US"/>
              </a:p>
            </p:txBody>
          </p:sp>
        </p:grpSp>
        <p:grpSp>
          <p:nvGrpSpPr>
            <p:cNvPr id="143" name="Group 142">
              <a:extLst>
                <a:ext uri="{FF2B5EF4-FFF2-40B4-BE49-F238E27FC236}">
                  <a16:creationId xmlns:a16="http://schemas.microsoft.com/office/drawing/2014/main" id="{0A748974-8295-8FDA-250C-F3B3D7C31D46}"/>
                </a:ext>
              </a:extLst>
            </p:cNvPr>
            <p:cNvGrpSpPr/>
            <p:nvPr/>
          </p:nvGrpSpPr>
          <p:grpSpPr>
            <a:xfrm>
              <a:off x="4248900" y="5559783"/>
              <a:ext cx="2621726" cy="1432414"/>
              <a:chOff x="18939208" y="3213643"/>
              <a:chExt cx="2621726" cy="1432414"/>
            </a:xfrm>
          </p:grpSpPr>
          <p:sp>
            <p:nvSpPr>
              <p:cNvPr id="132" name="TextBox 131">
                <a:extLst>
                  <a:ext uri="{FF2B5EF4-FFF2-40B4-BE49-F238E27FC236}">
                    <a16:creationId xmlns:a16="http://schemas.microsoft.com/office/drawing/2014/main" id="{65C2B713-8C75-BE0F-5FB2-AEDFC5FE7AA9}"/>
                  </a:ext>
                </a:extLst>
              </p:cNvPr>
              <p:cNvSpPr txBox="1"/>
              <p:nvPr/>
            </p:nvSpPr>
            <p:spPr>
              <a:xfrm>
                <a:off x="18939208" y="4122837"/>
                <a:ext cx="2621726" cy="52322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a:spAutoFit/>
              </a:bodyPr>
              <a:lstStyle/>
              <a:p>
                <a:pPr algn="ctr"/>
                <a:r>
                  <a:rPr kumimoji="0" lang="en-US" sz="2800" u="none" strike="noStrike" kern="1200" cap="none" spc="0" normalizeH="0" baseline="0" noProof="0" dirty="0">
                    <a:ln>
                      <a:noFill/>
                    </a:ln>
                    <a:effectLst/>
                    <a:uLnTx/>
                    <a:uFillTx/>
                    <a:latin typeface="IBM Plex Sans Light" panose="020B0403050203000203" pitchFamily="34" charset="0"/>
                  </a:rPr>
                  <a:t>Contextual</a:t>
                </a:r>
                <a:endParaRPr lang="en-US" sz="2800" dirty="0">
                  <a:latin typeface="IBM Plex Sans Light" panose="020B0403050203000203" pitchFamily="34" charset="0"/>
                </a:endParaRPr>
              </a:p>
            </p:txBody>
          </p:sp>
          <p:sp>
            <p:nvSpPr>
              <p:cNvPr id="142" name="Freeform 141">
                <a:extLst>
                  <a:ext uri="{FF2B5EF4-FFF2-40B4-BE49-F238E27FC236}">
                    <a16:creationId xmlns:a16="http://schemas.microsoft.com/office/drawing/2014/main" id="{DE791158-3A30-E2F0-FDC4-82EC957E43A9}"/>
                  </a:ext>
                </a:extLst>
              </p:cNvPr>
              <p:cNvSpPr>
                <a:spLocks noChangeAspect="1"/>
              </p:cNvSpPr>
              <p:nvPr/>
            </p:nvSpPr>
            <p:spPr>
              <a:xfrm>
                <a:off x="19888628" y="3213643"/>
                <a:ext cx="685800" cy="685800"/>
              </a:xfrm>
              <a:custGeom>
                <a:avLst/>
                <a:gdLst>
                  <a:gd name="connsiteX0" fmla="*/ 724662 w 820674"/>
                  <a:gd name="connsiteY0" fmla="*/ 820674 h 820674"/>
                  <a:gd name="connsiteX1" fmla="*/ 629193 w 820674"/>
                  <a:gd name="connsiteY1" fmla="*/ 734949 h 820674"/>
                  <a:gd name="connsiteX2" fmla="*/ 505806 w 820674"/>
                  <a:gd name="connsiteY2" fmla="*/ 734949 h 820674"/>
                  <a:gd name="connsiteX3" fmla="*/ 410337 w 820674"/>
                  <a:gd name="connsiteY3" fmla="*/ 820674 h 820674"/>
                  <a:gd name="connsiteX4" fmla="*/ 314325 w 820674"/>
                  <a:gd name="connsiteY4" fmla="*/ 724662 h 820674"/>
                  <a:gd name="connsiteX5" fmla="*/ 400050 w 820674"/>
                  <a:gd name="connsiteY5" fmla="*/ 629193 h 820674"/>
                  <a:gd name="connsiteX6" fmla="*/ 400050 w 820674"/>
                  <a:gd name="connsiteY6" fmla="*/ 505806 h 820674"/>
                  <a:gd name="connsiteX7" fmla="*/ 314325 w 820674"/>
                  <a:gd name="connsiteY7" fmla="*/ 410337 h 820674"/>
                  <a:gd name="connsiteX8" fmla="*/ 400050 w 820674"/>
                  <a:gd name="connsiteY8" fmla="*/ 314868 h 820674"/>
                  <a:gd name="connsiteX9" fmla="*/ 400050 w 820674"/>
                  <a:gd name="connsiteY9" fmla="*/ 191481 h 820674"/>
                  <a:gd name="connsiteX10" fmla="*/ 314868 w 820674"/>
                  <a:gd name="connsiteY10" fmla="*/ 106299 h 820674"/>
                  <a:gd name="connsiteX11" fmla="*/ 191481 w 820674"/>
                  <a:gd name="connsiteY11" fmla="*/ 106299 h 820674"/>
                  <a:gd name="connsiteX12" fmla="*/ 96012 w 820674"/>
                  <a:gd name="connsiteY12" fmla="*/ 192024 h 820674"/>
                  <a:gd name="connsiteX13" fmla="*/ 0 w 820674"/>
                  <a:gd name="connsiteY13" fmla="*/ 96012 h 820674"/>
                  <a:gd name="connsiteX14" fmla="*/ 96012 w 820674"/>
                  <a:gd name="connsiteY14" fmla="*/ 0 h 820674"/>
                  <a:gd name="connsiteX15" fmla="*/ 191481 w 820674"/>
                  <a:gd name="connsiteY15" fmla="*/ 85725 h 820674"/>
                  <a:gd name="connsiteX16" fmla="*/ 314868 w 820674"/>
                  <a:gd name="connsiteY16" fmla="*/ 85725 h 820674"/>
                  <a:gd name="connsiteX17" fmla="*/ 410337 w 820674"/>
                  <a:gd name="connsiteY17" fmla="*/ 0 h 820674"/>
                  <a:gd name="connsiteX18" fmla="*/ 506349 w 820674"/>
                  <a:gd name="connsiteY18" fmla="*/ 96012 h 820674"/>
                  <a:gd name="connsiteX19" fmla="*/ 420624 w 820674"/>
                  <a:gd name="connsiteY19" fmla="*/ 191481 h 820674"/>
                  <a:gd name="connsiteX20" fmla="*/ 420624 w 820674"/>
                  <a:gd name="connsiteY20" fmla="*/ 314868 h 820674"/>
                  <a:gd name="connsiteX21" fmla="*/ 506349 w 820674"/>
                  <a:gd name="connsiteY21" fmla="*/ 410337 h 820674"/>
                  <a:gd name="connsiteX22" fmla="*/ 420624 w 820674"/>
                  <a:gd name="connsiteY22" fmla="*/ 505806 h 820674"/>
                  <a:gd name="connsiteX23" fmla="*/ 420624 w 820674"/>
                  <a:gd name="connsiteY23" fmla="*/ 629193 h 820674"/>
                  <a:gd name="connsiteX24" fmla="*/ 505806 w 820674"/>
                  <a:gd name="connsiteY24" fmla="*/ 714346 h 820674"/>
                  <a:gd name="connsiteX25" fmla="*/ 629193 w 820674"/>
                  <a:gd name="connsiteY25" fmla="*/ 714346 h 820674"/>
                  <a:gd name="connsiteX26" fmla="*/ 724662 w 820674"/>
                  <a:gd name="connsiteY26" fmla="*/ 628621 h 820674"/>
                  <a:gd name="connsiteX27" fmla="*/ 820674 w 820674"/>
                  <a:gd name="connsiteY27" fmla="*/ 724633 h 820674"/>
                  <a:gd name="connsiteX28" fmla="*/ 724662 w 820674"/>
                  <a:gd name="connsiteY28" fmla="*/ 820674 h 820674"/>
                  <a:gd name="connsiteX29" fmla="*/ 724662 w 820674"/>
                  <a:gd name="connsiteY29" fmla="*/ 649224 h 820674"/>
                  <a:gd name="connsiteX30" fmla="*/ 649224 w 820674"/>
                  <a:gd name="connsiteY30" fmla="*/ 724662 h 820674"/>
                  <a:gd name="connsiteX31" fmla="*/ 724662 w 820674"/>
                  <a:gd name="connsiteY31" fmla="*/ 800100 h 820674"/>
                  <a:gd name="connsiteX32" fmla="*/ 800100 w 820674"/>
                  <a:gd name="connsiteY32" fmla="*/ 724662 h 820674"/>
                  <a:gd name="connsiteX33" fmla="*/ 724662 w 820674"/>
                  <a:gd name="connsiteY33" fmla="*/ 649224 h 820674"/>
                  <a:gd name="connsiteX34" fmla="*/ 410337 w 820674"/>
                  <a:gd name="connsiteY34" fmla="*/ 649224 h 820674"/>
                  <a:gd name="connsiteX35" fmla="*/ 334899 w 820674"/>
                  <a:gd name="connsiteY35" fmla="*/ 724662 h 820674"/>
                  <a:gd name="connsiteX36" fmla="*/ 410337 w 820674"/>
                  <a:gd name="connsiteY36" fmla="*/ 800100 h 820674"/>
                  <a:gd name="connsiteX37" fmla="*/ 485775 w 820674"/>
                  <a:gd name="connsiteY37" fmla="*/ 724662 h 820674"/>
                  <a:gd name="connsiteX38" fmla="*/ 410337 w 820674"/>
                  <a:gd name="connsiteY38" fmla="*/ 649224 h 820674"/>
                  <a:gd name="connsiteX39" fmla="*/ 410337 w 820674"/>
                  <a:gd name="connsiteY39" fmla="*/ 334899 h 820674"/>
                  <a:gd name="connsiteX40" fmla="*/ 334899 w 820674"/>
                  <a:gd name="connsiteY40" fmla="*/ 410337 h 820674"/>
                  <a:gd name="connsiteX41" fmla="*/ 410337 w 820674"/>
                  <a:gd name="connsiteY41" fmla="*/ 485775 h 820674"/>
                  <a:gd name="connsiteX42" fmla="*/ 485775 w 820674"/>
                  <a:gd name="connsiteY42" fmla="*/ 410337 h 820674"/>
                  <a:gd name="connsiteX43" fmla="*/ 410337 w 820674"/>
                  <a:gd name="connsiteY43" fmla="*/ 334899 h 820674"/>
                  <a:gd name="connsiteX44" fmla="*/ 410337 w 820674"/>
                  <a:gd name="connsiteY44" fmla="*/ 20574 h 820674"/>
                  <a:gd name="connsiteX45" fmla="*/ 334899 w 820674"/>
                  <a:gd name="connsiteY45" fmla="*/ 96012 h 820674"/>
                  <a:gd name="connsiteX46" fmla="*/ 410337 w 820674"/>
                  <a:gd name="connsiteY46" fmla="*/ 171450 h 820674"/>
                  <a:gd name="connsiteX47" fmla="*/ 485775 w 820674"/>
                  <a:gd name="connsiteY47" fmla="*/ 96012 h 820674"/>
                  <a:gd name="connsiteX48" fmla="*/ 410337 w 820674"/>
                  <a:gd name="connsiteY48" fmla="*/ 20574 h 820674"/>
                  <a:gd name="connsiteX49" fmla="*/ 96012 w 820674"/>
                  <a:gd name="connsiteY49" fmla="*/ 20574 h 820674"/>
                  <a:gd name="connsiteX50" fmla="*/ 20574 w 820674"/>
                  <a:gd name="connsiteY50" fmla="*/ 96012 h 820674"/>
                  <a:gd name="connsiteX51" fmla="*/ 96012 w 820674"/>
                  <a:gd name="connsiteY51" fmla="*/ 171450 h 820674"/>
                  <a:gd name="connsiteX52" fmla="*/ 171450 w 820674"/>
                  <a:gd name="connsiteY52" fmla="*/ 96012 h 820674"/>
                  <a:gd name="connsiteX53" fmla="*/ 96012 w 820674"/>
                  <a:gd name="connsiteY53" fmla="*/ 20574 h 820674"/>
                  <a:gd name="connsiteX54" fmla="*/ 96012 w 820674"/>
                  <a:gd name="connsiteY54" fmla="*/ 820674 h 820674"/>
                  <a:gd name="connsiteX55" fmla="*/ 0 w 820674"/>
                  <a:gd name="connsiteY55" fmla="*/ 724662 h 820674"/>
                  <a:gd name="connsiteX56" fmla="*/ 96012 w 820674"/>
                  <a:gd name="connsiteY56" fmla="*/ 628650 h 820674"/>
                  <a:gd name="connsiteX57" fmla="*/ 192024 w 820674"/>
                  <a:gd name="connsiteY57" fmla="*/ 724662 h 820674"/>
                  <a:gd name="connsiteX58" fmla="*/ 96012 w 820674"/>
                  <a:gd name="connsiteY58" fmla="*/ 820674 h 820674"/>
                  <a:gd name="connsiteX59" fmla="*/ 96012 w 820674"/>
                  <a:gd name="connsiteY59" fmla="*/ 649224 h 820674"/>
                  <a:gd name="connsiteX60" fmla="*/ 20574 w 820674"/>
                  <a:gd name="connsiteY60" fmla="*/ 724662 h 820674"/>
                  <a:gd name="connsiteX61" fmla="*/ 96012 w 820674"/>
                  <a:gd name="connsiteY61" fmla="*/ 800100 h 820674"/>
                  <a:gd name="connsiteX62" fmla="*/ 171450 w 820674"/>
                  <a:gd name="connsiteY62" fmla="*/ 724662 h 820674"/>
                  <a:gd name="connsiteX63" fmla="*/ 96012 w 820674"/>
                  <a:gd name="connsiteY63" fmla="*/ 649224 h 820674"/>
                  <a:gd name="connsiteX64" fmla="*/ 724662 w 820674"/>
                  <a:gd name="connsiteY64" fmla="*/ 506349 h 820674"/>
                  <a:gd name="connsiteX65" fmla="*/ 628650 w 820674"/>
                  <a:gd name="connsiteY65" fmla="*/ 410337 h 820674"/>
                  <a:gd name="connsiteX66" fmla="*/ 724662 w 820674"/>
                  <a:gd name="connsiteY66" fmla="*/ 314325 h 820674"/>
                  <a:gd name="connsiteX67" fmla="*/ 820674 w 820674"/>
                  <a:gd name="connsiteY67" fmla="*/ 410337 h 820674"/>
                  <a:gd name="connsiteX68" fmla="*/ 724662 w 820674"/>
                  <a:gd name="connsiteY68" fmla="*/ 506349 h 820674"/>
                  <a:gd name="connsiteX69" fmla="*/ 724662 w 820674"/>
                  <a:gd name="connsiteY69" fmla="*/ 334899 h 820674"/>
                  <a:gd name="connsiteX70" fmla="*/ 649224 w 820674"/>
                  <a:gd name="connsiteY70" fmla="*/ 410337 h 820674"/>
                  <a:gd name="connsiteX71" fmla="*/ 724662 w 820674"/>
                  <a:gd name="connsiteY71" fmla="*/ 485775 h 820674"/>
                  <a:gd name="connsiteX72" fmla="*/ 800100 w 820674"/>
                  <a:gd name="connsiteY72" fmla="*/ 410337 h 820674"/>
                  <a:gd name="connsiteX73" fmla="*/ 724662 w 820674"/>
                  <a:gd name="connsiteY73" fmla="*/ 334899 h 820674"/>
                  <a:gd name="connsiteX74" fmla="*/ 96012 w 820674"/>
                  <a:gd name="connsiteY74" fmla="*/ 506349 h 820674"/>
                  <a:gd name="connsiteX75" fmla="*/ 0 w 820674"/>
                  <a:gd name="connsiteY75" fmla="*/ 410337 h 820674"/>
                  <a:gd name="connsiteX76" fmla="*/ 96012 w 820674"/>
                  <a:gd name="connsiteY76" fmla="*/ 314325 h 820674"/>
                  <a:gd name="connsiteX77" fmla="*/ 192024 w 820674"/>
                  <a:gd name="connsiteY77" fmla="*/ 410337 h 820674"/>
                  <a:gd name="connsiteX78" fmla="*/ 96012 w 820674"/>
                  <a:gd name="connsiteY78" fmla="*/ 506349 h 820674"/>
                  <a:gd name="connsiteX79" fmla="*/ 96012 w 820674"/>
                  <a:gd name="connsiteY79" fmla="*/ 334899 h 820674"/>
                  <a:gd name="connsiteX80" fmla="*/ 20574 w 820674"/>
                  <a:gd name="connsiteY80" fmla="*/ 410337 h 820674"/>
                  <a:gd name="connsiteX81" fmla="*/ 96012 w 820674"/>
                  <a:gd name="connsiteY81" fmla="*/ 485775 h 820674"/>
                  <a:gd name="connsiteX82" fmla="*/ 171450 w 820674"/>
                  <a:gd name="connsiteY82" fmla="*/ 410337 h 820674"/>
                  <a:gd name="connsiteX83" fmla="*/ 96012 w 820674"/>
                  <a:gd name="connsiteY83" fmla="*/ 334899 h 820674"/>
                  <a:gd name="connsiteX84" fmla="*/ 724662 w 820674"/>
                  <a:gd name="connsiteY84" fmla="*/ 192024 h 820674"/>
                  <a:gd name="connsiteX85" fmla="*/ 628650 w 820674"/>
                  <a:gd name="connsiteY85" fmla="*/ 96012 h 820674"/>
                  <a:gd name="connsiteX86" fmla="*/ 724662 w 820674"/>
                  <a:gd name="connsiteY86" fmla="*/ 0 h 820674"/>
                  <a:gd name="connsiteX87" fmla="*/ 820674 w 820674"/>
                  <a:gd name="connsiteY87" fmla="*/ 96012 h 820674"/>
                  <a:gd name="connsiteX88" fmla="*/ 724662 w 820674"/>
                  <a:gd name="connsiteY88" fmla="*/ 192024 h 820674"/>
                  <a:gd name="connsiteX89" fmla="*/ 724662 w 820674"/>
                  <a:gd name="connsiteY89" fmla="*/ 20574 h 820674"/>
                  <a:gd name="connsiteX90" fmla="*/ 649224 w 820674"/>
                  <a:gd name="connsiteY90" fmla="*/ 96012 h 820674"/>
                  <a:gd name="connsiteX91" fmla="*/ 724662 w 820674"/>
                  <a:gd name="connsiteY91" fmla="*/ 171450 h 820674"/>
                  <a:gd name="connsiteX92" fmla="*/ 800100 w 820674"/>
                  <a:gd name="connsiteY92" fmla="*/ 96012 h 820674"/>
                  <a:gd name="connsiteX93" fmla="*/ 724662 w 820674"/>
                  <a:gd name="connsiteY93" fmla="*/ 20574 h 820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820674" h="820674">
                    <a:moveTo>
                      <a:pt x="724662" y="820674"/>
                    </a:moveTo>
                    <a:cubicBezTo>
                      <a:pt x="675199" y="820674"/>
                      <a:pt x="634336" y="783069"/>
                      <a:pt x="629193" y="734949"/>
                    </a:cubicBezTo>
                    <a:lnTo>
                      <a:pt x="505806" y="734949"/>
                    </a:lnTo>
                    <a:cubicBezTo>
                      <a:pt x="500663" y="783069"/>
                      <a:pt x="459829" y="820674"/>
                      <a:pt x="410337" y="820674"/>
                    </a:cubicBezTo>
                    <a:cubicBezTo>
                      <a:pt x="357388" y="820674"/>
                      <a:pt x="314325" y="777583"/>
                      <a:pt x="314325" y="724662"/>
                    </a:cubicBezTo>
                    <a:cubicBezTo>
                      <a:pt x="314325" y="675199"/>
                      <a:pt x="351930" y="634336"/>
                      <a:pt x="400050" y="629193"/>
                    </a:cubicBezTo>
                    <a:lnTo>
                      <a:pt x="400050" y="505806"/>
                    </a:lnTo>
                    <a:cubicBezTo>
                      <a:pt x="351930" y="500663"/>
                      <a:pt x="314325" y="459829"/>
                      <a:pt x="314325" y="410337"/>
                    </a:cubicBezTo>
                    <a:cubicBezTo>
                      <a:pt x="314325" y="360874"/>
                      <a:pt x="351930" y="320011"/>
                      <a:pt x="400050" y="314868"/>
                    </a:cubicBezTo>
                    <a:lnTo>
                      <a:pt x="400050" y="191481"/>
                    </a:lnTo>
                    <a:cubicBezTo>
                      <a:pt x="355302" y="186709"/>
                      <a:pt x="319669" y="151047"/>
                      <a:pt x="314868" y="106299"/>
                    </a:cubicBezTo>
                    <a:lnTo>
                      <a:pt x="191481" y="106299"/>
                    </a:lnTo>
                    <a:cubicBezTo>
                      <a:pt x="186338" y="154419"/>
                      <a:pt x="145475" y="192024"/>
                      <a:pt x="96012" y="192024"/>
                    </a:cubicBezTo>
                    <a:cubicBezTo>
                      <a:pt x="43063" y="192024"/>
                      <a:pt x="0" y="148961"/>
                      <a:pt x="0" y="96012"/>
                    </a:cubicBezTo>
                    <a:cubicBezTo>
                      <a:pt x="0" y="43063"/>
                      <a:pt x="43063" y="0"/>
                      <a:pt x="96012" y="0"/>
                    </a:cubicBezTo>
                    <a:cubicBezTo>
                      <a:pt x="145475" y="0"/>
                      <a:pt x="186338" y="37605"/>
                      <a:pt x="191481" y="85725"/>
                    </a:cubicBezTo>
                    <a:lnTo>
                      <a:pt x="314868" y="85725"/>
                    </a:lnTo>
                    <a:cubicBezTo>
                      <a:pt x="320011" y="37605"/>
                      <a:pt x="360874" y="0"/>
                      <a:pt x="410337" y="0"/>
                    </a:cubicBezTo>
                    <a:cubicBezTo>
                      <a:pt x="463287" y="0"/>
                      <a:pt x="506349" y="43063"/>
                      <a:pt x="506349" y="96012"/>
                    </a:cubicBezTo>
                    <a:cubicBezTo>
                      <a:pt x="506349" y="145475"/>
                      <a:pt x="468744" y="186338"/>
                      <a:pt x="420624" y="191481"/>
                    </a:cubicBezTo>
                    <a:lnTo>
                      <a:pt x="420624" y="314868"/>
                    </a:lnTo>
                    <a:cubicBezTo>
                      <a:pt x="468744" y="320011"/>
                      <a:pt x="506349" y="360874"/>
                      <a:pt x="506349" y="410337"/>
                    </a:cubicBezTo>
                    <a:cubicBezTo>
                      <a:pt x="506349" y="459800"/>
                      <a:pt x="468744" y="500663"/>
                      <a:pt x="420624" y="505806"/>
                    </a:cubicBezTo>
                    <a:lnTo>
                      <a:pt x="420624" y="629193"/>
                    </a:lnTo>
                    <a:cubicBezTo>
                      <a:pt x="465372" y="633965"/>
                      <a:pt x="501034" y="669627"/>
                      <a:pt x="505806" y="714346"/>
                    </a:cubicBezTo>
                    <a:lnTo>
                      <a:pt x="629193" y="714346"/>
                    </a:lnTo>
                    <a:cubicBezTo>
                      <a:pt x="634336" y="666226"/>
                      <a:pt x="675170" y="628621"/>
                      <a:pt x="724662" y="628621"/>
                    </a:cubicBezTo>
                    <a:cubicBezTo>
                      <a:pt x="777612" y="628621"/>
                      <a:pt x="820674" y="671713"/>
                      <a:pt x="820674" y="724633"/>
                    </a:cubicBezTo>
                    <a:cubicBezTo>
                      <a:pt x="820674" y="777554"/>
                      <a:pt x="777612" y="820674"/>
                      <a:pt x="724662" y="820674"/>
                    </a:cubicBezTo>
                    <a:close/>
                    <a:moveTo>
                      <a:pt x="724662" y="649224"/>
                    </a:moveTo>
                    <a:cubicBezTo>
                      <a:pt x="683057" y="649224"/>
                      <a:pt x="649224" y="683057"/>
                      <a:pt x="649224" y="724662"/>
                    </a:cubicBezTo>
                    <a:cubicBezTo>
                      <a:pt x="649224" y="766267"/>
                      <a:pt x="683057" y="800100"/>
                      <a:pt x="724662" y="800100"/>
                    </a:cubicBezTo>
                    <a:cubicBezTo>
                      <a:pt x="766267" y="800100"/>
                      <a:pt x="800100" y="766267"/>
                      <a:pt x="800100" y="724662"/>
                    </a:cubicBezTo>
                    <a:cubicBezTo>
                      <a:pt x="800100" y="683057"/>
                      <a:pt x="766267" y="649224"/>
                      <a:pt x="724662" y="649224"/>
                    </a:cubicBezTo>
                    <a:close/>
                    <a:moveTo>
                      <a:pt x="410337" y="649224"/>
                    </a:moveTo>
                    <a:cubicBezTo>
                      <a:pt x="368732" y="649224"/>
                      <a:pt x="334899" y="683057"/>
                      <a:pt x="334899" y="724662"/>
                    </a:cubicBezTo>
                    <a:cubicBezTo>
                      <a:pt x="334899" y="766267"/>
                      <a:pt x="368760" y="800100"/>
                      <a:pt x="410337" y="800100"/>
                    </a:cubicBezTo>
                    <a:cubicBezTo>
                      <a:pt x="451942" y="800100"/>
                      <a:pt x="485775" y="766267"/>
                      <a:pt x="485775" y="724662"/>
                    </a:cubicBezTo>
                    <a:cubicBezTo>
                      <a:pt x="485775" y="683057"/>
                      <a:pt x="451942" y="649224"/>
                      <a:pt x="410337" y="649224"/>
                    </a:cubicBezTo>
                    <a:close/>
                    <a:moveTo>
                      <a:pt x="410337" y="334899"/>
                    </a:moveTo>
                    <a:cubicBezTo>
                      <a:pt x="368732" y="334899"/>
                      <a:pt x="334899" y="368760"/>
                      <a:pt x="334899" y="410337"/>
                    </a:cubicBezTo>
                    <a:cubicBezTo>
                      <a:pt x="334899" y="451942"/>
                      <a:pt x="368760" y="485775"/>
                      <a:pt x="410337" y="485775"/>
                    </a:cubicBezTo>
                    <a:cubicBezTo>
                      <a:pt x="451942" y="485775"/>
                      <a:pt x="485775" y="451942"/>
                      <a:pt x="485775" y="410337"/>
                    </a:cubicBezTo>
                    <a:cubicBezTo>
                      <a:pt x="485775" y="368732"/>
                      <a:pt x="451942" y="334899"/>
                      <a:pt x="410337" y="334899"/>
                    </a:cubicBezTo>
                    <a:close/>
                    <a:moveTo>
                      <a:pt x="410337" y="20574"/>
                    </a:moveTo>
                    <a:cubicBezTo>
                      <a:pt x="368732" y="20574"/>
                      <a:pt x="334899" y="54435"/>
                      <a:pt x="334899" y="96012"/>
                    </a:cubicBezTo>
                    <a:cubicBezTo>
                      <a:pt x="334899" y="137589"/>
                      <a:pt x="368732" y="171450"/>
                      <a:pt x="410337" y="171450"/>
                    </a:cubicBezTo>
                    <a:cubicBezTo>
                      <a:pt x="451942" y="171450"/>
                      <a:pt x="485775" y="137589"/>
                      <a:pt x="485775" y="96012"/>
                    </a:cubicBezTo>
                    <a:cubicBezTo>
                      <a:pt x="485775" y="54435"/>
                      <a:pt x="451942" y="20574"/>
                      <a:pt x="410337" y="20574"/>
                    </a:cubicBezTo>
                    <a:close/>
                    <a:moveTo>
                      <a:pt x="96012" y="20574"/>
                    </a:moveTo>
                    <a:cubicBezTo>
                      <a:pt x="54407" y="20574"/>
                      <a:pt x="20574" y="54407"/>
                      <a:pt x="20574" y="96012"/>
                    </a:cubicBezTo>
                    <a:cubicBezTo>
                      <a:pt x="20574" y="137617"/>
                      <a:pt x="54407" y="171450"/>
                      <a:pt x="96012" y="171450"/>
                    </a:cubicBezTo>
                    <a:cubicBezTo>
                      <a:pt x="137617" y="171450"/>
                      <a:pt x="171450" y="137617"/>
                      <a:pt x="171450" y="96012"/>
                    </a:cubicBezTo>
                    <a:cubicBezTo>
                      <a:pt x="171450" y="54407"/>
                      <a:pt x="137617" y="20574"/>
                      <a:pt x="96012" y="20574"/>
                    </a:cubicBezTo>
                    <a:close/>
                    <a:moveTo>
                      <a:pt x="96012" y="820674"/>
                    </a:moveTo>
                    <a:cubicBezTo>
                      <a:pt x="43063" y="820674"/>
                      <a:pt x="0" y="777583"/>
                      <a:pt x="0" y="724662"/>
                    </a:cubicBezTo>
                    <a:cubicBezTo>
                      <a:pt x="0" y="671741"/>
                      <a:pt x="43063" y="628650"/>
                      <a:pt x="96012" y="628650"/>
                    </a:cubicBezTo>
                    <a:cubicBezTo>
                      <a:pt x="148961" y="628650"/>
                      <a:pt x="192024" y="671713"/>
                      <a:pt x="192024" y="724662"/>
                    </a:cubicBezTo>
                    <a:cubicBezTo>
                      <a:pt x="192024" y="777612"/>
                      <a:pt x="148961" y="820674"/>
                      <a:pt x="96012" y="820674"/>
                    </a:cubicBezTo>
                    <a:close/>
                    <a:moveTo>
                      <a:pt x="96012" y="649224"/>
                    </a:moveTo>
                    <a:cubicBezTo>
                      <a:pt x="54407" y="649224"/>
                      <a:pt x="20574" y="683057"/>
                      <a:pt x="20574" y="724662"/>
                    </a:cubicBezTo>
                    <a:cubicBezTo>
                      <a:pt x="20574" y="766267"/>
                      <a:pt x="54407" y="800100"/>
                      <a:pt x="96012" y="800100"/>
                    </a:cubicBezTo>
                    <a:cubicBezTo>
                      <a:pt x="137617" y="800100"/>
                      <a:pt x="171450" y="766267"/>
                      <a:pt x="171450" y="724662"/>
                    </a:cubicBezTo>
                    <a:cubicBezTo>
                      <a:pt x="171450" y="683057"/>
                      <a:pt x="137617" y="649224"/>
                      <a:pt x="96012" y="649224"/>
                    </a:cubicBezTo>
                    <a:close/>
                    <a:moveTo>
                      <a:pt x="724662" y="506349"/>
                    </a:moveTo>
                    <a:cubicBezTo>
                      <a:pt x="671713" y="506349"/>
                      <a:pt x="628650" y="463258"/>
                      <a:pt x="628650" y="410337"/>
                    </a:cubicBezTo>
                    <a:cubicBezTo>
                      <a:pt x="628650" y="357416"/>
                      <a:pt x="671741" y="314325"/>
                      <a:pt x="724662" y="314325"/>
                    </a:cubicBezTo>
                    <a:cubicBezTo>
                      <a:pt x="777583" y="314325"/>
                      <a:pt x="820674" y="357388"/>
                      <a:pt x="820674" y="410337"/>
                    </a:cubicBezTo>
                    <a:cubicBezTo>
                      <a:pt x="820674" y="463287"/>
                      <a:pt x="777612" y="506349"/>
                      <a:pt x="724662" y="506349"/>
                    </a:cubicBezTo>
                    <a:close/>
                    <a:moveTo>
                      <a:pt x="724662" y="334899"/>
                    </a:moveTo>
                    <a:cubicBezTo>
                      <a:pt x="683057" y="334899"/>
                      <a:pt x="649224" y="368760"/>
                      <a:pt x="649224" y="410337"/>
                    </a:cubicBezTo>
                    <a:cubicBezTo>
                      <a:pt x="649224" y="451942"/>
                      <a:pt x="683057" y="485775"/>
                      <a:pt x="724662" y="485775"/>
                    </a:cubicBezTo>
                    <a:cubicBezTo>
                      <a:pt x="766267" y="485775"/>
                      <a:pt x="800100" y="451942"/>
                      <a:pt x="800100" y="410337"/>
                    </a:cubicBezTo>
                    <a:cubicBezTo>
                      <a:pt x="800100" y="368732"/>
                      <a:pt x="766267" y="334899"/>
                      <a:pt x="724662" y="334899"/>
                    </a:cubicBezTo>
                    <a:close/>
                    <a:moveTo>
                      <a:pt x="96012" y="506349"/>
                    </a:moveTo>
                    <a:cubicBezTo>
                      <a:pt x="43063" y="506349"/>
                      <a:pt x="0" y="463258"/>
                      <a:pt x="0" y="410337"/>
                    </a:cubicBezTo>
                    <a:cubicBezTo>
                      <a:pt x="0" y="357416"/>
                      <a:pt x="43063" y="314325"/>
                      <a:pt x="96012" y="314325"/>
                    </a:cubicBezTo>
                    <a:cubicBezTo>
                      <a:pt x="148961" y="314325"/>
                      <a:pt x="192024" y="357388"/>
                      <a:pt x="192024" y="410337"/>
                    </a:cubicBezTo>
                    <a:cubicBezTo>
                      <a:pt x="192024" y="463287"/>
                      <a:pt x="148961" y="506349"/>
                      <a:pt x="96012" y="506349"/>
                    </a:cubicBezTo>
                    <a:close/>
                    <a:moveTo>
                      <a:pt x="96012" y="334899"/>
                    </a:moveTo>
                    <a:cubicBezTo>
                      <a:pt x="54407" y="334899"/>
                      <a:pt x="20574" y="368760"/>
                      <a:pt x="20574" y="410337"/>
                    </a:cubicBezTo>
                    <a:cubicBezTo>
                      <a:pt x="20574" y="451942"/>
                      <a:pt x="54435" y="485775"/>
                      <a:pt x="96012" y="485775"/>
                    </a:cubicBezTo>
                    <a:cubicBezTo>
                      <a:pt x="137589" y="485775"/>
                      <a:pt x="171450" y="451942"/>
                      <a:pt x="171450" y="410337"/>
                    </a:cubicBezTo>
                    <a:cubicBezTo>
                      <a:pt x="171450" y="368732"/>
                      <a:pt x="137617" y="334899"/>
                      <a:pt x="96012" y="334899"/>
                    </a:cubicBezTo>
                    <a:close/>
                    <a:moveTo>
                      <a:pt x="724662" y="192024"/>
                    </a:moveTo>
                    <a:cubicBezTo>
                      <a:pt x="671713" y="192024"/>
                      <a:pt x="628650" y="148961"/>
                      <a:pt x="628650" y="96012"/>
                    </a:cubicBezTo>
                    <a:cubicBezTo>
                      <a:pt x="628650" y="43063"/>
                      <a:pt x="671713" y="0"/>
                      <a:pt x="724662" y="0"/>
                    </a:cubicBezTo>
                    <a:cubicBezTo>
                      <a:pt x="777612" y="0"/>
                      <a:pt x="820674" y="43063"/>
                      <a:pt x="820674" y="96012"/>
                    </a:cubicBezTo>
                    <a:cubicBezTo>
                      <a:pt x="820674" y="148961"/>
                      <a:pt x="777612" y="192024"/>
                      <a:pt x="724662" y="192024"/>
                    </a:cubicBezTo>
                    <a:close/>
                    <a:moveTo>
                      <a:pt x="724662" y="20574"/>
                    </a:moveTo>
                    <a:cubicBezTo>
                      <a:pt x="683057" y="20574"/>
                      <a:pt x="649224" y="54435"/>
                      <a:pt x="649224" y="96012"/>
                    </a:cubicBezTo>
                    <a:cubicBezTo>
                      <a:pt x="649224" y="137589"/>
                      <a:pt x="683057" y="171450"/>
                      <a:pt x="724662" y="171450"/>
                    </a:cubicBezTo>
                    <a:cubicBezTo>
                      <a:pt x="766267" y="171450"/>
                      <a:pt x="800100" y="137617"/>
                      <a:pt x="800100" y="96012"/>
                    </a:cubicBezTo>
                    <a:cubicBezTo>
                      <a:pt x="800100" y="54407"/>
                      <a:pt x="766267" y="20574"/>
                      <a:pt x="724662" y="20574"/>
                    </a:cubicBezTo>
                    <a:close/>
                  </a:path>
                </a:pathLst>
              </a:custGeom>
              <a:solidFill>
                <a:srgbClr val="0F62FE"/>
              </a:solidFill>
              <a:ln w="28575" cap="flat">
                <a:noFill/>
                <a:prstDash val="solid"/>
                <a:miter/>
              </a:ln>
            </p:spPr>
            <p:txBody>
              <a:bodyPr rtlCol="0" anchor="ctr"/>
              <a:lstStyle/>
              <a:p>
                <a:endParaRPr lang="en-US"/>
              </a:p>
            </p:txBody>
          </p:sp>
        </p:grpSp>
      </p:grpSp>
      <p:grpSp>
        <p:nvGrpSpPr>
          <p:cNvPr id="34" name="Group 33">
            <a:extLst>
              <a:ext uri="{FF2B5EF4-FFF2-40B4-BE49-F238E27FC236}">
                <a16:creationId xmlns:a16="http://schemas.microsoft.com/office/drawing/2014/main" id="{7469E72D-EF7F-2A59-F09A-73F03723299F}"/>
              </a:ext>
            </a:extLst>
          </p:cNvPr>
          <p:cNvGrpSpPr/>
          <p:nvPr/>
        </p:nvGrpSpPr>
        <p:grpSpPr>
          <a:xfrm>
            <a:off x="12557776" y="3999162"/>
            <a:ext cx="4388339" cy="6698439"/>
            <a:chOff x="12275499" y="3999162"/>
            <a:chExt cx="4388339" cy="6698439"/>
          </a:xfrm>
        </p:grpSpPr>
        <p:cxnSp>
          <p:nvCxnSpPr>
            <p:cNvPr id="11" name="Straight Connector 10">
              <a:extLst>
                <a:ext uri="{FF2B5EF4-FFF2-40B4-BE49-F238E27FC236}">
                  <a16:creationId xmlns:a16="http://schemas.microsoft.com/office/drawing/2014/main" id="{D6FFC236-7FCE-CEBA-38BE-3CADF0A96EF1}"/>
                </a:ext>
              </a:extLst>
            </p:cNvPr>
            <p:cNvCxnSpPr>
              <a:cxnSpLocks/>
            </p:cNvCxnSpPr>
            <p:nvPr/>
          </p:nvCxnSpPr>
          <p:spPr bwMode="auto">
            <a:xfrm>
              <a:off x="15947907" y="7346543"/>
              <a:ext cx="715931" cy="0"/>
            </a:xfrm>
            <a:prstGeom prst="line">
              <a:avLst/>
            </a:prstGeom>
            <a:ln w="50800" cap="rnd">
              <a:solidFill>
                <a:srgbClr val="D4BBFF"/>
              </a:solidFill>
              <a:prstDash val="sysDot"/>
              <a:headEnd type="none" w="med" len="med"/>
              <a:tailEnd type="arrow" w="med" len="med"/>
            </a:ln>
            <a:effectLst/>
          </p:spPr>
          <p:style>
            <a:lnRef idx="1">
              <a:schemeClr val="dk1"/>
            </a:lnRef>
            <a:fillRef idx="0">
              <a:schemeClr val="dk1"/>
            </a:fillRef>
            <a:effectRef idx="0">
              <a:schemeClr val="dk1"/>
            </a:effectRef>
            <a:fontRef idx="minor">
              <a:schemeClr val="tx1"/>
            </a:fontRef>
          </p:style>
        </p:cxnSp>
        <p:grpSp>
          <p:nvGrpSpPr>
            <p:cNvPr id="29" name="Group 28">
              <a:extLst>
                <a:ext uri="{FF2B5EF4-FFF2-40B4-BE49-F238E27FC236}">
                  <a16:creationId xmlns:a16="http://schemas.microsoft.com/office/drawing/2014/main" id="{31F58B35-829B-57CE-BE89-07F52899715C}"/>
                </a:ext>
              </a:extLst>
            </p:cNvPr>
            <p:cNvGrpSpPr/>
            <p:nvPr/>
          </p:nvGrpSpPr>
          <p:grpSpPr>
            <a:xfrm>
              <a:off x="12275499" y="3999162"/>
              <a:ext cx="3668259" cy="3657600"/>
              <a:chOff x="12275499" y="3986970"/>
              <a:chExt cx="3668259" cy="3657600"/>
            </a:xfrm>
          </p:grpSpPr>
          <p:sp>
            <p:nvSpPr>
              <p:cNvPr id="5" name="Arc 4">
                <a:extLst>
                  <a:ext uri="{FF2B5EF4-FFF2-40B4-BE49-F238E27FC236}">
                    <a16:creationId xmlns:a16="http://schemas.microsoft.com/office/drawing/2014/main" id="{7A71A3A4-40A4-AB1F-9893-B08006F28FF5}"/>
                  </a:ext>
                </a:extLst>
              </p:cNvPr>
              <p:cNvSpPr>
                <a:spLocks noChangeAspect="1"/>
              </p:cNvSpPr>
              <p:nvPr/>
            </p:nvSpPr>
            <p:spPr bwMode="auto">
              <a:xfrm>
                <a:off x="12275499" y="3986970"/>
                <a:ext cx="3657814" cy="3657600"/>
              </a:xfrm>
              <a:prstGeom prst="arc">
                <a:avLst/>
              </a:prstGeom>
              <a:ln w="50800" cap="rnd">
                <a:solidFill>
                  <a:srgbClr val="D4BBFF"/>
                </a:solidFill>
                <a:prstDash val="sysDot"/>
                <a:headEnd type="none" w="med" len="med"/>
                <a:tailEnd type="none"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7D4A06A0-BE91-98F6-48BF-7AEBE8C81148}"/>
                  </a:ext>
                </a:extLst>
              </p:cNvPr>
              <p:cNvCxnSpPr>
                <a:cxnSpLocks/>
              </p:cNvCxnSpPr>
              <p:nvPr/>
            </p:nvCxnSpPr>
            <p:spPr bwMode="auto">
              <a:xfrm>
                <a:off x="15943758" y="5901031"/>
                <a:ext cx="0" cy="1371600"/>
              </a:xfrm>
              <a:prstGeom prst="line">
                <a:avLst/>
              </a:prstGeom>
              <a:ln w="50800" cap="rnd">
                <a:solidFill>
                  <a:srgbClr val="D4BBFF"/>
                </a:solidFill>
                <a:prstDash val="sysDot"/>
                <a:headEnd type="none" w="med" len="med"/>
                <a:tailEnd type="none" w="med" len="med"/>
              </a:ln>
              <a:effectLst/>
            </p:spPr>
            <p:style>
              <a:lnRef idx="1">
                <a:schemeClr val="dk1"/>
              </a:lnRef>
              <a:fillRef idx="0">
                <a:schemeClr val="dk1"/>
              </a:fillRef>
              <a:effectRef idx="0">
                <a:schemeClr val="dk1"/>
              </a:effectRef>
              <a:fontRef idx="minor">
                <a:schemeClr val="tx1"/>
              </a:fontRef>
            </p:style>
          </p:cxnSp>
        </p:grpSp>
        <p:grpSp>
          <p:nvGrpSpPr>
            <p:cNvPr id="30" name="Group 29">
              <a:extLst>
                <a:ext uri="{FF2B5EF4-FFF2-40B4-BE49-F238E27FC236}">
                  <a16:creationId xmlns:a16="http://schemas.microsoft.com/office/drawing/2014/main" id="{626251FA-2AEC-D335-D665-DD5E930C6DFD}"/>
                </a:ext>
              </a:extLst>
            </p:cNvPr>
            <p:cNvGrpSpPr/>
            <p:nvPr/>
          </p:nvGrpSpPr>
          <p:grpSpPr>
            <a:xfrm flipV="1">
              <a:off x="12275499" y="7040001"/>
              <a:ext cx="3668259" cy="3657600"/>
              <a:chOff x="12275499" y="3986970"/>
              <a:chExt cx="3668259" cy="3657600"/>
            </a:xfrm>
          </p:grpSpPr>
          <p:sp>
            <p:nvSpPr>
              <p:cNvPr id="32" name="Arc 31">
                <a:extLst>
                  <a:ext uri="{FF2B5EF4-FFF2-40B4-BE49-F238E27FC236}">
                    <a16:creationId xmlns:a16="http://schemas.microsoft.com/office/drawing/2014/main" id="{3D79195F-3AF0-A8DD-C17A-E1460B253DF4}"/>
                  </a:ext>
                </a:extLst>
              </p:cNvPr>
              <p:cNvSpPr>
                <a:spLocks noChangeAspect="1"/>
              </p:cNvSpPr>
              <p:nvPr/>
            </p:nvSpPr>
            <p:spPr bwMode="auto">
              <a:xfrm>
                <a:off x="12275499" y="3986970"/>
                <a:ext cx="3657814" cy="3657600"/>
              </a:xfrm>
              <a:prstGeom prst="arc">
                <a:avLst/>
              </a:prstGeom>
              <a:ln w="50800" cap="rnd">
                <a:solidFill>
                  <a:srgbClr val="D4BBFF"/>
                </a:solidFill>
                <a:prstDash val="sysDot"/>
                <a:headEnd type="none" w="med" len="med"/>
                <a:tailEnd type="none"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3" name="Straight Connector 32">
                <a:extLst>
                  <a:ext uri="{FF2B5EF4-FFF2-40B4-BE49-F238E27FC236}">
                    <a16:creationId xmlns:a16="http://schemas.microsoft.com/office/drawing/2014/main" id="{3E0A08AB-C8EC-3F6E-97F0-02C62DE5B755}"/>
                  </a:ext>
                </a:extLst>
              </p:cNvPr>
              <p:cNvCxnSpPr>
                <a:cxnSpLocks/>
              </p:cNvCxnSpPr>
              <p:nvPr/>
            </p:nvCxnSpPr>
            <p:spPr bwMode="auto">
              <a:xfrm>
                <a:off x="15943758" y="5901031"/>
                <a:ext cx="0" cy="1371600"/>
              </a:xfrm>
              <a:prstGeom prst="line">
                <a:avLst/>
              </a:prstGeom>
              <a:ln w="50800" cap="rnd">
                <a:solidFill>
                  <a:srgbClr val="D4BBFF"/>
                </a:solidFill>
                <a:prstDash val="sysDot"/>
                <a:headEnd type="none" w="med" len="med"/>
                <a:tailEnd type="none" w="med" len="med"/>
              </a:ln>
              <a:effectLst/>
            </p:spPr>
            <p:style>
              <a:lnRef idx="1">
                <a:schemeClr val="dk1"/>
              </a:lnRef>
              <a:fillRef idx="0">
                <a:schemeClr val="dk1"/>
              </a:fillRef>
              <a:effectRef idx="0">
                <a:schemeClr val="dk1"/>
              </a:effectRef>
              <a:fontRef idx="minor">
                <a:schemeClr val="tx1"/>
              </a:fontRef>
            </p:style>
          </p:cxnSp>
        </p:grpSp>
      </p:grpSp>
      <p:sp>
        <p:nvSpPr>
          <p:cNvPr id="3" name="Title 2">
            <a:extLst>
              <a:ext uri="{FF2B5EF4-FFF2-40B4-BE49-F238E27FC236}">
                <a16:creationId xmlns:a16="http://schemas.microsoft.com/office/drawing/2014/main" id="{089E639A-73B5-66AA-22AC-9D723BF0553D}"/>
              </a:ext>
            </a:extLst>
          </p:cNvPr>
          <p:cNvSpPr>
            <a:spLocks noGrp="1"/>
          </p:cNvSpPr>
          <p:nvPr>
            <p:ph type="title"/>
          </p:nvPr>
        </p:nvSpPr>
        <p:spPr>
          <a:xfrm>
            <a:off x="576072" y="385200"/>
            <a:ext cx="23201247" cy="1527048"/>
          </a:xfrm>
        </p:spPr>
        <p:txBody>
          <a:bodyPr/>
          <a:lstStyle/>
          <a:p>
            <a:r>
              <a:rPr lang="en-US" kern="0" dirty="0">
                <a:solidFill>
                  <a:srgbClr val="000000"/>
                </a:solidFill>
                <a:cs typeface="Arial"/>
                <a:sym typeface="Arial"/>
              </a:rPr>
              <a:t>How users access </a:t>
            </a:r>
            <a:r>
              <a:rPr lang="en-US" i="1" dirty="0">
                <a:solidFill>
                  <a:schemeClr val="accent1"/>
                </a:solidFill>
                <a:cs typeface="Arial"/>
                <a:sym typeface="Arial"/>
              </a:rPr>
              <a:t>g</a:t>
            </a:r>
            <a:r>
              <a:rPr lang="en-US" i="1" kern="0" dirty="0">
                <a:solidFill>
                  <a:schemeClr val="accent1"/>
                </a:solidFill>
                <a:latin typeface="IBM Plex Sans Light" panose="020B0403050203000203" pitchFamily="34" charset="0"/>
                <a:cs typeface="Arial"/>
                <a:sym typeface="Arial"/>
              </a:rPr>
              <a:t>enerative AI capabilities </a:t>
            </a:r>
            <a:r>
              <a:rPr lang="en-US" kern="0" dirty="0">
                <a:solidFill>
                  <a:srgbClr val="000000"/>
                </a:solidFill>
                <a:cs typeface="Arial"/>
                <a:sym typeface="Arial"/>
              </a:rPr>
              <a:t>in watsonx Orchestrate</a:t>
            </a:r>
            <a:br>
              <a:rPr kumimoji="0" lang="en-US" u="none" strike="noStrike" kern="0" cap="none" spc="0" normalizeH="0" baseline="0" noProof="0" dirty="0">
                <a:ln>
                  <a:noFill/>
                </a:ln>
                <a:solidFill>
                  <a:schemeClr val="accent1"/>
                </a:solidFill>
                <a:effectLst/>
                <a:uLnTx/>
                <a:uFillTx/>
                <a:latin typeface="IBM Plex Sans Light" panose="020B0403050203000203" pitchFamily="34" charset="0"/>
                <a:cs typeface="Arial"/>
                <a:sym typeface="Arial"/>
              </a:rPr>
            </a:br>
            <a:endParaRPr lang="en-US" dirty="0"/>
          </a:p>
        </p:txBody>
      </p:sp>
    </p:spTree>
    <p:extLst>
      <p:ext uri="{BB962C8B-B14F-4D97-AF65-F5344CB8AC3E}">
        <p14:creationId xmlns:p14="http://schemas.microsoft.com/office/powerpoint/2010/main" val="233854018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7"/>
                                        </p:tgtEl>
                                        <p:attrNameLst>
                                          <p:attrName>style.visibility</p:attrName>
                                        </p:attrNameLst>
                                      </p:cBhvr>
                                      <p:to>
                                        <p:strVal val="visible"/>
                                      </p:to>
                                    </p:set>
                                    <p:animEffect transition="in" filter="fade">
                                      <p:cBhvr>
                                        <p:cTn id="7" dur="500"/>
                                        <p:tgtEl>
                                          <p:spTgt spid="15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8"/>
                                        </p:tgtEl>
                                        <p:attrNameLst>
                                          <p:attrName>style.visibility</p:attrName>
                                        </p:attrNameLst>
                                      </p:cBhvr>
                                      <p:to>
                                        <p:strVal val="visible"/>
                                      </p:to>
                                    </p:set>
                                    <p:animEffect transition="in" filter="fade">
                                      <p:cBhvr>
                                        <p:cTn id="11" dur="500"/>
                                        <p:tgtEl>
                                          <p:spTgt spid="158"/>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91"/>
                                        </p:tgtEl>
                                        <p:attrNameLst>
                                          <p:attrName>style.visibility</p:attrName>
                                        </p:attrNameLst>
                                      </p:cBhvr>
                                      <p:to>
                                        <p:strVal val="visible"/>
                                      </p:to>
                                    </p:set>
                                    <p:animEffect transition="in" filter="wipe(left)">
                                      <p:cBhvr>
                                        <p:cTn id="15" dur="500"/>
                                        <p:tgtEl>
                                          <p:spTgt spid="9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4"/>
                                        </p:tgtEl>
                                        <p:attrNameLst>
                                          <p:attrName>style.visibility</p:attrName>
                                        </p:attrNameLst>
                                      </p:cBhvr>
                                      <p:to>
                                        <p:strVal val="visible"/>
                                      </p:to>
                                    </p:set>
                                    <p:animEffect transition="in" filter="fade">
                                      <p:cBhvr>
                                        <p:cTn id="19" dur="500"/>
                                        <p:tgtEl>
                                          <p:spTgt spid="84"/>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89"/>
                                        </p:tgtEl>
                                        <p:attrNameLst>
                                          <p:attrName>style.visibility</p:attrName>
                                        </p:attrNameLst>
                                      </p:cBhvr>
                                      <p:to>
                                        <p:strVal val="visible"/>
                                      </p:to>
                                    </p:set>
                                    <p:animEffect transition="in" filter="wipe(left)">
                                      <p:cBhvr>
                                        <p:cTn id="23" dur="500"/>
                                        <p:tgtEl>
                                          <p:spTgt spid="89"/>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85"/>
                                        </p:tgtEl>
                                        <p:attrNameLst>
                                          <p:attrName>style.visibility</p:attrName>
                                        </p:attrNameLst>
                                      </p:cBhvr>
                                      <p:to>
                                        <p:strVal val="visible"/>
                                      </p:to>
                                    </p:set>
                                    <p:animEffect transition="in" filter="fade">
                                      <p:cBhvr>
                                        <p:cTn id="27" dur="500"/>
                                        <p:tgtEl>
                                          <p:spTgt spid="85"/>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92"/>
                                        </p:tgtEl>
                                        <p:attrNameLst>
                                          <p:attrName>style.visibility</p:attrName>
                                        </p:attrNameLst>
                                      </p:cBhvr>
                                      <p:to>
                                        <p:strVal val="visible"/>
                                      </p:to>
                                    </p:set>
                                    <p:animEffect transition="in" filter="wipe(left)">
                                      <p:cBhvr>
                                        <p:cTn id="31" dur="500"/>
                                        <p:tgtEl>
                                          <p:spTgt spid="92"/>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86"/>
                                        </p:tgtEl>
                                        <p:attrNameLst>
                                          <p:attrName>style.visibility</p:attrName>
                                        </p:attrNameLst>
                                      </p:cBhvr>
                                      <p:to>
                                        <p:strVal val="visible"/>
                                      </p:to>
                                    </p:set>
                                    <p:animEffect transition="in" filter="fade">
                                      <p:cBhvr>
                                        <p:cTn id="35" dur="500"/>
                                        <p:tgtEl>
                                          <p:spTgt spid="86"/>
                                        </p:tgtEl>
                                      </p:cBhvr>
                                    </p:animEffect>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wipe(left)">
                                      <p:cBhvr>
                                        <p:cTn id="39" dur="500"/>
                                        <p:tgtEl>
                                          <p:spTgt spid="34"/>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152"/>
                                        </p:tgtEl>
                                        <p:attrNameLst>
                                          <p:attrName>style.visibility</p:attrName>
                                        </p:attrNameLst>
                                      </p:cBhvr>
                                      <p:to>
                                        <p:strVal val="visible"/>
                                      </p:to>
                                    </p:set>
                                    <p:animEffect transition="in" filter="fade">
                                      <p:cBhvr>
                                        <p:cTn id="43" dur="500"/>
                                        <p:tgtEl>
                                          <p:spTgt spid="152"/>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156"/>
                                        </p:tgtEl>
                                        <p:attrNameLst>
                                          <p:attrName>style.visibility</p:attrName>
                                        </p:attrNameLst>
                                      </p:cBhvr>
                                      <p:to>
                                        <p:strVal val="visible"/>
                                      </p:to>
                                    </p:set>
                                    <p:animEffect transition="in" filter="fade">
                                      <p:cBhvr>
                                        <p:cTn id="47" dur="500"/>
                                        <p:tgtEl>
                                          <p:spTgt spid="156"/>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59"/>
                                        </p:tgtEl>
                                        <p:attrNameLst>
                                          <p:attrName>style.visibility</p:attrName>
                                        </p:attrNameLst>
                                      </p:cBhvr>
                                      <p:to>
                                        <p:strVal val="visible"/>
                                      </p:to>
                                    </p:set>
                                    <p:animEffect transition="in" filter="fade">
                                      <p:cBhvr>
                                        <p:cTn id="51"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animBg="1"/>
      <p:bldP spid="84" grpId="0" animBg="1"/>
      <p:bldP spid="8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5FA0A-5A99-5814-5C28-D44287602DD0}"/>
              </a:ext>
            </a:extLst>
          </p:cNvPr>
          <p:cNvSpPr>
            <a:spLocks noGrp="1"/>
          </p:cNvSpPr>
          <p:nvPr>
            <p:ph type="title"/>
          </p:nvPr>
        </p:nvSpPr>
        <p:spPr>
          <a:xfrm>
            <a:off x="576071" y="384048"/>
            <a:ext cx="21050564" cy="4573587"/>
          </a:xfrm>
        </p:spPr>
        <p:txBody>
          <a:bodyPr/>
          <a:lstStyle/>
          <a:p>
            <a:r>
              <a:rPr lang="en-US" sz="6400" dirty="0">
                <a:latin typeface="+mj-lt"/>
              </a:rPr>
              <a:t>Skills – a core capability of watsonx Orchestrate</a:t>
            </a:r>
          </a:p>
        </p:txBody>
      </p:sp>
      <p:sp>
        <p:nvSpPr>
          <p:cNvPr id="6" name="TextBox 5">
            <a:extLst>
              <a:ext uri="{FF2B5EF4-FFF2-40B4-BE49-F238E27FC236}">
                <a16:creationId xmlns:a16="http://schemas.microsoft.com/office/drawing/2014/main" id="{14A01CC6-0859-B811-35AA-DF9FC99A46C6}"/>
              </a:ext>
            </a:extLst>
          </p:cNvPr>
          <p:cNvSpPr txBox="1"/>
          <p:nvPr/>
        </p:nvSpPr>
        <p:spPr>
          <a:xfrm>
            <a:off x="16163365" y="2669458"/>
            <a:ext cx="6427694" cy="9144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l" defTabSz="2438400">
              <a:buSzPct val="100000"/>
            </a:pPr>
            <a:endParaRPr lang="en-US" sz="2400" dirty="0">
              <a:cs typeface="Arial" panose="020B0604020202020204" pitchFamily="34" charset="0"/>
            </a:endParaRPr>
          </a:p>
        </p:txBody>
      </p:sp>
      <p:sp>
        <p:nvSpPr>
          <p:cNvPr id="3" name="Rectangle 2" descr="Vertical half slide background in blue 10">
            <a:extLst>
              <a:ext uri="{FF2B5EF4-FFF2-40B4-BE49-F238E27FC236}">
                <a16:creationId xmlns:a16="http://schemas.microsoft.com/office/drawing/2014/main" id="{085E7813-C668-046F-4B86-8E707C2077CB}"/>
              </a:ext>
            </a:extLst>
          </p:cNvPr>
          <p:cNvSpPr/>
          <p:nvPr/>
        </p:nvSpPr>
        <p:spPr bwMode="auto">
          <a:xfrm>
            <a:off x="11944795" y="3947229"/>
            <a:ext cx="12192000" cy="9494999"/>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5" name="Content Placeholder 3">
            <a:extLst>
              <a:ext uri="{FF2B5EF4-FFF2-40B4-BE49-F238E27FC236}">
                <a16:creationId xmlns:a16="http://schemas.microsoft.com/office/drawing/2014/main" id="{019EF2A1-4558-233D-CE9C-04F543494C31}"/>
              </a:ext>
            </a:extLst>
          </p:cNvPr>
          <p:cNvSpPr txBox="1">
            <a:spLocks/>
          </p:cNvSpPr>
          <p:nvPr/>
        </p:nvSpPr>
        <p:spPr>
          <a:xfrm>
            <a:off x="695500" y="2782927"/>
            <a:ext cx="10657361" cy="8987076"/>
          </a:xfrm>
          <a:prstGeom prst="rect">
            <a:avLst/>
          </a:prstGeom>
        </p:spPr>
        <p:txBody>
          <a:bodyPr vert="horz" wrap="square" lIns="0" tIns="0" rIns="0" bIns="0" rtlCol="0">
            <a:spAutoFit/>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marL="0" marR="0" lvl="1" indent="0" algn="l" defTabSz="2437884" rtl="0" eaLnBrk="1" fontAlgn="base" latinLnBrk="0" hangingPunct="1">
              <a:lnSpc>
                <a:spcPct val="100000"/>
              </a:lnSpc>
              <a:spcBef>
                <a:spcPts val="2933"/>
              </a:spcBef>
              <a:spcAft>
                <a:spcPct val="0"/>
              </a:spcAft>
              <a:buClr>
                <a:srgbClr val="001141"/>
              </a:buClr>
              <a:buSzPct val="100000"/>
              <a:buFont typeface="IBM Plex Sans Light" charset="-120"/>
              <a:buNone/>
              <a:tabLst/>
              <a:defRPr/>
            </a:pPr>
            <a:r>
              <a:rPr kumimoji="0" lang="en-US" sz="4400" b="0" i="0" u="none" strike="noStrike" kern="0" cap="none" spc="0" normalizeH="0" baseline="0" noProof="0" dirty="0">
                <a:ln>
                  <a:noFill/>
                </a:ln>
                <a:solidFill>
                  <a:srgbClr val="000000"/>
                </a:solidFill>
                <a:effectLst/>
                <a:uLnTx/>
                <a:uFillTx/>
                <a:latin typeface="+mn-lt"/>
                <a:sym typeface="Arial"/>
              </a:rPr>
              <a:t>Skills originate from 3 sources</a:t>
            </a:r>
          </a:p>
          <a:p>
            <a:pPr marL="0" marR="0" lvl="1" indent="0" algn="l" defTabSz="2437884" rtl="0" eaLnBrk="1" fontAlgn="base" latinLnBrk="0" hangingPunct="1">
              <a:lnSpc>
                <a:spcPct val="100000"/>
              </a:lnSpc>
              <a:spcBef>
                <a:spcPts val="0"/>
              </a:spcBef>
              <a:spcAft>
                <a:spcPct val="0"/>
              </a:spcAft>
              <a:buClr>
                <a:srgbClr val="001141"/>
              </a:buClr>
              <a:buSzPct val="100000"/>
              <a:buFont typeface="IBM Plex Sans Light" charset="-120"/>
              <a:buNone/>
              <a:tabLst/>
              <a:defRPr/>
            </a:pPr>
            <a:endParaRPr kumimoji="0" lang="en-US" sz="3200" b="0" i="0" u="none" strike="noStrike" kern="0" cap="none" spc="0" normalizeH="0" baseline="0" noProof="0" dirty="0">
              <a:ln>
                <a:noFill/>
              </a:ln>
              <a:solidFill>
                <a:srgbClr val="000000"/>
              </a:solidFill>
              <a:effectLst/>
              <a:uLnTx/>
              <a:uFillTx/>
              <a:latin typeface="+mn-lt"/>
              <a:sym typeface="Arial"/>
            </a:endParaRPr>
          </a:p>
          <a:p>
            <a:pPr marL="685800" marR="0" lvl="1" indent="0" algn="l" defTabSz="2437884" rtl="0" eaLnBrk="1" fontAlgn="base" latinLnBrk="0" hangingPunct="1">
              <a:lnSpc>
                <a:spcPct val="100000"/>
              </a:lnSpc>
              <a:spcBef>
                <a:spcPts val="0"/>
              </a:spcBef>
              <a:spcAft>
                <a:spcPct val="0"/>
              </a:spcAft>
              <a:buClr>
                <a:srgbClr val="001141"/>
              </a:buClr>
              <a:buSzPct val="100000"/>
              <a:buFont typeface="IBM Plex Sans Light" charset="-120"/>
              <a:buNone/>
              <a:tabLst/>
              <a:defRPr/>
            </a:pPr>
            <a:r>
              <a:rPr lang="en-US" sz="3200" kern="0" dirty="0">
                <a:solidFill>
                  <a:srgbClr val="0F62FE"/>
                </a:solidFill>
                <a:latin typeface="+mn-lt"/>
                <a:sym typeface="Arial"/>
              </a:rPr>
              <a:t>Prebuilt</a:t>
            </a:r>
            <a:r>
              <a:rPr kumimoji="0" lang="en-US" sz="3200" b="0" i="0" u="none" strike="noStrike" kern="0" cap="none" spc="0" normalizeH="0" baseline="0" noProof="0" dirty="0">
                <a:ln>
                  <a:noFill/>
                </a:ln>
                <a:solidFill>
                  <a:srgbClr val="0F62FE"/>
                </a:solidFill>
                <a:effectLst/>
                <a:uLnTx/>
                <a:uFillTx/>
                <a:latin typeface="+mn-lt"/>
                <a:sym typeface="Arial"/>
              </a:rPr>
              <a:t> Skills aligned to entry point use cases</a:t>
            </a:r>
          </a:p>
          <a:p>
            <a:pPr marL="685800" marR="0" lvl="1" indent="0" algn="l" defTabSz="2437884" rtl="0" eaLnBrk="1" fontAlgn="base" latinLnBrk="0" hangingPunct="1">
              <a:lnSpc>
                <a:spcPct val="100000"/>
              </a:lnSpc>
              <a:spcBef>
                <a:spcPts val="1200"/>
              </a:spcBef>
              <a:spcAft>
                <a:spcPct val="0"/>
              </a:spcAft>
              <a:buClr>
                <a:srgbClr val="001141"/>
              </a:buClr>
              <a:buSzPct val="100000"/>
              <a:buFont typeface="IBM Plex Sans Light" charset="-120"/>
              <a:buNone/>
              <a:tabLst/>
              <a:defRPr/>
            </a:pPr>
            <a:r>
              <a:rPr kumimoji="0" lang="en-US" sz="2800" b="0" i="0" u="none" strike="noStrike" kern="0" cap="none" spc="0" normalizeH="0" baseline="0" noProof="0" dirty="0">
                <a:ln>
                  <a:noFill/>
                </a:ln>
                <a:solidFill>
                  <a:srgbClr val="000000"/>
                </a:solidFill>
                <a:effectLst/>
                <a:uLnTx/>
                <a:uFillTx/>
                <a:latin typeface="+mn-lt"/>
                <a:sym typeface="Arial"/>
              </a:rPr>
              <a:t>1000s of prebuilt </a:t>
            </a:r>
            <a:r>
              <a:rPr lang="en-US" sz="2800" kern="0" dirty="0">
                <a:solidFill>
                  <a:srgbClr val="000000"/>
                </a:solidFill>
                <a:latin typeface="+mn-lt"/>
                <a:sym typeface="Arial"/>
              </a:rPr>
              <a:t>s</a:t>
            </a:r>
            <a:r>
              <a:rPr kumimoji="0" lang="en-US" sz="2800" b="0" i="0" u="none" strike="noStrike" kern="0" cap="none" spc="0" normalizeH="0" baseline="0" noProof="0" dirty="0">
                <a:ln>
                  <a:noFill/>
                </a:ln>
                <a:solidFill>
                  <a:srgbClr val="000000"/>
                </a:solidFill>
                <a:effectLst/>
                <a:uLnTx/>
                <a:uFillTx/>
                <a:latin typeface="+mn-lt"/>
                <a:sym typeface="Arial"/>
              </a:rPr>
              <a:t>kills aligned to customer </a:t>
            </a:r>
            <a:r>
              <a:rPr lang="en-US" sz="2800" kern="0" dirty="0">
                <a:solidFill>
                  <a:srgbClr val="000000"/>
                </a:solidFill>
                <a:latin typeface="+mn-lt"/>
                <a:sym typeface="Arial"/>
              </a:rPr>
              <a:t>c</a:t>
            </a:r>
            <a:r>
              <a:rPr kumimoji="0" lang="en-US" sz="2800" b="0" i="0" u="none" strike="noStrike" kern="0" cap="none" spc="0" normalizeH="0" baseline="0" noProof="0" dirty="0">
                <a:ln>
                  <a:noFill/>
                </a:ln>
                <a:solidFill>
                  <a:srgbClr val="000000"/>
                </a:solidFill>
                <a:effectLst/>
                <a:uLnTx/>
                <a:uFillTx/>
                <a:latin typeface="+mn-lt"/>
                <a:sym typeface="Arial"/>
              </a:rPr>
              <a:t>are, human resources, sales, and </a:t>
            </a:r>
            <a:r>
              <a:rPr lang="en-US" sz="2800" kern="0" dirty="0">
                <a:solidFill>
                  <a:srgbClr val="000000"/>
                </a:solidFill>
                <a:latin typeface="+mn-lt"/>
                <a:sym typeface="Arial"/>
              </a:rPr>
              <a:t>procurement</a:t>
            </a:r>
            <a:r>
              <a:rPr kumimoji="0" lang="en-US" sz="2800" b="0" i="0" u="none" strike="noStrike" kern="0" cap="none" spc="0" normalizeH="0" baseline="0" noProof="0" dirty="0">
                <a:ln>
                  <a:noFill/>
                </a:ln>
                <a:solidFill>
                  <a:srgbClr val="000000"/>
                </a:solidFill>
                <a:effectLst/>
                <a:uLnTx/>
                <a:uFillTx/>
                <a:latin typeface="+mn-lt"/>
                <a:sym typeface="Arial"/>
              </a:rPr>
              <a:t> domains without specialized training</a:t>
            </a:r>
          </a:p>
          <a:p>
            <a:pPr marL="685800" marR="0" lvl="1" indent="0" algn="l" defTabSz="2437884" rtl="0" eaLnBrk="1" fontAlgn="base" latinLnBrk="0" hangingPunct="1">
              <a:lnSpc>
                <a:spcPct val="100000"/>
              </a:lnSpc>
              <a:spcBef>
                <a:spcPts val="1200"/>
              </a:spcBef>
              <a:spcAft>
                <a:spcPct val="0"/>
              </a:spcAft>
              <a:buClr>
                <a:srgbClr val="001141"/>
              </a:buClr>
              <a:buSzPct val="100000"/>
              <a:buFont typeface="IBM Plex Sans Light" charset="-120"/>
              <a:buNone/>
              <a:tabLst/>
              <a:defRPr/>
            </a:pPr>
            <a:endParaRPr kumimoji="0" lang="en-US" sz="2800" b="0" i="0" u="none" strike="noStrike" kern="0" cap="none" spc="0" normalizeH="0" baseline="0" noProof="0" dirty="0">
              <a:ln>
                <a:noFill/>
              </a:ln>
              <a:solidFill>
                <a:srgbClr val="000000"/>
              </a:solidFill>
              <a:effectLst/>
              <a:uLnTx/>
              <a:uFillTx/>
              <a:latin typeface="+mn-lt"/>
              <a:sym typeface="Arial"/>
            </a:endParaRPr>
          </a:p>
          <a:p>
            <a:pPr marL="685800" marR="0" lvl="1" indent="0" algn="l" defTabSz="2437884" rtl="0" eaLnBrk="1" fontAlgn="base" latinLnBrk="0" hangingPunct="1">
              <a:lnSpc>
                <a:spcPct val="100000"/>
              </a:lnSpc>
              <a:spcBef>
                <a:spcPts val="0"/>
              </a:spcBef>
              <a:spcAft>
                <a:spcPct val="0"/>
              </a:spcAft>
              <a:buClr>
                <a:srgbClr val="001141"/>
              </a:buClr>
              <a:buSzPct val="100000"/>
              <a:buFont typeface="IBM Plex Sans Light" charset="-120"/>
              <a:buNone/>
              <a:tabLst/>
              <a:defRPr/>
            </a:pPr>
            <a:r>
              <a:rPr kumimoji="0" lang="en-US" sz="3200" b="0" i="0" u="none" strike="noStrike" kern="0" cap="none" spc="0" normalizeH="0" baseline="0" noProof="0" dirty="0">
                <a:ln>
                  <a:noFill/>
                </a:ln>
                <a:solidFill>
                  <a:srgbClr val="0F62FE"/>
                </a:solidFill>
                <a:effectLst/>
                <a:uLnTx/>
                <a:uFillTx/>
                <a:latin typeface="+mn-lt"/>
                <a:sym typeface="Arial"/>
              </a:rPr>
              <a:t>Discover and train automations across the enterprise</a:t>
            </a:r>
          </a:p>
          <a:p>
            <a:pPr marL="685800" lvl="1" indent="0" defTabSz="2437884">
              <a:spcBef>
                <a:spcPts val="1200"/>
              </a:spcBef>
              <a:buNone/>
              <a:defRPr/>
            </a:pPr>
            <a:r>
              <a:rPr lang="en-US" sz="2800" kern="0" dirty="0">
                <a:solidFill>
                  <a:srgbClr val="000000"/>
                </a:solidFill>
                <a:latin typeface="+mn-lt"/>
                <a:sym typeface="Arial"/>
              </a:rPr>
              <a:t>Teams can uncover new automations by using robotic process automation (RPA) and APIs to train Orchestrate on specific skills. CP4BA SaaS or on-premises capabilities are discovered </a:t>
            </a:r>
            <a:br>
              <a:rPr lang="en-US" sz="2800" kern="0" dirty="0">
                <a:solidFill>
                  <a:srgbClr val="000000"/>
                </a:solidFill>
                <a:latin typeface="+mn-lt"/>
                <a:sym typeface="Arial"/>
              </a:rPr>
            </a:br>
            <a:r>
              <a:rPr lang="en-US" sz="2800" kern="0" dirty="0">
                <a:solidFill>
                  <a:srgbClr val="000000"/>
                </a:solidFill>
                <a:latin typeface="+mn-lt"/>
                <a:sym typeface="Arial"/>
              </a:rPr>
              <a:t>when connected</a:t>
            </a:r>
          </a:p>
          <a:p>
            <a:pPr marL="685800" marR="0" lvl="1" indent="0" algn="l" defTabSz="2437884" rtl="0" eaLnBrk="1" fontAlgn="base" latinLnBrk="0" hangingPunct="1">
              <a:lnSpc>
                <a:spcPct val="100000"/>
              </a:lnSpc>
              <a:spcBef>
                <a:spcPts val="0"/>
              </a:spcBef>
              <a:spcAft>
                <a:spcPct val="0"/>
              </a:spcAft>
              <a:buClr>
                <a:srgbClr val="001141"/>
              </a:buClr>
              <a:buSzPct val="100000"/>
              <a:buFont typeface="IBM Plex Sans Light" charset="-120"/>
              <a:buNone/>
              <a:tabLst/>
              <a:defRPr/>
            </a:pPr>
            <a:endParaRPr kumimoji="0" lang="en-US" sz="3200" b="0" i="0" u="none" strike="noStrike" kern="0" cap="none" spc="0" normalizeH="0" baseline="0" noProof="0" dirty="0">
              <a:ln>
                <a:noFill/>
              </a:ln>
              <a:solidFill>
                <a:srgbClr val="0F62FE"/>
              </a:solidFill>
              <a:effectLst/>
              <a:uLnTx/>
              <a:uFillTx/>
              <a:latin typeface="+mn-lt"/>
              <a:sym typeface="Arial"/>
            </a:endParaRPr>
          </a:p>
          <a:p>
            <a:pPr marL="685800" marR="0" lvl="1" indent="0" algn="l" defTabSz="2437884" rtl="0" eaLnBrk="1" fontAlgn="base" latinLnBrk="0" hangingPunct="1">
              <a:lnSpc>
                <a:spcPct val="100000"/>
              </a:lnSpc>
              <a:spcBef>
                <a:spcPts val="0"/>
              </a:spcBef>
              <a:spcAft>
                <a:spcPct val="0"/>
              </a:spcAft>
              <a:buClr>
                <a:srgbClr val="001141"/>
              </a:buClr>
              <a:buSzPct val="100000"/>
              <a:buFont typeface="IBM Plex Sans Light" charset="-120"/>
              <a:buNone/>
              <a:tabLst/>
              <a:defRPr/>
            </a:pPr>
            <a:r>
              <a:rPr kumimoji="0" lang="en-US" sz="3200" b="0" i="0" u="none" strike="noStrike" kern="0" cap="none" spc="0" normalizeH="0" baseline="0" noProof="0" dirty="0">
                <a:ln>
                  <a:noFill/>
                </a:ln>
                <a:solidFill>
                  <a:srgbClr val="0F62FE"/>
                </a:solidFill>
                <a:effectLst/>
                <a:uLnTx/>
                <a:uFillTx/>
                <a:latin typeface="+mn-lt"/>
                <a:sym typeface="Arial"/>
              </a:rPr>
              <a:t>Build </a:t>
            </a:r>
            <a:r>
              <a:rPr lang="en-US" sz="3200" kern="0" dirty="0">
                <a:solidFill>
                  <a:srgbClr val="0F62FE"/>
                </a:solidFill>
                <a:latin typeface="+mn-lt"/>
                <a:sym typeface="Arial"/>
              </a:rPr>
              <a:t>custom automation</a:t>
            </a:r>
            <a:r>
              <a:rPr kumimoji="0" lang="en-US" sz="3200" b="0" i="0" u="none" strike="noStrike" kern="0" cap="none" spc="0" normalizeH="0" baseline="0" noProof="0" dirty="0">
                <a:ln>
                  <a:noFill/>
                </a:ln>
                <a:solidFill>
                  <a:srgbClr val="0F62FE"/>
                </a:solidFill>
                <a:effectLst/>
                <a:uLnTx/>
                <a:uFillTx/>
                <a:latin typeface="+mn-lt"/>
                <a:sym typeface="Arial"/>
              </a:rPr>
              <a:t> </a:t>
            </a:r>
            <a:br>
              <a:rPr kumimoji="0" lang="en-US" sz="3200" b="0" i="0" u="none" strike="noStrike" kern="0" cap="none" spc="0" normalizeH="0" baseline="0" noProof="0" dirty="0">
                <a:ln>
                  <a:noFill/>
                </a:ln>
                <a:solidFill>
                  <a:srgbClr val="0F62FE"/>
                </a:solidFill>
                <a:effectLst/>
                <a:uLnTx/>
                <a:uFillTx/>
                <a:latin typeface="+mn-lt"/>
                <a:sym typeface="Arial"/>
              </a:rPr>
            </a:br>
            <a:r>
              <a:rPr kumimoji="0" lang="en-US" sz="3200" b="0" i="0" u="none" strike="noStrike" kern="0" cap="none" spc="0" normalizeH="0" baseline="0" noProof="0" dirty="0">
                <a:ln>
                  <a:noFill/>
                </a:ln>
                <a:solidFill>
                  <a:srgbClr val="0F62FE"/>
                </a:solidFill>
                <a:effectLst/>
                <a:uLnTx/>
                <a:uFillTx/>
                <a:latin typeface="+mn-lt"/>
                <a:sym typeface="Arial"/>
              </a:rPr>
              <a:t>with Automation Builder</a:t>
            </a:r>
          </a:p>
          <a:p>
            <a:pPr marL="685800" lvl="1" indent="0" defTabSz="2437884">
              <a:spcBef>
                <a:spcPts val="1200"/>
              </a:spcBef>
              <a:buNone/>
              <a:defRPr/>
            </a:pPr>
            <a:r>
              <a:rPr lang="en-US" sz="2800" dirty="0">
                <a:solidFill>
                  <a:sysClr val="windowText" lastClr="000000"/>
                </a:solidFill>
                <a:latin typeface="+mn-lt"/>
              </a:rPr>
              <a:t>Create and manage low-code automations that combine decisions, tasks, skills, and workflows in a single authoring experience to power AI assistants</a:t>
            </a:r>
          </a:p>
        </p:txBody>
      </p:sp>
      <p:sp>
        <p:nvSpPr>
          <p:cNvPr id="7" name="Oval 6">
            <a:extLst>
              <a:ext uri="{FF2B5EF4-FFF2-40B4-BE49-F238E27FC236}">
                <a16:creationId xmlns:a16="http://schemas.microsoft.com/office/drawing/2014/main" id="{DA1DAE81-7F22-7B20-7DA2-F20125BD5BA4}"/>
              </a:ext>
            </a:extLst>
          </p:cNvPr>
          <p:cNvSpPr/>
          <p:nvPr/>
        </p:nvSpPr>
        <p:spPr bwMode="auto">
          <a:xfrm>
            <a:off x="543387" y="3903157"/>
            <a:ext cx="503208" cy="502920"/>
          </a:xfrm>
          <a:prstGeom prst="ellipse">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914218"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ea typeface="+mn-ea"/>
                <a:cs typeface="Helvetica"/>
              </a:rPr>
              <a:t>1</a:t>
            </a:r>
            <a:endParaRPr kumimoji="0" lang="en-US" sz="1800" b="0" i="0" u="none" strike="noStrike" kern="1200" cap="none" spc="0" normalizeH="0" baseline="0" noProof="0" dirty="0">
              <a:ln>
                <a:noFill/>
              </a:ln>
              <a:solidFill>
                <a:srgbClr val="FFFFFF"/>
              </a:solidFill>
              <a:effectLst/>
              <a:uLnTx/>
              <a:uFillTx/>
              <a:ea typeface="+mn-ea"/>
              <a:cs typeface="Helvetica"/>
            </a:endParaRPr>
          </a:p>
        </p:txBody>
      </p:sp>
      <p:sp>
        <p:nvSpPr>
          <p:cNvPr id="8" name="Oval 7">
            <a:extLst>
              <a:ext uri="{FF2B5EF4-FFF2-40B4-BE49-F238E27FC236}">
                <a16:creationId xmlns:a16="http://schemas.microsoft.com/office/drawing/2014/main" id="{E776E080-39B7-0A02-6744-5B131DC9400A}"/>
              </a:ext>
            </a:extLst>
          </p:cNvPr>
          <p:cNvSpPr/>
          <p:nvPr/>
        </p:nvSpPr>
        <p:spPr bwMode="auto">
          <a:xfrm>
            <a:off x="497095" y="6425952"/>
            <a:ext cx="503208" cy="502920"/>
          </a:xfrm>
          <a:prstGeom prst="ellipse">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914218"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ea typeface="+mn-ea"/>
                <a:cs typeface="Helvetica"/>
              </a:rPr>
              <a:t>2</a:t>
            </a:r>
          </a:p>
        </p:txBody>
      </p:sp>
      <p:sp>
        <p:nvSpPr>
          <p:cNvPr id="9" name="Oval 8">
            <a:extLst>
              <a:ext uri="{FF2B5EF4-FFF2-40B4-BE49-F238E27FC236}">
                <a16:creationId xmlns:a16="http://schemas.microsoft.com/office/drawing/2014/main" id="{16745E85-7CB7-2110-EADA-42DABA4239E4}"/>
              </a:ext>
            </a:extLst>
          </p:cNvPr>
          <p:cNvSpPr/>
          <p:nvPr/>
        </p:nvSpPr>
        <p:spPr bwMode="auto">
          <a:xfrm>
            <a:off x="455905" y="9307408"/>
            <a:ext cx="503208" cy="502920"/>
          </a:xfrm>
          <a:prstGeom prst="ellipse">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914218"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ea typeface="+mn-ea"/>
                <a:cs typeface="Helvetica"/>
              </a:rPr>
              <a:t>3</a:t>
            </a:r>
          </a:p>
        </p:txBody>
      </p:sp>
      <p:grpSp>
        <p:nvGrpSpPr>
          <p:cNvPr id="10" name="Group 9">
            <a:extLst>
              <a:ext uri="{FF2B5EF4-FFF2-40B4-BE49-F238E27FC236}">
                <a16:creationId xmlns:a16="http://schemas.microsoft.com/office/drawing/2014/main" id="{96E9BC78-C786-51A1-39F5-CBB851D5ED8B}"/>
              </a:ext>
            </a:extLst>
          </p:cNvPr>
          <p:cNvGrpSpPr/>
          <p:nvPr/>
        </p:nvGrpSpPr>
        <p:grpSpPr>
          <a:xfrm>
            <a:off x="14257903" y="1731952"/>
            <a:ext cx="8269446" cy="1614015"/>
            <a:chOff x="14257903" y="3497214"/>
            <a:chExt cx="8269446" cy="1614015"/>
          </a:xfrm>
        </p:grpSpPr>
        <p:pic>
          <p:nvPicPr>
            <p:cNvPr id="11" name="Graphic 10">
              <a:extLst>
                <a:ext uri="{FF2B5EF4-FFF2-40B4-BE49-F238E27FC236}">
                  <a16:creationId xmlns:a16="http://schemas.microsoft.com/office/drawing/2014/main" id="{A267FA01-88B7-74E5-5484-56D6699765A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833976" y="3497214"/>
              <a:ext cx="914400" cy="914400"/>
            </a:xfrm>
            <a:prstGeom prst="rect">
              <a:avLst/>
            </a:prstGeom>
          </p:spPr>
        </p:pic>
        <p:pic>
          <p:nvPicPr>
            <p:cNvPr id="12" name="Graphic 11">
              <a:extLst>
                <a:ext uri="{FF2B5EF4-FFF2-40B4-BE49-F238E27FC236}">
                  <a16:creationId xmlns:a16="http://schemas.microsoft.com/office/drawing/2014/main" id="{EF39979E-1760-4732-68AA-73E903D3F7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034375" y="3497214"/>
              <a:ext cx="914400" cy="914400"/>
            </a:xfrm>
            <a:prstGeom prst="rect">
              <a:avLst/>
            </a:prstGeom>
          </p:spPr>
        </p:pic>
        <p:pic>
          <p:nvPicPr>
            <p:cNvPr id="13" name="Graphic 12">
              <a:extLst>
                <a:ext uri="{FF2B5EF4-FFF2-40B4-BE49-F238E27FC236}">
                  <a16:creationId xmlns:a16="http://schemas.microsoft.com/office/drawing/2014/main" id="{53C8BD9E-0130-4E12-A7D0-1BBE8F5F165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4633576" y="3497214"/>
              <a:ext cx="914400" cy="914400"/>
            </a:xfrm>
            <a:prstGeom prst="rect">
              <a:avLst/>
            </a:prstGeom>
          </p:spPr>
        </p:pic>
        <p:sp>
          <p:nvSpPr>
            <p:cNvPr id="14" name="TextBox 13">
              <a:extLst>
                <a:ext uri="{FF2B5EF4-FFF2-40B4-BE49-F238E27FC236}">
                  <a16:creationId xmlns:a16="http://schemas.microsoft.com/office/drawing/2014/main" id="{3C070176-A8C8-4792-9490-43A7418EA09B}"/>
                </a:ext>
              </a:extLst>
            </p:cNvPr>
            <p:cNvSpPr txBox="1"/>
            <p:nvPr/>
          </p:nvSpPr>
          <p:spPr>
            <a:xfrm>
              <a:off x="14257903" y="4588009"/>
              <a:ext cx="1881468" cy="52322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a:spAutoFit/>
            </a:bodyPr>
            <a:lstStyle/>
            <a:p>
              <a:pPr marL="0" marR="0" lvl="0" indent="0" algn="ctr" defTabSz="182937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F62FE"/>
                  </a:solidFill>
                  <a:effectLst/>
                  <a:uLnTx/>
                  <a:uFillTx/>
                  <a:ea typeface="+mn-ea"/>
                  <a:cs typeface="+mn-cs"/>
                </a:rPr>
                <a:t>Customers</a:t>
              </a:r>
            </a:p>
          </p:txBody>
        </p:sp>
        <p:sp>
          <p:nvSpPr>
            <p:cNvPr id="15" name="TextBox 14">
              <a:extLst>
                <a:ext uri="{FF2B5EF4-FFF2-40B4-BE49-F238E27FC236}">
                  <a16:creationId xmlns:a16="http://schemas.microsoft.com/office/drawing/2014/main" id="{0D665CC1-2E00-387C-C4A6-8FFCF1C15549}"/>
                </a:ext>
              </a:extLst>
            </p:cNvPr>
            <p:cNvSpPr txBox="1"/>
            <p:nvPr/>
          </p:nvSpPr>
          <p:spPr>
            <a:xfrm>
              <a:off x="17456040" y="4509868"/>
              <a:ext cx="1881468" cy="52322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a:spAutoFit/>
            </a:bodyPr>
            <a:lstStyle/>
            <a:p>
              <a:pPr marL="0" marR="0" lvl="0" indent="0" algn="ctr" defTabSz="182937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F62FE"/>
                  </a:solidFill>
                  <a:effectLst/>
                  <a:uLnTx/>
                  <a:uFillTx/>
                  <a:ea typeface="+mn-ea"/>
                  <a:cs typeface="+mn-cs"/>
                </a:rPr>
                <a:t>Employees</a:t>
              </a:r>
            </a:p>
          </p:txBody>
        </p:sp>
        <p:sp>
          <p:nvSpPr>
            <p:cNvPr id="16" name="TextBox 15">
              <a:extLst>
                <a:ext uri="{FF2B5EF4-FFF2-40B4-BE49-F238E27FC236}">
                  <a16:creationId xmlns:a16="http://schemas.microsoft.com/office/drawing/2014/main" id="{E3E54405-6AAC-194F-E732-8511A0EB572D}"/>
                </a:ext>
              </a:extLst>
            </p:cNvPr>
            <p:cNvSpPr txBox="1"/>
            <p:nvPr/>
          </p:nvSpPr>
          <p:spPr>
            <a:xfrm>
              <a:off x="20645881" y="4580290"/>
              <a:ext cx="1881468" cy="52322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a:spAutoFit/>
            </a:bodyPr>
            <a:lstStyle/>
            <a:p>
              <a:pPr marL="0" marR="0" lvl="0" indent="0" algn="ctr" defTabSz="182937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F62FE"/>
                  </a:solidFill>
                  <a:effectLst/>
                  <a:uLnTx/>
                  <a:uFillTx/>
                  <a:ea typeface="+mn-ea"/>
                  <a:cs typeface="+mn-cs"/>
                </a:rPr>
                <a:t>SMEs</a:t>
              </a:r>
            </a:p>
          </p:txBody>
        </p:sp>
      </p:grpSp>
      <p:grpSp>
        <p:nvGrpSpPr>
          <p:cNvPr id="17" name="Group 16">
            <a:extLst>
              <a:ext uri="{FF2B5EF4-FFF2-40B4-BE49-F238E27FC236}">
                <a16:creationId xmlns:a16="http://schemas.microsoft.com/office/drawing/2014/main" id="{FB702005-41BF-12A9-61B1-79FD4E9168CE}"/>
              </a:ext>
            </a:extLst>
          </p:cNvPr>
          <p:cNvGrpSpPr/>
          <p:nvPr/>
        </p:nvGrpSpPr>
        <p:grpSpPr>
          <a:xfrm>
            <a:off x="12195176" y="4114510"/>
            <a:ext cx="11708201" cy="9159508"/>
            <a:chOff x="13354839" y="4109337"/>
            <a:chExt cx="9866094" cy="8590313"/>
          </a:xfrm>
        </p:grpSpPr>
        <p:sp>
          <p:nvSpPr>
            <p:cNvPr id="18" name="Rectangle 17">
              <a:extLst>
                <a:ext uri="{FF2B5EF4-FFF2-40B4-BE49-F238E27FC236}">
                  <a16:creationId xmlns:a16="http://schemas.microsoft.com/office/drawing/2014/main" id="{9C193EAB-2E2E-BA5F-222F-7A33C7713471}"/>
                </a:ext>
              </a:extLst>
            </p:cNvPr>
            <p:cNvSpPr/>
            <p:nvPr/>
          </p:nvSpPr>
          <p:spPr bwMode="auto">
            <a:xfrm>
              <a:off x="13354839" y="4315462"/>
              <a:ext cx="9866094" cy="8384188"/>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19" name="Rectangle 18">
              <a:extLst>
                <a:ext uri="{FF2B5EF4-FFF2-40B4-BE49-F238E27FC236}">
                  <a16:creationId xmlns:a16="http://schemas.microsoft.com/office/drawing/2014/main" id="{201FBAAA-CCE0-638E-F76F-90F10FC5F6AE}"/>
                </a:ext>
              </a:extLst>
            </p:cNvPr>
            <p:cNvSpPr/>
            <p:nvPr/>
          </p:nvSpPr>
          <p:spPr bwMode="auto">
            <a:xfrm>
              <a:off x="13614019" y="4109337"/>
              <a:ext cx="9363456" cy="726915"/>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228600" rIns="228600" bIns="228600" numCol="1" rtlCol="0" anchor="t" anchorCtr="0" compatLnSpc="1">
              <a:prstTxWarp prst="textNoShape">
                <a:avLst/>
              </a:prstTxWarp>
            </a:bodyPr>
            <a:lstStyle/>
            <a:p>
              <a:pPr marL="0" marR="0" lvl="0" indent="0" algn="ctr" defTabSz="812780" rtl="0" eaLnBrk="1" fontAlgn="auto" latinLnBrk="0" hangingPunct="1">
                <a:lnSpc>
                  <a:spcPct val="100000"/>
                </a:lnSpc>
                <a:spcBef>
                  <a:spcPts val="160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ea typeface="+mn-ea"/>
                  <a:cs typeface="+mn-cs"/>
                </a:rPr>
                <a:t>Conversational experience</a:t>
              </a:r>
            </a:p>
          </p:txBody>
        </p:sp>
        <p:grpSp>
          <p:nvGrpSpPr>
            <p:cNvPr id="20" name="Group 19">
              <a:extLst>
                <a:ext uri="{FF2B5EF4-FFF2-40B4-BE49-F238E27FC236}">
                  <a16:creationId xmlns:a16="http://schemas.microsoft.com/office/drawing/2014/main" id="{194705B0-3FC7-FC36-8E23-EBB1F41647AF}"/>
                </a:ext>
              </a:extLst>
            </p:cNvPr>
            <p:cNvGrpSpPr/>
            <p:nvPr/>
          </p:nvGrpSpPr>
          <p:grpSpPr>
            <a:xfrm>
              <a:off x="17244842" y="4909037"/>
              <a:ext cx="2760832" cy="708172"/>
              <a:chOff x="17244842" y="5328961"/>
              <a:chExt cx="2760832" cy="708172"/>
            </a:xfrm>
          </p:grpSpPr>
          <p:sp>
            <p:nvSpPr>
              <p:cNvPr id="34" name="Rectangle 33">
                <a:extLst>
                  <a:ext uri="{FF2B5EF4-FFF2-40B4-BE49-F238E27FC236}">
                    <a16:creationId xmlns:a16="http://schemas.microsoft.com/office/drawing/2014/main" id="{F4A82F32-68FB-4261-C85E-981821A73986}"/>
                  </a:ext>
                </a:extLst>
              </p:cNvPr>
              <p:cNvSpPr/>
              <p:nvPr/>
            </p:nvSpPr>
            <p:spPr bwMode="auto">
              <a:xfrm>
                <a:off x="17688411" y="5328961"/>
                <a:ext cx="2317263" cy="708172"/>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r>
                  <a:rPr kumimoji="0" lang="en-US" sz="2800" b="0" i="0" u="none" strike="noStrike" kern="1200" cap="none" spc="0" normalizeH="0" baseline="0" noProof="0" dirty="0">
                    <a:ln>
                      <a:noFill/>
                    </a:ln>
                    <a:solidFill>
                      <a:srgbClr val="0F62FE"/>
                    </a:solidFill>
                    <a:effectLst/>
                    <a:uLnTx/>
                    <a:uFillTx/>
                    <a:ea typeface="+mn-ea"/>
                    <a:cs typeface="+mn-cs"/>
                  </a:rPr>
                  <a:t>Skills catalog</a:t>
                </a:r>
                <a:endParaRPr kumimoji="0" lang="en-US" sz="2800" b="0" i="0" u="none" strike="noStrike" kern="1200" cap="none" spc="0" normalizeH="0" baseline="0" noProof="0" dirty="0">
                  <a:ln>
                    <a:noFill/>
                  </a:ln>
                  <a:solidFill>
                    <a:sysClr val="windowText" lastClr="000000"/>
                  </a:solidFill>
                  <a:effectLst/>
                  <a:uLnTx/>
                  <a:uFillTx/>
                  <a:ea typeface="+mn-ea"/>
                  <a:cs typeface="+mn-cs"/>
                </a:endParaRPr>
              </a:p>
            </p:txBody>
          </p:sp>
          <p:sp>
            <p:nvSpPr>
              <p:cNvPr id="35" name="Freeform 34">
                <a:extLst>
                  <a:ext uri="{FF2B5EF4-FFF2-40B4-BE49-F238E27FC236}">
                    <a16:creationId xmlns:a16="http://schemas.microsoft.com/office/drawing/2014/main" id="{8E380794-154A-703C-9968-0CF05BA5E89E}"/>
                  </a:ext>
                </a:extLst>
              </p:cNvPr>
              <p:cNvSpPr/>
              <p:nvPr/>
            </p:nvSpPr>
            <p:spPr>
              <a:xfrm>
                <a:off x="17244842" y="5559074"/>
                <a:ext cx="266357" cy="266700"/>
              </a:xfrm>
              <a:custGeom>
                <a:avLst/>
                <a:gdLst>
                  <a:gd name="connsiteX0" fmla="*/ 200978 w 266700"/>
                  <a:gd name="connsiteY0" fmla="*/ 133350 h 266700"/>
                  <a:gd name="connsiteX1" fmla="*/ 260985 w 266700"/>
                  <a:gd name="connsiteY1" fmla="*/ 73343 h 266700"/>
                  <a:gd name="connsiteX2" fmla="*/ 260985 w 266700"/>
                  <a:gd name="connsiteY2" fmla="*/ 46673 h 266700"/>
                  <a:gd name="connsiteX3" fmla="*/ 220980 w 266700"/>
                  <a:gd name="connsiteY3" fmla="*/ 6668 h 266700"/>
                  <a:gd name="connsiteX4" fmla="*/ 194310 w 266700"/>
                  <a:gd name="connsiteY4" fmla="*/ 6668 h 266700"/>
                  <a:gd name="connsiteX5" fmla="*/ 133350 w 266700"/>
                  <a:gd name="connsiteY5" fmla="*/ 65723 h 266700"/>
                  <a:gd name="connsiteX6" fmla="*/ 73343 w 266700"/>
                  <a:gd name="connsiteY6" fmla="*/ 5715 h 266700"/>
                  <a:gd name="connsiteX7" fmla="*/ 46673 w 266700"/>
                  <a:gd name="connsiteY7" fmla="*/ 5715 h 266700"/>
                  <a:gd name="connsiteX8" fmla="*/ 5715 w 266700"/>
                  <a:gd name="connsiteY8" fmla="*/ 45720 h 266700"/>
                  <a:gd name="connsiteX9" fmla="*/ 5715 w 266700"/>
                  <a:gd name="connsiteY9" fmla="*/ 72390 h 266700"/>
                  <a:gd name="connsiteX10" fmla="*/ 65723 w 266700"/>
                  <a:gd name="connsiteY10" fmla="*/ 133350 h 266700"/>
                  <a:gd name="connsiteX11" fmla="*/ 0 w 266700"/>
                  <a:gd name="connsiteY11" fmla="*/ 199073 h 266700"/>
                  <a:gd name="connsiteX12" fmla="*/ 0 w 266700"/>
                  <a:gd name="connsiteY12" fmla="*/ 266700 h 266700"/>
                  <a:gd name="connsiteX13" fmla="*/ 67628 w 266700"/>
                  <a:gd name="connsiteY13" fmla="*/ 266700 h 266700"/>
                  <a:gd name="connsiteX14" fmla="*/ 133350 w 266700"/>
                  <a:gd name="connsiteY14" fmla="*/ 200978 h 266700"/>
                  <a:gd name="connsiteX15" fmla="*/ 193358 w 266700"/>
                  <a:gd name="connsiteY15" fmla="*/ 260985 h 266700"/>
                  <a:gd name="connsiteX16" fmla="*/ 220028 w 266700"/>
                  <a:gd name="connsiteY16" fmla="*/ 260985 h 266700"/>
                  <a:gd name="connsiteX17" fmla="*/ 260033 w 266700"/>
                  <a:gd name="connsiteY17" fmla="*/ 220980 h 266700"/>
                  <a:gd name="connsiteX18" fmla="*/ 260033 w 266700"/>
                  <a:gd name="connsiteY18" fmla="*/ 194310 h 266700"/>
                  <a:gd name="connsiteX19" fmla="*/ 200978 w 266700"/>
                  <a:gd name="connsiteY19" fmla="*/ 133350 h 266700"/>
                  <a:gd name="connsiteX20" fmla="*/ 207645 w 266700"/>
                  <a:gd name="connsiteY20" fmla="*/ 19050 h 266700"/>
                  <a:gd name="connsiteX21" fmla="*/ 247650 w 266700"/>
                  <a:gd name="connsiteY21" fmla="*/ 59055 h 266700"/>
                  <a:gd name="connsiteX22" fmla="*/ 187643 w 266700"/>
                  <a:gd name="connsiteY22" fmla="*/ 119063 h 266700"/>
                  <a:gd name="connsiteX23" fmla="*/ 147638 w 266700"/>
                  <a:gd name="connsiteY23" fmla="*/ 79058 h 266700"/>
                  <a:gd name="connsiteX24" fmla="*/ 207645 w 266700"/>
                  <a:gd name="connsiteY24" fmla="*/ 19050 h 266700"/>
                  <a:gd name="connsiteX25" fmla="*/ 59055 w 266700"/>
                  <a:gd name="connsiteY25" fmla="*/ 247650 h 266700"/>
                  <a:gd name="connsiteX26" fmla="*/ 19050 w 266700"/>
                  <a:gd name="connsiteY26" fmla="*/ 247650 h 266700"/>
                  <a:gd name="connsiteX27" fmla="*/ 19050 w 266700"/>
                  <a:gd name="connsiteY27" fmla="*/ 207645 h 266700"/>
                  <a:gd name="connsiteX28" fmla="*/ 79058 w 266700"/>
                  <a:gd name="connsiteY28" fmla="*/ 147638 h 266700"/>
                  <a:gd name="connsiteX29" fmla="*/ 119063 w 266700"/>
                  <a:gd name="connsiteY29" fmla="*/ 187643 h 266700"/>
                  <a:gd name="connsiteX30" fmla="*/ 59055 w 266700"/>
                  <a:gd name="connsiteY30" fmla="*/ 247650 h 266700"/>
                  <a:gd name="connsiteX31" fmla="*/ 207645 w 266700"/>
                  <a:gd name="connsiteY31" fmla="*/ 247650 h 266700"/>
                  <a:gd name="connsiteX32" fmla="*/ 19050 w 266700"/>
                  <a:gd name="connsiteY32" fmla="*/ 59055 h 266700"/>
                  <a:gd name="connsiteX33" fmla="*/ 59055 w 266700"/>
                  <a:gd name="connsiteY33" fmla="*/ 19050 h 266700"/>
                  <a:gd name="connsiteX34" fmla="*/ 92393 w 266700"/>
                  <a:gd name="connsiteY34" fmla="*/ 52388 h 266700"/>
                  <a:gd name="connsiteX35" fmla="*/ 72390 w 266700"/>
                  <a:gd name="connsiteY35" fmla="*/ 72390 h 266700"/>
                  <a:gd name="connsiteX36" fmla="*/ 85725 w 266700"/>
                  <a:gd name="connsiteY36" fmla="*/ 85725 h 266700"/>
                  <a:gd name="connsiteX37" fmla="*/ 105728 w 266700"/>
                  <a:gd name="connsiteY37" fmla="*/ 65723 h 266700"/>
                  <a:gd name="connsiteX38" fmla="*/ 145733 w 266700"/>
                  <a:gd name="connsiteY38" fmla="*/ 105728 h 266700"/>
                  <a:gd name="connsiteX39" fmla="*/ 125730 w 266700"/>
                  <a:gd name="connsiteY39" fmla="*/ 125730 h 266700"/>
                  <a:gd name="connsiteX40" fmla="*/ 139065 w 266700"/>
                  <a:gd name="connsiteY40" fmla="*/ 139065 h 266700"/>
                  <a:gd name="connsiteX41" fmla="*/ 159068 w 266700"/>
                  <a:gd name="connsiteY41" fmla="*/ 119063 h 266700"/>
                  <a:gd name="connsiteX42" fmla="*/ 199073 w 266700"/>
                  <a:gd name="connsiteY42" fmla="*/ 159068 h 266700"/>
                  <a:gd name="connsiteX43" fmla="*/ 180975 w 266700"/>
                  <a:gd name="connsiteY43" fmla="*/ 180023 h 266700"/>
                  <a:gd name="connsiteX44" fmla="*/ 194310 w 266700"/>
                  <a:gd name="connsiteY44" fmla="*/ 193358 h 266700"/>
                  <a:gd name="connsiteX45" fmla="*/ 214313 w 266700"/>
                  <a:gd name="connsiteY45" fmla="*/ 173355 h 266700"/>
                  <a:gd name="connsiteX46" fmla="*/ 247650 w 266700"/>
                  <a:gd name="connsiteY46" fmla="*/ 206693 h 266700"/>
                  <a:gd name="connsiteX47" fmla="*/ 207645 w 266700"/>
                  <a:gd name="connsiteY47" fmla="*/ 2476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66700" h="266700">
                    <a:moveTo>
                      <a:pt x="200978" y="133350"/>
                    </a:moveTo>
                    <a:lnTo>
                      <a:pt x="260985" y="73343"/>
                    </a:lnTo>
                    <a:cubicBezTo>
                      <a:pt x="268605" y="65723"/>
                      <a:pt x="268605" y="54293"/>
                      <a:pt x="260985" y="46673"/>
                    </a:cubicBezTo>
                    <a:lnTo>
                      <a:pt x="220980" y="6668"/>
                    </a:lnTo>
                    <a:cubicBezTo>
                      <a:pt x="213360" y="-952"/>
                      <a:pt x="201930" y="-952"/>
                      <a:pt x="194310" y="6668"/>
                    </a:cubicBezTo>
                    <a:lnTo>
                      <a:pt x="133350" y="65723"/>
                    </a:lnTo>
                    <a:lnTo>
                      <a:pt x="73343" y="5715"/>
                    </a:lnTo>
                    <a:cubicBezTo>
                      <a:pt x="65723" y="-1905"/>
                      <a:pt x="54293" y="-1905"/>
                      <a:pt x="46673" y="5715"/>
                    </a:cubicBezTo>
                    <a:lnTo>
                      <a:pt x="5715" y="45720"/>
                    </a:lnTo>
                    <a:cubicBezTo>
                      <a:pt x="-1905" y="53340"/>
                      <a:pt x="-1905" y="64770"/>
                      <a:pt x="5715" y="72390"/>
                    </a:cubicBezTo>
                    <a:lnTo>
                      <a:pt x="65723" y="133350"/>
                    </a:lnTo>
                    <a:lnTo>
                      <a:pt x="0" y="199073"/>
                    </a:lnTo>
                    <a:lnTo>
                      <a:pt x="0" y="266700"/>
                    </a:lnTo>
                    <a:lnTo>
                      <a:pt x="67628" y="266700"/>
                    </a:lnTo>
                    <a:lnTo>
                      <a:pt x="133350" y="200978"/>
                    </a:lnTo>
                    <a:lnTo>
                      <a:pt x="193358" y="260985"/>
                    </a:lnTo>
                    <a:cubicBezTo>
                      <a:pt x="200978" y="268605"/>
                      <a:pt x="212408" y="268605"/>
                      <a:pt x="220028" y="260985"/>
                    </a:cubicBezTo>
                    <a:lnTo>
                      <a:pt x="260033" y="220980"/>
                    </a:lnTo>
                    <a:cubicBezTo>
                      <a:pt x="267653" y="213360"/>
                      <a:pt x="267653" y="201930"/>
                      <a:pt x="260033" y="194310"/>
                    </a:cubicBezTo>
                    <a:lnTo>
                      <a:pt x="200978" y="133350"/>
                    </a:lnTo>
                    <a:close/>
                    <a:moveTo>
                      <a:pt x="207645" y="19050"/>
                    </a:moveTo>
                    <a:lnTo>
                      <a:pt x="247650" y="59055"/>
                    </a:lnTo>
                    <a:lnTo>
                      <a:pt x="187643" y="119063"/>
                    </a:lnTo>
                    <a:lnTo>
                      <a:pt x="147638" y="79058"/>
                    </a:lnTo>
                    <a:lnTo>
                      <a:pt x="207645" y="19050"/>
                    </a:lnTo>
                    <a:close/>
                    <a:moveTo>
                      <a:pt x="59055" y="247650"/>
                    </a:moveTo>
                    <a:lnTo>
                      <a:pt x="19050" y="247650"/>
                    </a:lnTo>
                    <a:lnTo>
                      <a:pt x="19050" y="207645"/>
                    </a:lnTo>
                    <a:lnTo>
                      <a:pt x="79058" y="147638"/>
                    </a:lnTo>
                    <a:lnTo>
                      <a:pt x="119063" y="187643"/>
                    </a:lnTo>
                    <a:lnTo>
                      <a:pt x="59055" y="247650"/>
                    </a:lnTo>
                    <a:close/>
                    <a:moveTo>
                      <a:pt x="207645" y="247650"/>
                    </a:moveTo>
                    <a:lnTo>
                      <a:pt x="19050" y="59055"/>
                    </a:lnTo>
                    <a:lnTo>
                      <a:pt x="59055" y="19050"/>
                    </a:lnTo>
                    <a:lnTo>
                      <a:pt x="92393" y="52388"/>
                    </a:lnTo>
                    <a:lnTo>
                      <a:pt x="72390" y="72390"/>
                    </a:lnTo>
                    <a:lnTo>
                      <a:pt x="85725" y="85725"/>
                    </a:lnTo>
                    <a:lnTo>
                      <a:pt x="105728" y="65723"/>
                    </a:lnTo>
                    <a:lnTo>
                      <a:pt x="145733" y="105728"/>
                    </a:lnTo>
                    <a:lnTo>
                      <a:pt x="125730" y="125730"/>
                    </a:lnTo>
                    <a:lnTo>
                      <a:pt x="139065" y="139065"/>
                    </a:lnTo>
                    <a:lnTo>
                      <a:pt x="159068" y="119063"/>
                    </a:lnTo>
                    <a:lnTo>
                      <a:pt x="199073" y="159068"/>
                    </a:lnTo>
                    <a:lnTo>
                      <a:pt x="180975" y="180023"/>
                    </a:lnTo>
                    <a:lnTo>
                      <a:pt x="194310" y="193358"/>
                    </a:lnTo>
                    <a:lnTo>
                      <a:pt x="214313" y="173355"/>
                    </a:lnTo>
                    <a:lnTo>
                      <a:pt x="247650" y="206693"/>
                    </a:lnTo>
                    <a:lnTo>
                      <a:pt x="207645" y="247650"/>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000000"/>
                  </a:solidFill>
                  <a:effectLst/>
                  <a:uLnTx/>
                  <a:uFillTx/>
                  <a:ea typeface="+mn-ea"/>
                  <a:cs typeface="+mn-cs"/>
                </a:endParaRPr>
              </a:p>
            </p:txBody>
          </p:sp>
        </p:grpSp>
        <p:grpSp>
          <p:nvGrpSpPr>
            <p:cNvPr id="21" name="Group 20">
              <a:extLst>
                <a:ext uri="{FF2B5EF4-FFF2-40B4-BE49-F238E27FC236}">
                  <a16:creationId xmlns:a16="http://schemas.microsoft.com/office/drawing/2014/main" id="{DF8E685A-FEC2-66CA-5913-84E3FD5CD49E}"/>
                </a:ext>
              </a:extLst>
            </p:cNvPr>
            <p:cNvGrpSpPr/>
            <p:nvPr/>
          </p:nvGrpSpPr>
          <p:grpSpPr>
            <a:xfrm>
              <a:off x="13604876" y="8481035"/>
              <a:ext cx="9372599" cy="4009162"/>
              <a:chOff x="13604876" y="8998489"/>
              <a:chExt cx="9372599" cy="4009162"/>
            </a:xfrm>
          </p:grpSpPr>
          <p:sp>
            <p:nvSpPr>
              <p:cNvPr id="23" name="Rectangle 22">
                <a:extLst>
                  <a:ext uri="{FF2B5EF4-FFF2-40B4-BE49-F238E27FC236}">
                    <a16:creationId xmlns:a16="http://schemas.microsoft.com/office/drawing/2014/main" id="{55DF20CF-69AA-E042-AA86-F17D014DDAAD}"/>
                  </a:ext>
                </a:extLst>
              </p:cNvPr>
              <p:cNvSpPr/>
              <p:nvPr/>
            </p:nvSpPr>
            <p:spPr bwMode="auto">
              <a:xfrm>
                <a:off x="13604876" y="9350049"/>
                <a:ext cx="2971800" cy="36576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347472" rIns="0" bIns="0" numCol="1" rtlCol="0" anchor="t" anchorCtr="0" compatLnSpc="1">
                <a:prstTxWarp prst="textNoShape">
                  <a:avLst/>
                </a:prstTxWarp>
              </a:bodyPr>
              <a:lstStyle/>
              <a:p>
                <a:pPr marL="0" marR="0" lvl="0" indent="0" algn="ctr" defTabSz="812780" rtl="0" eaLnBrk="1" fontAlgn="auto" latinLnBrk="0" hangingPunct="1">
                  <a:lnSpc>
                    <a:spcPct val="120000"/>
                  </a:lnSpc>
                  <a:spcBef>
                    <a:spcPts val="1600"/>
                  </a:spcBef>
                  <a:spcAft>
                    <a:spcPts val="0"/>
                  </a:spcAft>
                  <a:buClrTx/>
                  <a:buSzTx/>
                  <a:buFontTx/>
                  <a:buNone/>
                  <a:tabLst/>
                  <a:defRPr/>
                </a:pPr>
                <a:r>
                  <a:rPr kumimoji="0" lang="en-US" sz="2400" b="0" i="0" u="none" strike="noStrike" kern="1200" cap="none" spc="0" normalizeH="0" baseline="0" noProof="0" dirty="0">
                    <a:ln>
                      <a:noFill/>
                    </a:ln>
                    <a:solidFill>
                      <a:srgbClr val="0F62FE"/>
                    </a:solidFill>
                    <a:effectLst/>
                    <a:uLnTx/>
                    <a:uFillTx/>
                    <a:ea typeface="+mn-ea"/>
                    <a:cs typeface="+mn-cs"/>
                  </a:rPr>
                  <a:t>Out of the box</a:t>
                </a:r>
              </a:p>
              <a:p>
                <a:pPr marL="0" marR="0" lvl="0" indent="0" algn="ctr" defTabSz="812780" rtl="0" eaLnBrk="1" fontAlgn="auto" latinLnBrk="0" hangingPunct="1">
                  <a:lnSpc>
                    <a:spcPct val="120000"/>
                  </a:lnSpc>
                  <a:spcBef>
                    <a:spcPts val="160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ea typeface="+mn-ea"/>
                    <a:cs typeface="+mn-cs"/>
                  </a:rPr>
                  <a:t>HR talent acquisition</a:t>
                </a:r>
              </a:p>
              <a:p>
                <a:pPr marL="0" marR="0" lvl="0" indent="0" algn="ctr" defTabSz="812780" rtl="0" eaLnBrk="1" fontAlgn="auto" latinLnBrk="0" hangingPunct="1">
                  <a:lnSpc>
                    <a:spcPct val="120000"/>
                  </a:lnSpc>
                  <a:spcBef>
                    <a:spcPts val="160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ea typeface="+mn-ea"/>
                    <a:cs typeface="+mn-cs"/>
                  </a:rPr>
                  <a:t>Customer support</a:t>
                </a:r>
              </a:p>
              <a:p>
                <a:pPr marL="0" marR="0" lvl="0" indent="0" algn="ctr" defTabSz="812780" rtl="0" eaLnBrk="1" fontAlgn="auto" latinLnBrk="0" hangingPunct="1">
                  <a:lnSpc>
                    <a:spcPct val="120000"/>
                  </a:lnSpc>
                  <a:spcBef>
                    <a:spcPts val="160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ea typeface="+mn-ea"/>
                    <a:cs typeface="+mn-cs"/>
                  </a:rPr>
                  <a:t>Procurement</a:t>
                </a:r>
              </a:p>
              <a:p>
                <a:pPr marL="0" marR="0" lvl="0" indent="0" algn="ctr" defTabSz="812780" rtl="0" eaLnBrk="1" fontAlgn="auto" latinLnBrk="0" hangingPunct="1">
                  <a:lnSpc>
                    <a:spcPct val="120000"/>
                  </a:lnSpc>
                  <a:spcBef>
                    <a:spcPts val="160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ea typeface="+mn-ea"/>
                    <a:cs typeface="+mn-cs"/>
                  </a:rPr>
                  <a:t>Sales</a:t>
                </a:r>
              </a:p>
            </p:txBody>
          </p:sp>
          <p:sp>
            <p:nvSpPr>
              <p:cNvPr id="24" name="Rectangle 23">
                <a:extLst>
                  <a:ext uri="{FF2B5EF4-FFF2-40B4-BE49-F238E27FC236}">
                    <a16:creationId xmlns:a16="http://schemas.microsoft.com/office/drawing/2014/main" id="{1EC9B23C-BBDC-7339-BF09-E370E6A07029}"/>
                  </a:ext>
                </a:extLst>
              </p:cNvPr>
              <p:cNvSpPr/>
              <p:nvPr/>
            </p:nvSpPr>
            <p:spPr bwMode="auto">
              <a:xfrm>
                <a:off x="16805276" y="9350051"/>
                <a:ext cx="2971800" cy="36576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347472" rIns="0" bIns="0" numCol="1" rtlCol="0" anchor="t" anchorCtr="0" compatLnSpc="1">
                <a:prstTxWarp prst="textNoShape">
                  <a:avLst/>
                </a:prstTxWarp>
              </a:bodyPr>
              <a:lstStyle/>
              <a:p>
                <a:pPr marL="0" marR="0" lvl="0" indent="0" algn="ctr" defTabSz="812780" rtl="0" eaLnBrk="1" fontAlgn="auto" latinLnBrk="0" hangingPunct="1">
                  <a:lnSpc>
                    <a:spcPct val="120000"/>
                  </a:lnSpc>
                  <a:spcBef>
                    <a:spcPts val="1600"/>
                  </a:spcBef>
                  <a:spcAft>
                    <a:spcPts val="0"/>
                  </a:spcAft>
                  <a:buClrTx/>
                  <a:buSzTx/>
                  <a:buFontTx/>
                  <a:buNone/>
                  <a:tabLst/>
                  <a:defRPr/>
                </a:pPr>
                <a:r>
                  <a:rPr kumimoji="0" lang="en-US" sz="2400" b="0" i="0" u="none" strike="noStrike" kern="1200" cap="none" spc="0" normalizeH="0" baseline="0" noProof="0" dirty="0">
                    <a:ln>
                      <a:noFill/>
                    </a:ln>
                    <a:solidFill>
                      <a:srgbClr val="0F62FE"/>
                    </a:solidFill>
                    <a:effectLst/>
                    <a:uLnTx/>
                    <a:uFillTx/>
                    <a:ea typeface="+mn-ea"/>
                    <a:cs typeface="+mn-cs"/>
                  </a:rPr>
                  <a:t>Discover</a:t>
                </a:r>
              </a:p>
            </p:txBody>
          </p:sp>
          <p:sp>
            <p:nvSpPr>
              <p:cNvPr id="25" name="Rectangle 24">
                <a:extLst>
                  <a:ext uri="{FF2B5EF4-FFF2-40B4-BE49-F238E27FC236}">
                    <a16:creationId xmlns:a16="http://schemas.microsoft.com/office/drawing/2014/main" id="{1AEC789C-6EC6-5893-2A94-981EF2568BE5}"/>
                  </a:ext>
                </a:extLst>
              </p:cNvPr>
              <p:cNvSpPr/>
              <p:nvPr/>
            </p:nvSpPr>
            <p:spPr bwMode="auto">
              <a:xfrm>
                <a:off x="20005675" y="9350051"/>
                <a:ext cx="2971800" cy="36576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347472" rIns="0" bIns="0" numCol="1" rtlCol="0" anchor="t" anchorCtr="0" compatLnSpc="1">
                <a:prstTxWarp prst="textNoShape">
                  <a:avLst/>
                </a:prstTxWarp>
              </a:bodyPr>
              <a:lstStyle/>
              <a:p>
                <a:pPr lvl="0" algn="ctr" defTabSz="812780">
                  <a:lnSpc>
                    <a:spcPct val="120000"/>
                  </a:lnSpc>
                  <a:spcBef>
                    <a:spcPts val="1600"/>
                  </a:spcBef>
                  <a:defRPr/>
                </a:pPr>
                <a:r>
                  <a:rPr kumimoji="0" lang="en-US" sz="2400" b="0" i="0" u="none" strike="noStrike" kern="1200" cap="none" spc="0" normalizeH="0" baseline="0" noProof="0" dirty="0">
                    <a:ln>
                      <a:noFill/>
                    </a:ln>
                    <a:solidFill>
                      <a:srgbClr val="0F62FE"/>
                    </a:solidFill>
                    <a:effectLst/>
                    <a:uLnTx/>
                    <a:uFillTx/>
                    <a:ea typeface="+mn-ea"/>
                    <a:cs typeface="+mn-cs"/>
                  </a:rPr>
                  <a:t>Build custom</a:t>
                </a:r>
              </a:p>
              <a:p>
                <a:pPr marL="0" marR="0" lvl="0" indent="0" algn="ctr" defTabSz="812780" rtl="0" eaLnBrk="1" fontAlgn="auto" latinLnBrk="0" hangingPunct="1">
                  <a:lnSpc>
                    <a:spcPct val="120000"/>
                  </a:lnSpc>
                  <a:spcBef>
                    <a:spcPts val="160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ea typeface="+mn-ea"/>
                    <a:cs typeface="+mn-cs"/>
                  </a:rPr>
                  <a:t>Workflows</a:t>
                </a:r>
              </a:p>
              <a:p>
                <a:pPr marL="0" marR="0" lvl="0" indent="0" algn="ctr" defTabSz="812780" rtl="0" eaLnBrk="1" fontAlgn="auto" latinLnBrk="0" hangingPunct="1">
                  <a:lnSpc>
                    <a:spcPct val="120000"/>
                  </a:lnSpc>
                  <a:spcBef>
                    <a:spcPts val="160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ea typeface="+mn-ea"/>
                    <a:cs typeface="+mn-cs"/>
                  </a:rPr>
                  <a:t>Decisions</a:t>
                </a:r>
              </a:p>
              <a:p>
                <a:pPr marL="0" marR="0" lvl="0" indent="0" algn="ctr" defTabSz="812780" rtl="0" eaLnBrk="1" fontAlgn="auto" latinLnBrk="0" hangingPunct="1">
                  <a:lnSpc>
                    <a:spcPct val="120000"/>
                  </a:lnSpc>
                  <a:spcBef>
                    <a:spcPts val="160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ea typeface="+mn-ea"/>
                    <a:cs typeface="+mn-cs"/>
                  </a:rPr>
                  <a:t>Document processing</a:t>
                </a:r>
              </a:p>
              <a:p>
                <a:pPr marL="0" marR="0" lvl="0" indent="0" algn="ctr" defTabSz="812780" rtl="0" eaLnBrk="1" fontAlgn="auto" latinLnBrk="0" hangingPunct="1">
                  <a:lnSpc>
                    <a:spcPct val="120000"/>
                  </a:lnSpc>
                  <a:spcBef>
                    <a:spcPts val="160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ea typeface="+mn-ea"/>
                    <a:cs typeface="+mn-cs"/>
                  </a:rPr>
                  <a:t>Systems integration</a:t>
                </a:r>
              </a:p>
              <a:p>
                <a:pPr marL="0" marR="0" lvl="0" indent="0" algn="ctr" defTabSz="812780" rtl="0" eaLnBrk="1" fontAlgn="auto" latinLnBrk="0" hangingPunct="1">
                  <a:lnSpc>
                    <a:spcPct val="120000"/>
                  </a:lnSpc>
                  <a:spcBef>
                    <a:spcPts val="160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ea typeface="+mn-ea"/>
                    <a:cs typeface="+mn-cs"/>
                  </a:rPr>
                  <a:t>RPA</a:t>
                </a:r>
              </a:p>
            </p:txBody>
          </p:sp>
          <p:sp>
            <p:nvSpPr>
              <p:cNvPr id="26" name="Oval 25">
                <a:extLst>
                  <a:ext uri="{FF2B5EF4-FFF2-40B4-BE49-F238E27FC236}">
                    <a16:creationId xmlns:a16="http://schemas.microsoft.com/office/drawing/2014/main" id="{B39DC938-883D-EBB5-8A35-3D18901528CA}"/>
                  </a:ext>
                </a:extLst>
              </p:cNvPr>
              <p:cNvSpPr/>
              <p:nvPr/>
            </p:nvSpPr>
            <p:spPr bwMode="auto">
              <a:xfrm>
                <a:off x="14839172" y="8998489"/>
                <a:ext cx="503208" cy="502920"/>
              </a:xfrm>
              <a:prstGeom prst="ellipse">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914218"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ea typeface="+mn-ea"/>
                    <a:cs typeface="Helvetica"/>
                  </a:rPr>
                  <a:t>1</a:t>
                </a:r>
                <a:endParaRPr kumimoji="0" lang="en-US" sz="1800" b="0" i="0" u="none" strike="noStrike" kern="1200" cap="none" spc="0" normalizeH="0" baseline="0" noProof="0" dirty="0">
                  <a:ln>
                    <a:noFill/>
                  </a:ln>
                  <a:solidFill>
                    <a:srgbClr val="FFFFFF"/>
                  </a:solidFill>
                  <a:effectLst/>
                  <a:uLnTx/>
                  <a:uFillTx/>
                  <a:ea typeface="+mn-ea"/>
                  <a:cs typeface="Helvetica"/>
                </a:endParaRPr>
              </a:p>
            </p:txBody>
          </p:sp>
          <p:sp>
            <p:nvSpPr>
              <p:cNvPr id="27" name="Oval 26">
                <a:extLst>
                  <a:ext uri="{FF2B5EF4-FFF2-40B4-BE49-F238E27FC236}">
                    <a16:creationId xmlns:a16="http://schemas.microsoft.com/office/drawing/2014/main" id="{CD86CA3D-7195-E072-8C1B-9E843BD960DF}"/>
                  </a:ext>
                </a:extLst>
              </p:cNvPr>
              <p:cNvSpPr/>
              <p:nvPr/>
            </p:nvSpPr>
            <p:spPr bwMode="auto">
              <a:xfrm>
                <a:off x="18039572" y="8998489"/>
                <a:ext cx="503208" cy="502920"/>
              </a:xfrm>
              <a:prstGeom prst="ellipse">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914218"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ea typeface="+mn-ea"/>
                    <a:cs typeface="Helvetica"/>
                  </a:rPr>
                  <a:t>2</a:t>
                </a:r>
              </a:p>
            </p:txBody>
          </p:sp>
          <p:sp>
            <p:nvSpPr>
              <p:cNvPr id="28" name="Oval 27">
                <a:extLst>
                  <a:ext uri="{FF2B5EF4-FFF2-40B4-BE49-F238E27FC236}">
                    <a16:creationId xmlns:a16="http://schemas.microsoft.com/office/drawing/2014/main" id="{D18EA65A-C2B8-83BD-AFE1-E286EEBEEE97}"/>
                  </a:ext>
                </a:extLst>
              </p:cNvPr>
              <p:cNvSpPr/>
              <p:nvPr/>
            </p:nvSpPr>
            <p:spPr bwMode="auto">
              <a:xfrm>
                <a:off x="21239971" y="8998489"/>
                <a:ext cx="503208" cy="502920"/>
              </a:xfrm>
              <a:prstGeom prst="ellipse">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914218"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ea typeface="+mn-ea"/>
                    <a:cs typeface="Helvetica"/>
                  </a:rPr>
                  <a:t>3</a:t>
                </a:r>
              </a:p>
            </p:txBody>
          </p:sp>
          <p:pic>
            <p:nvPicPr>
              <p:cNvPr id="29" name="Picture 10" descr="UiPath - Wikipedia">
                <a:extLst>
                  <a:ext uri="{FF2B5EF4-FFF2-40B4-BE49-F238E27FC236}">
                    <a16:creationId xmlns:a16="http://schemas.microsoft.com/office/drawing/2014/main" id="{E2423B27-347C-7F79-5384-4A374DAC758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7856167" y="12410567"/>
                <a:ext cx="870018" cy="320753"/>
              </a:xfrm>
              <a:prstGeom prst="rect">
                <a:avLst/>
              </a:prstGeom>
              <a:noFill/>
              <a:extLst>
                <a:ext uri="{909E8E84-426E-40DD-AFC4-6F175D3DCCD1}">
                  <a14:hiddenFill xmlns:a14="http://schemas.microsoft.com/office/drawing/2010/main">
                    <a:solidFill>
                      <a:srgbClr val="FFFFFF"/>
                    </a:solidFill>
                  </a14:hiddenFill>
                </a:ext>
              </a:extLst>
            </p:spPr>
          </p:pic>
          <p:pic>
            <p:nvPicPr>
              <p:cNvPr id="30" name="Graphic 29">
                <a:extLst>
                  <a:ext uri="{FF2B5EF4-FFF2-40B4-BE49-F238E27FC236}">
                    <a16:creationId xmlns:a16="http://schemas.microsoft.com/office/drawing/2014/main" id="{137E1F68-CB00-0A0B-E22D-1C8C1493A156}"/>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t="30199" b="32525"/>
              <a:stretch/>
            </p:blipFill>
            <p:spPr>
              <a:xfrm>
                <a:off x="17605376" y="11319132"/>
                <a:ext cx="1371600" cy="296903"/>
              </a:xfrm>
              <a:prstGeom prst="rect">
                <a:avLst/>
              </a:prstGeom>
            </p:spPr>
          </p:pic>
          <p:pic>
            <p:nvPicPr>
              <p:cNvPr id="31" name="Picture 8" descr="Tonkean | Adobe Exchange">
                <a:extLst>
                  <a:ext uri="{FF2B5EF4-FFF2-40B4-BE49-F238E27FC236}">
                    <a16:creationId xmlns:a16="http://schemas.microsoft.com/office/drawing/2014/main" id="{B5F9A86B-87BF-3BA7-F0BD-59629B3C873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29474" b="34011"/>
              <a:stretch/>
            </p:blipFill>
            <p:spPr bwMode="auto">
              <a:xfrm>
                <a:off x="17459232" y="10775624"/>
                <a:ext cx="1663889" cy="341761"/>
              </a:xfrm>
              <a:prstGeom prst="rect">
                <a:avLst/>
              </a:prstGeom>
              <a:noFill/>
              <a:extLst>
                <a:ext uri="{909E8E84-426E-40DD-AFC4-6F175D3DCCD1}">
                  <a14:hiddenFill xmlns:a14="http://schemas.microsoft.com/office/drawing/2010/main">
                    <a:solidFill>
                      <a:srgbClr val="FFFFFF"/>
                    </a:solidFill>
                  </a14:hiddenFill>
                </a:ext>
              </a:extLst>
            </p:spPr>
          </p:pic>
          <p:pic>
            <p:nvPicPr>
              <p:cNvPr id="32" name="Graphic 31">
                <a:extLst>
                  <a:ext uri="{FF2B5EF4-FFF2-40B4-BE49-F238E27FC236}">
                    <a16:creationId xmlns:a16="http://schemas.microsoft.com/office/drawing/2014/main" id="{BB8C5379-1046-5DFB-3AE6-6273DE76CCC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7833976" y="10210113"/>
                <a:ext cx="914400" cy="363764"/>
              </a:xfrm>
              <a:prstGeom prst="rect">
                <a:avLst/>
              </a:prstGeom>
            </p:spPr>
          </p:pic>
          <p:pic>
            <p:nvPicPr>
              <p:cNvPr id="33" name="Graphic 32">
                <a:extLst>
                  <a:ext uri="{FF2B5EF4-FFF2-40B4-BE49-F238E27FC236}">
                    <a16:creationId xmlns:a16="http://schemas.microsoft.com/office/drawing/2014/main" id="{E42BDE40-193A-295C-3632-EC26BCBEFE28}"/>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t="34736" b="36813"/>
              <a:stretch/>
            </p:blipFill>
            <p:spPr>
              <a:xfrm>
                <a:off x="17260344" y="11817782"/>
                <a:ext cx="2061665" cy="391037"/>
              </a:xfrm>
              <a:prstGeom prst="rect">
                <a:avLst/>
              </a:prstGeom>
            </p:spPr>
          </p:pic>
        </p:grpSp>
        <p:sp>
          <p:nvSpPr>
            <p:cNvPr id="22" name="Rectangle 21">
              <a:extLst>
                <a:ext uri="{FF2B5EF4-FFF2-40B4-BE49-F238E27FC236}">
                  <a16:creationId xmlns:a16="http://schemas.microsoft.com/office/drawing/2014/main" id="{CFD89B31-D6A0-3ACF-32BD-F636B85B849A}"/>
                </a:ext>
              </a:extLst>
            </p:cNvPr>
            <p:cNvSpPr/>
            <p:nvPr/>
          </p:nvSpPr>
          <p:spPr bwMode="auto">
            <a:xfrm>
              <a:off x="13614019" y="5845169"/>
              <a:ext cx="9363456" cy="232599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228600" rIns="0" bIns="0" numCol="1" rtlCol="0" anchor="t" anchorCtr="0" compatLnSpc="1">
              <a:prstTxWarp prst="textNoShape">
                <a:avLst/>
              </a:prstTxWarp>
            </a:bodyPr>
            <a:lstStyle/>
            <a:p>
              <a:pPr marL="0" marR="0" lvl="0" indent="0" algn="ctr" defTabSz="812780" rtl="0" eaLnBrk="1" fontAlgn="auto" latinLnBrk="0" hangingPunct="1">
                <a:lnSpc>
                  <a:spcPct val="100000"/>
                </a:lnSpc>
                <a:spcBef>
                  <a:spcPts val="160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ea typeface="+mn-ea"/>
                  <a:cs typeface="+mn-cs"/>
                </a:rPr>
                <a:t>Skills are made up of integrations and/or automations </a:t>
              </a:r>
              <a:br>
                <a:rPr kumimoji="0" lang="en-US" sz="2800" b="0" i="0" u="none" strike="noStrike" kern="1200" cap="none" spc="0" normalizeH="0" baseline="0" noProof="0" dirty="0">
                  <a:ln>
                    <a:noFill/>
                  </a:ln>
                  <a:solidFill>
                    <a:prstClr val="black"/>
                  </a:solidFill>
                  <a:effectLst/>
                  <a:uLnTx/>
                  <a:uFillTx/>
                  <a:ea typeface="+mn-ea"/>
                  <a:cs typeface="+mn-cs"/>
                </a:rPr>
              </a:br>
              <a:r>
                <a:rPr kumimoji="0" lang="en-US" sz="2800" b="0" i="0" u="none" strike="noStrike" kern="1200" cap="none" spc="0" normalizeH="0" baseline="0" noProof="0" dirty="0">
                  <a:ln>
                    <a:noFill/>
                  </a:ln>
                  <a:solidFill>
                    <a:prstClr val="black"/>
                  </a:solidFill>
                  <a:effectLst/>
                  <a:uLnTx/>
                  <a:uFillTx/>
                  <a:ea typeface="+mn-ea"/>
                  <a:cs typeface="+mn-cs"/>
                </a:rPr>
                <a:t>and are sequenced together</a:t>
              </a:r>
            </a:p>
            <a:p>
              <a:pPr marL="0" marR="0" lvl="0" indent="0" algn="ctr" defTabSz="812780" rtl="0" eaLnBrk="1" fontAlgn="auto" latinLnBrk="0" hangingPunct="1">
                <a:lnSpc>
                  <a:spcPct val="100000"/>
                </a:lnSpc>
                <a:spcBef>
                  <a:spcPts val="160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ea typeface="+mn-ea"/>
                  <a:cs typeface="+mn-cs"/>
                </a:rPr>
                <a:t>watsonx Orchestrate delivers prebuilt skills, automation discovery </a:t>
              </a:r>
              <a:br>
                <a:rPr kumimoji="0" lang="en-US" sz="2800" b="0" i="0" u="none" strike="noStrike" kern="1200" cap="none" spc="0" normalizeH="0" baseline="0" noProof="0" dirty="0">
                  <a:ln>
                    <a:noFill/>
                  </a:ln>
                  <a:solidFill>
                    <a:prstClr val="black"/>
                  </a:solidFill>
                  <a:effectLst/>
                  <a:uLnTx/>
                  <a:uFillTx/>
                  <a:ea typeface="+mn-ea"/>
                  <a:cs typeface="+mn-cs"/>
                </a:rPr>
              </a:br>
              <a:r>
                <a:rPr kumimoji="0" lang="en-US" sz="2800" b="0" i="0" u="none" strike="noStrike" kern="1200" cap="none" spc="0" normalizeH="0" baseline="0" noProof="0" dirty="0">
                  <a:ln>
                    <a:noFill/>
                  </a:ln>
                  <a:solidFill>
                    <a:prstClr val="black"/>
                  </a:solidFill>
                  <a:effectLst/>
                  <a:uLnTx/>
                  <a:uFillTx/>
                  <a:ea typeface="+mn-ea"/>
                  <a:cs typeface="+mn-cs"/>
                </a:rPr>
                <a:t>and automation building tools for new skills</a:t>
              </a:r>
            </a:p>
            <a:p>
              <a:pPr marL="0" marR="0" lvl="0" indent="0" algn="ctr" defTabSz="812780" rtl="0" eaLnBrk="1" fontAlgn="auto" latinLnBrk="0" hangingPunct="1">
                <a:lnSpc>
                  <a:spcPct val="120000"/>
                </a:lnSpc>
                <a:spcBef>
                  <a:spcPts val="1600"/>
                </a:spcBef>
                <a:spcAft>
                  <a:spcPts val="0"/>
                </a:spcAft>
                <a:buClrTx/>
                <a:buSzTx/>
                <a:buFontTx/>
                <a:buNone/>
                <a:tabLst/>
                <a:defRPr/>
              </a:pPr>
              <a:endParaRPr kumimoji="0" lang="en-US" sz="2800" b="0" i="0" u="none" strike="noStrike" kern="1200" cap="none" spc="0" normalizeH="0" baseline="0" noProof="0" dirty="0">
                <a:ln>
                  <a:noFill/>
                </a:ln>
                <a:solidFill>
                  <a:srgbClr val="0F62FE"/>
                </a:solidFill>
                <a:effectLst/>
                <a:uLnTx/>
                <a:uFillTx/>
                <a:ea typeface="+mn-ea"/>
                <a:cs typeface="+mn-cs"/>
              </a:endParaRPr>
            </a:p>
          </p:txBody>
        </p:sp>
      </p:grpSp>
      <p:cxnSp>
        <p:nvCxnSpPr>
          <p:cNvPr id="36" name="Straight Connector 35">
            <a:extLst>
              <a:ext uri="{FF2B5EF4-FFF2-40B4-BE49-F238E27FC236}">
                <a16:creationId xmlns:a16="http://schemas.microsoft.com/office/drawing/2014/main" id="{C26B8908-493E-05A3-C4B6-CE10DDC7F92A}"/>
              </a:ext>
            </a:extLst>
          </p:cNvPr>
          <p:cNvCxnSpPr>
            <a:cxnSpLocks/>
            <a:endCxn id="3" idx="0"/>
          </p:cNvCxnSpPr>
          <p:nvPr/>
        </p:nvCxnSpPr>
        <p:spPr bwMode="auto">
          <a:xfrm>
            <a:off x="14841984" y="3560164"/>
            <a:ext cx="3198811" cy="387065"/>
          </a:xfrm>
          <a:prstGeom prst="line">
            <a:avLst/>
          </a:prstGeom>
          <a:ln w="38100" cap="rnd">
            <a:solidFill>
              <a:srgbClr val="82CFFF"/>
            </a:solidFill>
            <a:prstDash val="sysDot"/>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53BF04B2-C3C5-7E0E-A6DC-7B781F53800C}"/>
              </a:ext>
            </a:extLst>
          </p:cNvPr>
          <p:cNvCxnSpPr>
            <a:cxnSpLocks/>
            <a:endCxn id="3" idx="0"/>
          </p:cNvCxnSpPr>
          <p:nvPr/>
        </p:nvCxnSpPr>
        <p:spPr bwMode="auto">
          <a:xfrm flipH="1">
            <a:off x="18040795" y="3524653"/>
            <a:ext cx="3201988" cy="422576"/>
          </a:xfrm>
          <a:prstGeom prst="line">
            <a:avLst/>
          </a:prstGeom>
          <a:ln w="38100" cap="rnd">
            <a:solidFill>
              <a:srgbClr val="82CFFF"/>
            </a:solidFill>
            <a:prstDash val="sysDot"/>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1F46D79B-EE0B-9B38-F19C-D03C9B68B290}"/>
              </a:ext>
            </a:extLst>
          </p:cNvPr>
          <p:cNvCxnSpPr>
            <a:cxnSpLocks/>
            <a:endCxn id="3" idx="0"/>
          </p:cNvCxnSpPr>
          <p:nvPr/>
        </p:nvCxnSpPr>
        <p:spPr bwMode="auto">
          <a:xfrm flipH="1">
            <a:off x="18040795" y="3510116"/>
            <a:ext cx="1" cy="437113"/>
          </a:xfrm>
          <a:prstGeom prst="line">
            <a:avLst/>
          </a:prstGeom>
          <a:ln w="38100" cap="rnd">
            <a:solidFill>
              <a:srgbClr val="82CFFF"/>
            </a:solidFill>
            <a:prstDash val="sysDot"/>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19071837"/>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descr="Vertical half slide background in blue 10">
            <a:extLst>
              <a:ext uri="{FF2B5EF4-FFF2-40B4-BE49-F238E27FC236}">
                <a16:creationId xmlns:a16="http://schemas.microsoft.com/office/drawing/2014/main" id="{83DE5030-8432-D5E5-3543-86312F9F009A}"/>
              </a:ext>
            </a:extLst>
          </p:cNvPr>
          <p:cNvSpPr/>
          <p:nvPr/>
        </p:nvSpPr>
        <p:spPr bwMode="auto">
          <a:xfrm>
            <a:off x="12195176" y="893"/>
            <a:ext cx="12190413" cy="13714214"/>
          </a:xfrm>
          <a:prstGeom prst="rect">
            <a:avLst/>
          </a:prstGeom>
          <a:solidFill>
            <a:srgbClr val="F6F2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309" fontAlgn="base">
              <a:spcBef>
                <a:spcPct val="0"/>
              </a:spcBef>
              <a:spcAft>
                <a:spcPct val="0"/>
              </a:spcAft>
              <a:defRPr/>
            </a:pPr>
            <a:endParaRPr lang="en-US" sz="1400" dirty="0">
              <a:solidFill>
                <a:srgbClr val="FFFFFF"/>
              </a:solidFill>
              <a:latin typeface="IBM Plex Sans Light"/>
              <a:sym typeface="Helvetica Neue"/>
            </a:endParaRPr>
          </a:p>
        </p:txBody>
      </p:sp>
      <p:sp>
        <p:nvSpPr>
          <p:cNvPr id="8" name="TextBox 7">
            <a:extLst>
              <a:ext uri="{FF2B5EF4-FFF2-40B4-BE49-F238E27FC236}">
                <a16:creationId xmlns:a16="http://schemas.microsoft.com/office/drawing/2014/main" id="{56C08F49-D305-58CB-157B-875431BE471B}"/>
              </a:ext>
            </a:extLst>
          </p:cNvPr>
          <p:cNvSpPr txBox="1"/>
          <p:nvPr/>
        </p:nvSpPr>
        <p:spPr>
          <a:xfrm>
            <a:off x="580608" y="578527"/>
            <a:ext cx="11306633" cy="1661777"/>
          </a:xfrm>
          <a:prstGeom prst="rect">
            <a:avLst/>
          </a:prstGeom>
          <a:noFill/>
        </p:spPr>
        <p:txBody>
          <a:bodyPr wrap="square" lIns="0" tIns="0" rIns="0" bIns="0" anchor="t">
            <a:spAutoFit/>
          </a:bodyPr>
          <a:lstStyle/>
          <a:p>
            <a:pPr defTabSz="2438154">
              <a:buClr>
                <a:srgbClr val="000000"/>
              </a:buClr>
              <a:defRPr/>
            </a:pPr>
            <a:r>
              <a:rPr lang="en-US" sz="5399" kern="0" dirty="0">
                <a:solidFill>
                  <a:srgbClr val="000000"/>
                </a:solidFill>
                <a:latin typeface="IBM Plex Sans Light"/>
                <a:cs typeface="Arial"/>
                <a:sym typeface="Arial"/>
              </a:rPr>
              <a:t>Assistant builder allows teams </a:t>
            </a:r>
            <a:br>
              <a:rPr lang="en-US" sz="5399" kern="0" dirty="0">
                <a:solidFill>
                  <a:srgbClr val="000000"/>
                </a:solidFill>
                <a:latin typeface="IBM Plex Sans Light"/>
                <a:cs typeface="Arial"/>
                <a:sym typeface="Arial"/>
              </a:rPr>
            </a:br>
            <a:r>
              <a:rPr lang="en-US" sz="5399" kern="0" dirty="0">
                <a:solidFill>
                  <a:srgbClr val="000000"/>
                </a:solidFill>
                <a:latin typeface="IBM Plex Sans Light"/>
                <a:cs typeface="Arial"/>
                <a:sym typeface="Arial"/>
              </a:rPr>
              <a:t>to fulfill </a:t>
            </a:r>
            <a:r>
              <a:rPr lang="en-US" sz="5399" i="1" kern="0" dirty="0">
                <a:solidFill>
                  <a:srgbClr val="0F62FE"/>
                </a:solidFill>
                <a:latin typeface="IBM Plex Sans Light" panose="020B0403050203000203" pitchFamily="34" charset="0"/>
                <a:cs typeface="Arial"/>
                <a:sym typeface="Arial"/>
              </a:rPr>
              <a:t>complex journeys</a:t>
            </a:r>
          </a:p>
        </p:txBody>
      </p:sp>
      <p:grpSp>
        <p:nvGrpSpPr>
          <p:cNvPr id="80" name="Group 79">
            <a:extLst>
              <a:ext uri="{FF2B5EF4-FFF2-40B4-BE49-F238E27FC236}">
                <a16:creationId xmlns:a16="http://schemas.microsoft.com/office/drawing/2014/main" id="{FCB94346-D8C8-DB8F-5372-06FFDD0D510B}"/>
              </a:ext>
            </a:extLst>
          </p:cNvPr>
          <p:cNvGrpSpPr/>
          <p:nvPr/>
        </p:nvGrpSpPr>
        <p:grpSpPr>
          <a:xfrm>
            <a:off x="10542177" y="1415114"/>
            <a:ext cx="13488949" cy="921631"/>
            <a:chOff x="10526973" y="3535688"/>
            <a:chExt cx="13490705" cy="921751"/>
          </a:xfrm>
        </p:grpSpPr>
        <p:pic>
          <p:nvPicPr>
            <p:cNvPr id="10" name="Graphic 9">
              <a:extLst>
                <a:ext uri="{FF2B5EF4-FFF2-40B4-BE49-F238E27FC236}">
                  <a16:creationId xmlns:a16="http://schemas.microsoft.com/office/drawing/2014/main" id="{D2BA933C-053B-7EBD-0707-6FF95F852D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526973" y="3535688"/>
              <a:ext cx="914400" cy="914400"/>
            </a:xfrm>
            <a:prstGeom prst="rect">
              <a:avLst/>
            </a:prstGeom>
          </p:spPr>
        </p:pic>
        <p:pic>
          <p:nvPicPr>
            <p:cNvPr id="11" name="Graphic 10">
              <a:extLst>
                <a:ext uri="{FF2B5EF4-FFF2-40B4-BE49-F238E27FC236}">
                  <a16:creationId xmlns:a16="http://schemas.microsoft.com/office/drawing/2014/main" id="{B8F0906D-E801-37C1-01F5-033C33E744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103278" y="3543039"/>
              <a:ext cx="914400" cy="914400"/>
            </a:xfrm>
            <a:prstGeom prst="rect">
              <a:avLst/>
            </a:prstGeom>
          </p:spPr>
        </p:pic>
        <p:pic>
          <p:nvPicPr>
            <p:cNvPr id="12" name="Graphic 11">
              <a:extLst>
                <a:ext uri="{FF2B5EF4-FFF2-40B4-BE49-F238E27FC236}">
                  <a16:creationId xmlns:a16="http://schemas.microsoft.com/office/drawing/2014/main" id="{B813A27A-C670-C5F5-C694-E67A13E5232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870378" y="3535688"/>
              <a:ext cx="914400" cy="914400"/>
            </a:xfrm>
            <a:prstGeom prst="rect">
              <a:avLst/>
            </a:prstGeom>
          </p:spPr>
        </p:pic>
        <p:pic>
          <p:nvPicPr>
            <p:cNvPr id="13" name="Graphic 12">
              <a:extLst>
                <a:ext uri="{FF2B5EF4-FFF2-40B4-BE49-F238E27FC236}">
                  <a16:creationId xmlns:a16="http://schemas.microsoft.com/office/drawing/2014/main" id="{A051EDE7-D806-915A-6611-8900F8F363B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986828" y="3535688"/>
              <a:ext cx="914400" cy="914400"/>
            </a:xfrm>
            <a:prstGeom prst="rect">
              <a:avLst/>
            </a:prstGeom>
          </p:spPr>
        </p:pic>
        <p:pic>
          <p:nvPicPr>
            <p:cNvPr id="14" name="Graphic 13">
              <a:extLst>
                <a:ext uri="{FF2B5EF4-FFF2-40B4-BE49-F238E27FC236}">
                  <a16:creationId xmlns:a16="http://schemas.microsoft.com/office/drawing/2014/main" id="{2847E519-3513-45D2-5DEE-CA350B31750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flipH="1">
              <a:off x="13643423" y="3535688"/>
              <a:ext cx="1024905" cy="914400"/>
            </a:xfrm>
            <a:prstGeom prst="rect">
              <a:avLst/>
            </a:prstGeom>
          </p:spPr>
        </p:pic>
      </p:grpSp>
      <p:sp>
        <p:nvSpPr>
          <p:cNvPr id="37" name="Content Placeholder 3">
            <a:extLst>
              <a:ext uri="{FF2B5EF4-FFF2-40B4-BE49-F238E27FC236}">
                <a16:creationId xmlns:a16="http://schemas.microsoft.com/office/drawing/2014/main" id="{61E05F82-B73F-52B4-B531-5CFB068CCBBC}"/>
              </a:ext>
            </a:extLst>
          </p:cNvPr>
          <p:cNvSpPr txBox="1">
            <a:spLocks/>
          </p:cNvSpPr>
          <p:nvPr/>
        </p:nvSpPr>
        <p:spPr>
          <a:xfrm>
            <a:off x="577701" y="4245829"/>
            <a:ext cx="10215425" cy="6750566"/>
          </a:xfrm>
          <a:prstGeom prst="rect">
            <a:avLst/>
          </a:prstGeom>
        </p:spPr>
        <p:txBody>
          <a:bodyPr vert="horz" wrap="square" lIns="0" tIns="0" rIns="0" bIns="0" rtlCol="0">
            <a:spAutoFit/>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marL="0" lvl="1" indent="0" defTabSz="2437640">
              <a:spcBef>
                <a:spcPts val="2933"/>
              </a:spcBef>
              <a:buNone/>
              <a:defRPr/>
            </a:pPr>
            <a:r>
              <a:rPr lang="en-US" sz="2800" kern="0" dirty="0">
                <a:solidFill>
                  <a:srgbClr val="000000"/>
                </a:solidFill>
                <a:latin typeface="IBM Plex Sans" panose="020B0503050203000203" pitchFamily="34" charset="0"/>
                <a:sym typeface="Arial"/>
              </a:rPr>
              <a:t>Guide users to self serve when navigation is complex</a:t>
            </a:r>
          </a:p>
          <a:p>
            <a:pPr marL="0" lvl="1" indent="0" defTabSz="2437640">
              <a:spcBef>
                <a:spcPts val="0"/>
              </a:spcBef>
              <a:buNone/>
              <a:defRPr/>
            </a:pPr>
            <a:endParaRPr lang="en-US" sz="2800" kern="0" dirty="0">
              <a:solidFill>
                <a:srgbClr val="000000"/>
              </a:solidFill>
              <a:sym typeface="Arial"/>
            </a:endParaRPr>
          </a:p>
          <a:p>
            <a:pPr marL="685731" lvl="1" indent="0" defTabSz="2437640">
              <a:spcBef>
                <a:spcPts val="0"/>
              </a:spcBef>
              <a:buNone/>
              <a:defRPr/>
            </a:pPr>
            <a:r>
              <a:rPr lang="en-US" sz="2800" kern="0" dirty="0">
                <a:solidFill>
                  <a:srgbClr val="0F62FE"/>
                </a:solidFill>
                <a:sym typeface="Arial"/>
              </a:rPr>
              <a:t>Gen AI to hand-hold users</a:t>
            </a:r>
          </a:p>
          <a:p>
            <a:pPr marL="685731" lvl="1" indent="0" defTabSz="2437640">
              <a:spcBef>
                <a:spcPts val="1200"/>
              </a:spcBef>
              <a:buNone/>
              <a:defRPr/>
            </a:pPr>
            <a:r>
              <a:rPr lang="en-US" sz="2400" kern="0" dirty="0">
                <a:solidFill>
                  <a:srgbClr val="000000"/>
                </a:solidFill>
                <a:sym typeface="Arial"/>
              </a:rPr>
              <a:t>State of the art natural language understanding to resolve </a:t>
            </a:r>
            <a:br>
              <a:rPr lang="en-US" sz="2400" kern="0" dirty="0">
                <a:solidFill>
                  <a:srgbClr val="000000"/>
                </a:solidFill>
                <a:sym typeface="Arial"/>
              </a:rPr>
            </a:br>
            <a:r>
              <a:rPr lang="en-US" sz="2400" kern="0" dirty="0">
                <a:solidFill>
                  <a:srgbClr val="000000"/>
                </a:solidFill>
                <a:sym typeface="Arial"/>
              </a:rPr>
              <a:t>ambiguous conversations as users struggle to navigate through complex digital experiences</a:t>
            </a:r>
          </a:p>
          <a:p>
            <a:pPr marL="685731" lvl="1" indent="0" defTabSz="2437640">
              <a:spcBef>
                <a:spcPts val="0"/>
              </a:spcBef>
              <a:buNone/>
              <a:defRPr/>
            </a:pPr>
            <a:endParaRPr lang="en-US" sz="2800" kern="0" dirty="0">
              <a:solidFill>
                <a:srgbClr val="000000"/>
              </a:solidFill>
              <a:sym typeface="Arial"/>
            </a:endParaRPr>
          </a:p>
          <a:p>
            <a:pPr marL="685731" lvl="1" indent="0" defTabSz="2437640">
              <a:spcBef>
                <a:spcPts val="0"/>
              </a:spcBef>
              <a:buNone/>
              <a:defRPr/>
            </a:pPr>
            <a:r>
              <a:rPr lang="en-US" sz="2800" kern="0" dirty="0">
                <a:solidFill>
                  <a:srgbClr val="0F62FE"/>
                </a:solidFill>
                <a:sym typeface="Arial"/>
              </a:rPr>
              <a:t>Show, tell, and do for outcome-driven experiences</a:t>
            </a:r>
          </a:p>
          <a:p>
            <a:pPr marL="685731" lvl="1" indent="0" defTabSz="2437640">
              <a:spcBef>
                <a:spcPts val="1200"/>
              </a:spcBef>
              <a:buNone/>
              <a:defRPr/>
            </a:pPr>
            <a:r>
              <a:rPr lang="en-US" sz="2400" kern="0" dirty="0">
                <a:solidFill>
                  <a:srgbClr val="000000"/>
                </a:solidFill>
                <a:sym typeface="Arial"/>
              </a:rPr>
              <a:t>Design a variety of self-serve experiences with no-code tooling: </a:t>
            </a:r>
            <a:br>
              <a:rPr lang="en-US" sz="2400" kern="0" dirty="0">
                <a:solidFill>
                  <a:srgbClr val="000000"/>
                </a:solidFill>
                <a:sym typeface="Arial"/>
              </a:rPr>
            </a:br>
            <a:r>
              <a:rPr lang="en-US" sz="2400" kern="0" dirty="0">
                <a:solidFill>
                  <a:srgbClr val="000000"/>
                </a:solidFill>
                <a:sym typeface="Arial"/>
              </a:rPr>
              <a:t>guide users through existing digital journeys, offer informational help, or transact on their behalf. </a:t>
            </a:r>
          </a:p>
          <a:p>
            <a:pPr marL="685731" lvl="1" indent="0" defTabSz="2437640">
              <a:spcBef>
                <a:spcPts val="0"/>
              </a:spcBef>
              <a:buNone/>
              <a:defRPr/>
            </a:pPr>
            <a:endParaRPr lang="en-US" sz="2800" kern="0" dirty="0">
              <a:solidFill>
                <a:srgbClr val="0F62FE"/>
              </a:solidFill>
              <a:sym typeface="Arial"/>
            </a:endParaRPr>
          </a:p>
          <a:p>
            <a:pPr marL="685731" lvl="1" indent="0" defTabSz="2437640">
              <a:spcBef>
                <a:spcPts val="0"/>
              </a:spcBef>
              <a:buNone/>
              <a:defRPr/>
            </a:pPr>
            <a:r>
              <a:rPr lang="en-US" sz="2800" kern="0" dirty="0">
                <a:solidFill>
                  <a:srgbClr val="0F62FE"/>
                </a:solidFill>
                <a:sym typeface="Arial"/>
              </a:rPr>
              <a:t>Extend to existing catalog Skills and Automations</a:t>
            </a:r>
          </a:p>
          <a:p>
            <a:pPr marL="457177" lvl="1" indent="0" defTabSz="1625175">
              <a:spcBef>
                <a:spcPts val="800"/>
              </a:spcBef>
              <a:buNone/>
              <a:defRPr/>
            </a:pPr>
            <a:r>
              <a:rPr lang="en-US" sz="2400" kern="0" dirty="0">
                <a:solidFill>
                  <a:srgbClr val="000000"/>
                </a:solidFill>
                <a:sym typeface="Arial"/>
              </a:rPr>
              <a:t>Use the no-code Skill builder experience to design flows that align to existing business process automation. Leverage LLMs at runtime to dynamically guide the end-user through the process</a:t>
            </a:r>
          </a:p>
        </p:txBody>
      </p:sp>
      <p:sp>
        <p:nvSpPr>
          <p:cNvPr id="31" name="Oval 30">
            <a:extLst>
              <a:ext uri="{FF2B5EF4-FFF2-40B4-BE49-F238E27FC236}">
                <a16:creationId xmlns:a16="http://schemas.microsoft.com/office/drawing/2014/main" id="{6115AF9F-046F-7A7B-1FC7-394987170BFC}"/>
              </a:ext>
            </a:extLst>
          </p:cNvPr>
          <p:cNvSpPr/>
          <p:nvPr/>
        </p:nvSpPr>
        <p:spPr bwMode="auto">
          <a:xfrm>
            <a:off x="577700" y="5075493"/>
            <a:ext cx="503142" cy="502855"/>
          </a:xfrm>
          <a:prstGeom prst="ellipse">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ctr" anchorCtr="0" compatLnSpc="1">
            <a:prstTxWarp prst="textNoShape">
              <a:avLst/>
            </a:prstTxWarp>
          </a:bodyPr>
          <a:lstStyle/>
          <a:p>
            <a:pPr algn="ctr" defTabSz="914127" fontAlgn="base">
              <a:spcBef>
                <a:spcPct val="0"/>
              </a:spcBef>
              <a:spcAft>
                <a:spcPct val="0"/>
              </a:spcAft>
              <a:defRPr/>
            </a:pPr>
            <a:r>
              <a:rPr lang="en-US" sz="2400">
                <a:solidFill>
                  <a:srgbClr val="FFFFFF"/>
                </a:solidFill>
                <a:latin typeface="IBM Plex Sans Text" panose="020B0503050203000203" pitchFamily="34" charset="0"/>
                <a:cs typeface="Helvetica"/>
                <a:sym typeface="Helvetica Neue"/>
              </a:rPr>
              <a:t>1</a:t>
            </a:r>
            <a:endParaRPr lang="en-US" sz="1800">
              <a:solidFill>
                <a:srgbClr val="FFFFFF"/>
              </a:solidFill>
              <a:latin typeface="IBM Plex Sans Text" panose="020B0503050203000203" pitchFamily="34" charset="0"/>
              <a:cs typeface="Helvetica"/>
              <a:sym typeface="Helvetica Neue"/>
            </a:endParaRPr>
          </a:p>
        </p:txBody>
      </p:sp>
      <p:sp>
        <p:nvSpPr>
          <p:cNvPr id="33" name="Oval 32">
            <a:extLst>
              <a:ext uri="{FF2B5EF4-FFF2-40B4-BE49-F238E27FC236}">
                <a16:creationId xmlns:a16="http://schemas.microsoft.com/office/drawing/2014/main" id="{25257304-8A57-E719-8FFB-FC107D8E5D61}"/>
              </a:ext>
            </a:extLst>
          </p:cNvPr>
          <p:cNvSpPr/>
          <p:nvPr/>
        </p:nvSpPr>
        <p:spPr bwMode="auto">
          <a:xfrm>
            <a:off x="577700" y="7174252"/>
            <a:ext cx="503142" cy="502855"/>
          </a:xfrm>
          <a:prstGeom prst="ellipse">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ctr" anchorCtr="0" compatLnSpc="1">
            <a:prstTxWarp prst="textNoShape">
              <a:avLst/>
            </a:prstTxWarp>
          </a:bodyPr>
          <a:lstStyle/>
          <a:p>
            <a:pPr algn="ctr" defTabSz="914127" fontAlgn="base">
              <a:spcBef>
                <a:spcPct val="0"/>
              </a:spcBef>
              <a:spcAft>
                <a:spcPct val="0"/>
              </a:spcAft>
              <a:defRPr/>
            </a:pPr>
            <a:r>
              <a:rPr lang="en-US" sz="2400">
                <a:solidFill>
                  <a:srgbClr val="FFFFFF"/>
                </a:solidFill>
                <a:latin typeface="IBM Plex Sans Text" panose="020B0503050203000203" pitchFamily="34" charset="0"/>
                <a:cs typeface="Helvetica"/>
                <a:sym typeface="Helvetica Neue"/>
              </a:rPr>
              <a:t>2</a:t>
            </a:r>
          </a:p>
        </p:txBody>
      </p:sp>
      <p:sp>
        <p:nvSpPr>
          <p:cNvPr id="35" name="Oval 34">
            <a:extLst>
              <a:ext uri="{FF2B5EF4-FFF2-40B4-BE49-F238E27FC236}">
                <a16:creationId xmlns:a16="http://schemas.microsoft.com/office/drawing/2014/main" id="{27F9CA32-93A2-672F-B92F-1F72475CFFD7}"/>
              </a:ext>
            </a:extLst>
          </p:cNvPr>
          <p:cNvSpPr/>
          <p:nvPr/>
        </p:nvSpPr>
        <p:spPr bwMode="auto">
          <a:xfrm>
            <a:off x="577700" y="9282058"/>
            <a:ext cx="503142" cy="502855"/>
          </a:xfrm>
          <a:prstGeom prst="ellipse">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ctr" anchorCtr="0" compatLnSpc="1">
            <a:prstTxWarp prst="textNoShape">
              <a:avLst/>
            </a:prstTxWarp>
          </a:bodyPr>
          <a:lstStyle/>
          <a:p>
            <a:pPr algn="ctr" defTabSz="914127" fontAlgn="base">
              <a:spcBef>
                <a:spcPct val="0"/>
              </a:spcBef>
              <a:spcAft>
                <a:spcPct val="0"/>
              </a:spcAft>
              <a:defRPr/>
            </a:pPr>
            <a:r>
              <a:rPr lang="en-US" sz="2400">
                <a:solidFill>
                  <a:srgbClr val="FFFFFF"/>
                </a:solidFill>
                <a:latin typeface="IBM Plex Sans Text" panose="020B0503050203000203" pitchFamily="34" charset="0"/>
                <a:cs typeface="Helvetica"/>
                <a:sym typeface="Helvetica Neue"/>
              </a:rPr>
              <a:t>3</a:t>
            </a:r>
          </a:p>
        </p:txBody>
      </p:sp>
      <p:sp>
        <p:nvSpPr>
          <p:cNvPr id="47" name="Freeform 46">
            <a:extLst>
              <a:ext uri="{FF2B5EF4-FFF2-40B4-BE49-F238E27FC236}">
                <a16:creationId xmlns:a16="http://schemas.microsoft.com/office/drawing/2014/main" id="{9DEFE58E-32B2-74E7-DFBD-721E558F7B1A}"/>
              </a:ext>
            </a:extLst>
          </p:cNvPr>
          <p:cNvSpPr/>
          <p:nvPr/>
        </p:nvSpPr>
        <p:spPr>
          <a:xfrm>
            <a:off x="23621614" y="3554277"/>
            <a:ext cx="304368" cy="304760"/>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defTabSz="1829196">
              <a:defRPr/>
            </a:pPr>
            <a:endParaRPr lang="en-US">
              <a:solidFill>
                <a:srgbClr val="000000"/>
              </a:solidFill>
              <a:latin typeface="IBM Plex Sans Light"/>
              <a:sym typeface="Helvetica Neue"/>
            </a:endParaRPr>
          </a:p>
        </p:txBody>
      </p:sp>
      <p:grpSp>
        <p:nvGrpSpPr>
          <p:cNvPr id="79" name="Group 78">
            <a:extLst>
              <a:ext uri="{FF2B5EF4-FFF2-40B4-BE49-F238E27FC236}">
                <a16:creationId xmlns:a16="http://schemas.microsoft.com/office/drawing/2014/main" id="{C461F6CD-2A57-BC6A-7FE4-EE619F8E62B5}"/>
              </a:ext>
            </a:extLst>
          </p:cNvPr>
          <p:cNvGrpSpPr/>
          <p:nvPr/>
        </p:nvGrpSpPr>
        <p:grpSpPr>
          <a:xfrm>
            <a:off x="10675021" y="-460558"/>
            <a:ext cx="13223261" cy="4672972"/>
            <a:chOff x="10701206" y="1621299"/>
            <a:chExt cx="13224983" cy="4673580"/>
          </a:xfrm>
        </p:grpSpPr>
        <p:sp>
          <p:nvSpPr>
            <p:cNvPr id="75" name="Arc 74">
              <a:extLst>
                <a:ext uri="{FF2B5EF4-FFF2-40B4-BE49-F238E27FC236}">
                  <a16:creationId xmlns:a16="http://schemas.microsoft.com/office/drawing/2014/main" id="{F08F86B0-84EA-1E8C-61DE-0C10072F21DD}"/>
                </a:ext>
              </a:extLst>
            </p:cNvPr>
            <p:cNvSpPr>
              <a:spLocks noChangeAspect="1"/>
            </p:cNvSpPr>
            <p:nvPr/>
          </p:nvSpPr>
          <p:spPr bwMode="auto">
            <a:xfrm rot="18900000">
              <a:off x="13890191" y="2637279"/>
              <a:ext cx="3657814" cy="3657600"/>
            </a:xfrm>
            <a:prstGeom prst="arc">
              <a:avLst/>
            </a:prstGeom>
            <a:ln w="50800" cap="rnd">
              <a:solidFill>
                <a:srgbClr val="D4BBFF"/>
              </a:solidFill>
              <a:prstDash val="sysDot"/>
              <a:headEnd type="none" w="med" len="med"/>
              <a:tailEnd type="arrow"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defTabSz="1829196">
                <a:defRPr/>
              </a:pPr>
              <a:endParaRPr lang="en-US">
                <a:solidFill>
                  <a:srgbClr val="000000"/>
                </a:solidFill>
                <a:latin typeface="IBM Plex Sans Light"/>
                <a:sym typeface="Helvetica Neue"/>
              </a:endParaRPr>
            </a:p>
          </p:txBody>
        </p:sp>
        <p:sp>
          <p:nvSpPr>
            <p:cNvPr id="76" name="Arc 75">
              <a:extLst>
                <a:ext uri="{FF2B5EF4-FFF2-40B4-BE49-F238E27FC236}">
                  <a16:creationId xmlns:a16="http://schemas.microsoft.com/office/drawing/2014/main" id="{A438F897-CB9D-C1AE-8A34-4D1AF9083A63}"/>
                </a:ext>
              </a:extLst>
            </p:cNvPr>
            <p:cNvSpPr>
              <a:spLocks noChangeAspect="1"/>
            </p:cNvSpPr>
            <p:nvPr/>
          </p:nvSpPr>
          <p:spPr bwMode="auto">
            <a:xfrm rot="8100000">
              <a:off x="10701206" y="1621299"/>
              <a:ext cx="3657599" cy="3657600"/>
            </a:xfrm>
            <a:prstGeom prst="arc">
              <a:avLst/>
            </a:prstGeom>
            <a:ln w="50800" cap="rnd">
              <a:solidFill>
                <a:srgbClr val="E8DAFF"/>
              </a:solidFill>
              <a:prstDash val="sysDot"/>
              <a:headEnd type="arrow" w="med" len="med"/>
              <a:tailEnd type="none"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defTabSz="1829196">
                <a:defRPr/>
              </a:pPr>
              <a:endParaRPr lang="en-US">
                <a:solidFill>
                  <a:srgbClr val="000000"/>
                </a:solidFill>
                <a:latin typeface="IBM Plex Sans Light"/>
                <a:sym typeface="Helvetica Neue"/>
              </a:endParaRPr>
            </a:p>
          </p:txBody>
        </p:sp>
        <p:sp>
          <p:nvSpPr>
            <p:cNvPr id="77" name="Arc 76">
              <a:extLst>
                <a:ext uri="{FF2B5EF4-FFF2-40B4-BE49-F238E27FC236}">
                  <a16:creationId xmlns:a16="http://schemas.microsoft.com/office/drawing/2014/main" id="{B1F2CCDA-8E04-ABCE-2438-0D615399525E}"/>
                </a:ext>
              </a:extLst>
            </p:cNvPr>
            <p:cNvSpPr>
              <a:spLocks noChangeAspect="1"/>
            </p:cNvSpPr>
            <p:nvPr/>
          </p:nvSpPr>
          <p:spPr bwMode="auto">
            <a:xfrm rot="18900000">
              <a:off x="20268375" y="2637279"/>
              <a:ext cx="3657814" cy="3657600"/>
            </a:xfrm>
            <a:prstGeom prst="arc">
              <a:avLst/>
            </a:prstGeom>
            <a:ln w="50800" cap="rnd">
              <a:solidFill>
                <a:srgbClr val="8A3FFC"/>
              </a:solidFill>
              <a:prstDash val="sysDot"/>
              <a:headEnd type="none" w="med" len="med"/>
              <a:tailEnd type="arrow"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defTabSz="1829196">
                <a:defRPr/>
              </a:pPr>
              <a:endParaRPr lang="en-US">
                <a:solidFill>
                  <a:srgbClr val="000000"/>
                </a:solidFill>
                <a:latin typeface="IBM Plex Sans Light"/>
                <a:sym typeface="Helvetica Neue"/>
              </a:endParaRPr>
            </a:p>
          </p:txBody>
        </p:sp>
        <p:sp>
          <p:nvSpPr>
            <p:cNvPr id="78" name="Arc 77">
              <a:extLst>
                <a:ext uri="{FF2B5EF4-FFF2-40B4-BE49-F238E27FC236}">
                  <a16:creationId xmlns:a16="http://schemas.microsoft.com/office/drawing/2014/main" id="{E75D67F3-51F9-4F8A-EEA2-CA2DD46CC81F}"/>
                </a:ext>
              </a:extLst>
            </p:cNvPr>
            <p:cNvSpPr>
              <a:spLocks noChangeAspect="1"/>
            </p:cNvSpPr>
            <p:nvPr/>
          </p:nvSpPr>
          <p:spPr bwMode="auto">
            <a:xfrm rot="8100000">
              <a:off x="17079391" y="1621299"/>
              <a:ext cx="3657599" cy="3657600"/>
            </a:xfrm>
            <a:prstGeom prst="arc">
              <a:avLst/>
            </a:prstGeom>
            <a:ln w="50800" cap="rnd">
              <a:solidFill>
                <a:srgbClr val="A56EFF"/>
              </a:solidFill>
              <a:prstDash val="sysDot"/>
              <a:headEnd type="arrow" w="med" len="med"/>
              <a:tailEnd type="none"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defTabSz="1829196">
                <a:defRPr/>
              </a:pPr>
              <a:endParaRPr lang="en-US">
                <a:solidFill>
                  <a:srgbClr val="000000"/>
                </a:solidFill>
                <a:latin typeface="IBM Plex Sans Light"/>
                <a:sym typeface="Helvetica Neue"/>
              </a:endParaRPr>
            </a:p>
          </p:txBody>
        </p:sp>
      </p:grpSp>
      <p:sp>
        <p:nvSpPr>
          <p:cNvPr id="9" name="TextBox 8">
            <a:extLst>
              <a:ext uri="{FF2B5EF4-FFF2-40B4-BE49-F238E27FC236}">
                <a16:creationId xmlns:a16="http://schemas.microsoft.com/office/drawing/2014/main" id="{C225941D-9B40-67FA-3A0C-A38BC5138E02}"/>
              </a:ext>
            </a:extLst>
          </p:cNvPr>
          <p:cNvSpPr txBox="1"/>
          <p:nvPr/>
        </p:nvSpPr>
        <p:spPr>
          <a:xfrm>
            <a:off x="24455585" y="3573835"/>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21" indent="-446704" defTabSz="2438156">
              <a:spcBef>
                <a:spcPts val="2900"/>
              </a:spcBef>
              <a:buSzPct val="100000"/>
              <a:buFontTx/>
              <a:buChar char="–"/>
              <a:defRPr/>
            </a:pPr>
            <a:endParaRPr lang="en-US" kern="0" dirty="0">
              <a:solidFill>
                <a:srgbClr val="000000"/>
              </a:solidFill>
              <a:latin typeface="IBM Plex Sans Light"/>
              <a:sym typeface="IBM Plex Sans Light"/>
            </a:endParaRPr>
          </a:p>
        </p:txBody>
      </p:sp>
      <p:pic>
        <p:nvPicPr>
          <p:cNvPr id="5" name="bluepoints demo.mov" descr="bluepoints demo.mov">
            <a:extLst>
              <a:ext uri="{FF2B5EF4-FFF2-40B4-BE49-F238E27FC236}">
                <a16:creationId xmlns:a16="http://schemas.microsoft.com/office/drawing/2014/main" id="{5B0661A1-E2D0-5AC1-B915-5B1947EC9909}"/>
              </a:ext>
            </a:extLst>
          </p:cNvPr>
          <p:cNvPicPr>
            <a:picLocks/>
          </p:cNvPicPr>
          <p:nvPr>
            <a:videoFile r:link="rId2"/>
            <p:extLst>
              <p:ext uri="{DAA4B4D4-6D71-4841-9C94-3DE7FCFB9230}">
                <p14:media xmlns:p14="http://schemas.microsoft.com/office/powerpoint/2010/main" r:embed="rId1"/>
              </p:ext>
            </p:extLst>
          </p:nvPr>
        </p:nvPicPr>
        <p:blipFill>
          <a:blip r:embed="rId15"/>
          <a:stretch>
            <a:fillRect/>
          </a:stretch>
        </p:blipFill>
        <p:spPr>
          <a:xfrm>
            <a:off x="13875834" y="4554168"/>
            <a:ext cx="9075035" cy="7544829"/>
          </a:xfrm>
          <a:prstGeom prst="rect">
            <a:avLst/>
          </a:prstGeom>
          <a:ln w="12700">
            <a:miter lim="400000"/>
          </a:ln>
          <a:effectLst>
            <a:outerShdw blurRad="254000" dist="127000" dir="16200000" rotWithShape="0">
              <a:srgbClr val="000000">
                <a:alpha val="70000"/>
              </a:srgbClr>
            </a:outerShdw>
          </a:effectLst>
        </p:spPr>
      </p:pic>
    </p:spTree>
    <p:extLst>
      <p:ext uri="{BB962C8B-B14F-4D97-AF65-F5344CB8AC3E}">
        <p14:creationId xmlns:p14="http://schemas.microsoft.com/office/powerpoint/2010/main" val="13429537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100000">
                <p:cTn id="12" fill="hold" display="0">
                  <p:stCondLst>
                    <p:cond delay="indefinite"/>
                  </p:stCondLst>
                </p:cTn>
                <p:tgtEl>
                  <p:spTgt spid="5"/>
                </p:tgtEl>
              </p:cMediaNode>
            </p:vide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6D72EA6-D83F-C52A-B155-334EC9E221E3}"/>
              </a:ext>
            </a:extLst>
          </p:cNvPr>
          <p:cNvSpPr/>
          <p:nvPr/>
        </p:nvSpPr>
        <p:spPr bwMode="auto">
          <a:xfrm>
            <a:off x="457199" y="3625700"/>
            <a:ext cx="6114133" cy="9175904"/>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200" tIns="457200" rIns="228600" bIns="0" numCol="1" rtlCol="0" anchor="t" anchorCtr="0" compatLnSpc="1">
            <a:prstTxWarp prst="textNoShape">
              <a:avLst/>
            </a:prstTxWarp>
          </a:bodyPr>
          <a:lstStyle/>
          <a:p>
            <a:pPr defTabSz="4876800">
              <a:spcBef>
                <a:spcPts val="600"/>
              </a:spcBef>
              <a:spcAft>
                <a:spcPts val="600"/>
              </a:spcAft>
            </a:pPr>
            <a:r>
              <a:rPr lang="en-US" sz="3200" kern="0" dirty="0">
                <a:solidFill>
                  <a:srgbClr val="000000"/>
                </a:solidFill>
                <a:latin typeface="IBM Plex Sans" panose="020B0503050203000203" pitchFamily="34" charset="0"/>
              </a:rPr>
              <a:t>Reinventing client support</a:t>
            </a:r>
          </a:p>
          <a:p>
            <a:pPr marL="457200" indent="-457200" defTabSz="4876800">
              <a:spcBef>
                <a:spcPts val="600"/>
              </a:spcBef>
              <a:spcAft>
                <a:spcPts val="600"/>
              </a:spcAft>
              <a:buFont typeface="Arial" panose="020B0604020202020204" pitchFamily="34" charset="0"/>
              <a:buChar char="•"/>
            </a:pPr>
            <a:r>
              <a:rPr lang="en-US" sz="2800" b="1" kern="0" dirty="0">
                <a:solidFill>
                  <a:srgbClr val="000000"/>
                </a:solidFill>
                <a:latin typeface="IBM Plex Sans Light" panose="020B0403050203000203" pitchFamily="34" charset="0"/>
              </a:rPr>
              <a:t> </a:t>
            </a:r>
            <a:r>
              <a:rPr lang="en-US" sz="2800" b="1" kern="0" dirty="0">
                <a:solidFill>
                  <a:schemeClr val="accent1"/>
                </a:solidFill>
                <a:latin typeface="IBM Plex Sans" panose="020B0503050203000203" pitchFamily="34" charset="0"/>
              </a:rPr>
              <a:t>25-point </a:t>
            </a:r>
            <a:r>
              <a:rPr lang="en-US" sz="2800" kern="0" dirty="0">
                <a:solidFill>
                  <a:schemeClr val="tx1"/>
                </a:solidFill>
                <a:latin typeface="IBM Plex Sans Light" panose="020B0403050203000203" pitchFamily="34" charset="0"/>
              </a:rPr>
              <a:t>increase</a:t>
            </a:r>
            <a:r>
              <a:rPr lang="en-US" sz="2800" kern="0" dirty="0">
                <a:solidFill>
                  <a:schemeClr val="accent1"/>
                </a:solidFill>
                <a:latin typeface="IBM Plex Sans Light" panose="020B0403050203000203" pitchFamily="34" charset="0"/>
              </a:rPr>
              <a:t> </a:t>
            </a:r>
            <a:r>
              <a:rPr lang="en-US" sz="2800" kern="0" dirty="0">
                <a:solidFill>
                  <a:srgbClr val="000000"/>
                </a:solidFill>
                <a:latin typeface="IBM Plex Sans Light" panose="020B0403050203000203" pitchFamily="34" charset="0"/>
              </a:rPr>
              <a:t>in NPS</a:t>
            </a:r>
          </a:p>
          <a:p>
            <a:pPr marL="457200" indent="-457200" defTabSz="4876800">
              <a:spcBef>
                <a:spcPts val="600"/>
              </a:spcBef>
              <a:spcAft>
                <a:spcPts val="600"/>
              </a:spcAft>
              <a:buFont typeface="Arial" panose="020B0604020202020204" pitchFamily="34" charset="0"/>
              <a:buChar char="•"/>
            </a:pPr>
            <a:r>
              <a:rPr lang="en-US" sz="2800" b="1" kern="0" dirty="0">
                <a:solidFill>
                  <a:schemeClr val="tx1"/>
                </a:solidFill>
                <a:latin typeface="IBM Plex Sans" panose="020B0503050203000203" pitchFamily="34" charset="0"/>
              </a:rPr>
              <a:t> </a:t>
            </a:r>
            <a:r>
              <a:rPr lang="en-US" sz="2800" b="1" kern="0" dirty="0">
                <a:solidFill>
                  <a:schemeClr val="accent1"/>
                </a:solidFill>
                <a:latin typeface="IBM Plex Sans" panose="020B0503050203000203" pitchFamily="34" charset="0"/>
              </a:rPr>
              <a:t>26% </a:t>
            </a:r>
            <a:r>
              <a:rPr lang="en-US" sz="2800" kern="0" dirty="0">
                <a:solidFill>
                  <a:srgbClr val="000000"/>
                </a:solidFill>
                <a:latin typeface="IBM Plex Sans Light" panose="020B0403050203000203" pitchFamily="34" charset="0"/>
              </a:rPr>
              <a:t>cycle time reduction </a:t>
            </a:r>
            <a:br>
              <a:rPr lang="en-US" sz="2800" kern="0" dirty="0">
                <a:solidFill>
                  <a:srgbClr val="000000"/>
                </a:solidFill>
                <a:latin typeface="IBM Plex Sans Light" panose="020B0403050203000203" pitchFamily="34" charset="0"/>
              </a:rPr>
            </a:br>
            <a:r>
              <a:rPr lang="en-US" sz="2800" kern="0" dirty="0">
                <a:solidFill>
                  <a:srgbClr val="000000"/>
                </a:solidFill>
                <a:latin typeface="IBM Plex Sans Light" panose="020B0403050203000203" pitchFamily="34" charset="0"/>
              </a:rPr>
              <a:t>for classification and routing</a:t>
            </a:r>
          </a:p>
          <a:p>
            <a:pPr defTabSz="4876800">
              <a:spcBef>
                <a:spcPts val="600"/>
              </a:spcBef>
              <a:spcAft>
                <a:spcPts val="600"/>
              </a:spcAft>
            </a:pPr>
            <a:endParaRPr lang="en-US" sz="2800" kern="0" dirty="0">
              <a:solidFill>
                <a:srgbClr val="000000"/>
              </a:solidFill>
              <a:latin typeface="IBM Plex Sans Light" panose="020B0403050203000203" pitchFamily="34" charset="0"/>
            </a:endParaRPr>
          </a:p>
          <a:p>
            <a:pPr defTabSz="4876800">
              <a:spcBef>
                <a:spcPts val="600"/>
              </a:spcBef>
              <a:spcAft>
                <a:spcPts val="600"/>
              </a:spcAft>
            </a:pPr>
            <a:endParaRPr lang="en-US" sz="2800" kern="0" dirty="0">
              <a:solidFill>
                <a:srgbClr val="000000"/>
              </a:solidFill>
              <a:latin typeface="IBM Plex Sans Light" panose="020B0403050203000203" pitchFamily="34" charset="0"/>
            </a:endParaRPr>
          </a:p>
          <a:p>
            <a:pPr defTabSz="4876800">
              <a:spcBef>
                <a:spcPts val="600"/>
              </a:spcBef>
              <a:spcAft>
                <a:spcPts val="600"/>
              </a:spcAft>
            </a:pPr>
            <a:r>
              <a:rPr lang="en-US" sz="3200" kern="0" dirty="0">
                <a:solidFill>
                  <a:srgbClr val="000000"/>
                </a:solidFill>
                <a:latin typeface="IBM Plex Sans" panose="020B0503050203000203" pitchFamily="34" charset="0"/>
              </a:rPr>
              <a:t>Reinventing HR support</a:t>
            </a:r>
          </a:p>
          <a:p>
            <a:pPr marL="457200" indent="-457200" defTabSz="4876800">
              <a:spcBef>
                <a:spcPts val="600"/>
              </a:spcBef>
              <a:spcAft>
                <a:spcPts val="600"/>
              </a:spcAft>
              <a:buFont typeface="Arial" panose="020B0604020202020204" pitchFamily="34" charset="0"/>
              <a:buChar char="•"/>
            </a:pPr>
            <a:r>
              <a:rPr lang="en-US" sz="2800" b="1" kern="0" dirty="0">
                <a:solidFill>
                  <a:schemeClr val="tx1"/>
                </a:solidFill>
                <a:latin typeface="IBM Plex Sans" panose="020B0503050203000203" pitchFamily="34" charset="0"/>
              </a:rPr>
              <a:t> </a:t>
            </a:r>
            <a:r>
              <a:rPr lang="en-US" sz="2800" b="1" kern="0" dirty="0">
                <a:solidFill>
                  <a:schemeClr val="accent1"/>
                </a:solidFill>
                <a:latin typeface="IBM Plex Sans" panose="020B0503050203000203" pitchFamily="34" charset="0"/>
              </a:rPr>
              <a:t>94% </a:t>
            </a:r>
            <a:r>
              <a:rPr lang="en-US" sz="2800" kern="0" dirty="0">
                <a:solidFill>
                  <a:srgbClr val="000000"/>
                </a:solidFill>
                <a:latin typeface="IBM Plex Sans Light" panose="020B0403050203000203" pitchFamily="34" charset="0"/>
              </a:rPr>
              <a:t>of cases solved </a:t>
            </a:r>
            <a:br>
              <a:rPr lang="en-US" sz="2800" kern="0" dirty="0">
                <a:solidFill>
                  <a:srgbClr val="000000"/>
                </a:solidFill>
                <a:latin typeface="IBM Plex Sans Light" panose="020B0403050203000203" pitchFamily="34" charset="0"/>
              </a:rPr>
            </a:br>
            <a:r>
              <a:rPr lang="en-US" sz="2800" kern="0" dirty="0">
                <a:solidFill>
                  <a:srgbClr val="000000"/>
                </a:solidFill>
                <a:latin typeface="IBM Plex Sans Light" panose="020B0403050203000203" pitchFamily="34" charset="0"/>
              </a:rPr>
              <a:t>by virtual assistant</a:t>
            </a:r>
          </a:p>
          <a:p>
            <a:pPr marL="457200" indent="-457200" defTabSz="4876800">
              <a:spcBef>
                <a:spcPts val="600"/>
              </a:spcBef>
              <a:spcAft>
                <a:spcPts val="600"/>
              </a:spcAft>
              <a:buFont typeface="Arial" panose="020B0604020202020204" pitchFamily="34" charset="0"/>
              <a:buChar char="•"/>
            </a:pPr>
            <a:r>
              <a:rPr lang="en-US" sz="2800" b="1" kern="0" dirty="0">
                <a:solidFill>
                  <a:srgbClr val="000000"/>
                </a:solidFill>
                <a:latin typeface="IBM Plex Sans Light" panose="020B0403050203000203" pitchFamily="34" charset="0"/>
              </a:rPr>
              <a:t> </a:t>
            </a:r>
            <a:r>
              <a:rPr lang="en-US" sz="2800" b="1" kern="0" dirty="0">
                <a:solidFill>
                  <a:schemeClr val="accent1"/>
                </a:solidFill>
                <a:latin typeface="IBM Plex Sans" panose="020B0503050203000203" pitchFamily="34" charset="0"/>
              </a:rPr>
              <a:t>837K </a:t>
            </a:r>
            <a:r>
              <a:rPr lang="en-US" sz="2800" kern="0" dirty="0">
                <a:solidFill>
                  <a:srgbClr val="000000"/>
                </a:solidFill>
                <a:latin typeface="IBM Plex Sans Light" panose="020B0403050203000203" pitchFamily="34" charset="0"/>
              </a:rPr>
              <a:t>automated transactions</a:t>
            </a:r>
          </a:p>
          <a:p>
            <a:pPr defTabSz="4876800">
              <a:spcBef>
                <a:spcPts val="1200"/>
              </a:spcBef>
            </a:pPr>
            <a:endParaRPr lang="en-US" sz="2200" kern="0" dirty="0">
              <a:solidFill>
                <a:srgbClr val="000000"/>
              </a:solidFill>
              <a:latin typeface="IBM Plex Sans Light" panose="020B0403050203000203" pitchFamily="34" charset="0"/>
            </a:endParaRPr>
          </a:p>
        </p:txBody>
      </p:sp>
      <p:sp>
        <p:nvSpPr>
          <p:cNvPr id="6" name="Text Placeholder 2">
            <a:extLst>
              <a:ext uri="{FF2B5EF4-FFF2-40B4-BE49-F238E27FC236}">
                <a16:creationId xmlns:a16="http://schemas.microsoft.com/office/drawing/2014/main" id="{F3A5FA85-2DF8-E6BF-14D7-D7BE7BA3ECA7}"/>
              </a:ext>
            </a:extLst>
          </p:cNvPr>
          <p:cNvSpPr txBox="1">
            <a:spLocks/>
          </p:cNvSpPr>
          <p:nvPr/>
        </p:nvSpPr>
        <p:spPr>
          <a:xfrm>
            <a:off x="7504633" y="7474825"/>
            <a:ext cx="7240776" cy="5517678"/>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1200"/>
              </a:spcBef>
            </a:pPr>
            <a:r>
              <a:rPr lang="en-US" sz="2400" b="1" kern="0" dirty="0"/>
              <a:t>External customer support</a:t>
            </a:r>
          </a:p>
          <a:p>
            <a:pPr marL="342900" indent="-342900">
              <a:spcBef>
                <a:spcPts val="1200"/>
              </a:spcBef>
              <a:buFont typeface="Arial" panose="020B0604020202020204" pitchFamily="34" charset="0"/>
              <a:buChar char="•"/>
            </a:pPr>
            <a:r>
              <a:rPr lang="en-US" sz="2400" kern="0" dirty="0"/>
              <a:t>Summarization of cases to automatically create knowledge articles for use in case handoffs</a:t>
            </a:r>
          </a:p>
          <a:p>
            <a:pPr marL="342900" indent="-342900">
              <a:spcBef>
                <a:spcPts val="1200"/>
              </a:spcBef>
              <a:buFont typeface="Arial" panose="020B0604020202020204" pitchFamily="34" charset="0"/>
              <a:buChar char="•"/>
            </a:pPr>
            <a:r>
              <a:rPr lang="en-US" sz="2400" kern="0" dirty="0"/>
              <a:t>Additional self-serve topics for clients </a:t>
            </a:r>
            <a:br>
              <a:rPr lang="en-US" sz="2400" kern="0" dirty="0"/>
            </a:br>
            <a:r>
              <a:rPr lang="en-US" sz="2400" kern="0" dirty="0"/>
              <a:t>with improved conversational capabilities </a:t>
            </a:r>
            <a:br>
              <a:rPr lang="en-US" sz="2400" kern="0" dirty="0"/>
            </a:br>
            <a:r>
              <a:rPr lang="en-US" sz="2400" kern="0" dirty="0"/>
              <a:t>via chatbots, with less effort in training</a:t>
            </a:r>
          </a:p>
          <a:p>
            <a:pPr marL="342900" indent="-342900">
              <a:spcBef>
                <a:spcPts val="1200"/>
              </a:spcBef>
              <a:buFont typeface="Arial" panose="020B0604020202020204" pitchFamily="34" charset="0"/>
              <a:buChar char="•"/>
            </a:pPr>
            <a:r>
              <a:rPr lang="en-US" sz="2400" kern="0" dirty="0"/>
              <a:t>Improved quality of search results</a:t>
            </a:r>
          </a:p>
          <a:p>
            <a:pPr>
              <a:spcBef>
                <a:spcPts val="1200"/>
              </a:spcBef>
            </a:pPr>
            <a:endParaRPr lang="en-US" sz="2400" kern="0" dirty="0"/>
          </a:p>
          <a:p>
            <a:r>
              <a:rPr lang="en-US" sz="2400" b="1" kern="0" dirty="0"/>
              <a:t>Internal operations</a:t>
            </a:r>
          </a:p>
          <a:p>
            <a:pPr marL="342900" indent="-342900">
              <a:spcBef>
                <a:spcPts val="1200"/>
              </a:spcBef>
              <a:buFont typeface="Arial" panose="020B0604020202020204" pitchFamily="34" charset="0"/>
              <a:buChar char="•"/>
            </a:pPr>
            <a:r>
              <a:rPr lang="en-US" sz="2400" kern="0" dirty="0"/>
              <a:t>Enable internal users to find solutions </a:t>
            </a:r>
            <a:br>
              <a:rPr lang="en-US" sz="2400" kern="0" dirty="0"/>
            </a:br>
            <a:r>
              <a:rPr lang="en-US" sz="2400" kern="0" dirty="0"/>
              <a:t>and get answers through an easy, compelling conversational UX</a:t>
            </a:r>
          </a:p>
        </p:txBody>
      </p:sp>
      <p:sp>
        <p:nvSpPr>
          <p:cNvPr id="7" name="Text Placeholder 3">
            <a:extLst>
              <a:ext uri="{FF2B5EF4-FFF2-40B4-BE49-F238E27FC236}">
                <a16:creationId xmlns:a16="http://schemas.microsoft.com/office/drawing/2014/main" id="{41587C14-E0CF-C384-FECF-8C6AB8D9F154}"/>
              </a:ext>
            </a:extLst>
          </p:cNvPr>
          <p:cNvSpPr txBox="1">
            <a:spLocks/>
          </p:cNvSpPr>
          <p:nvPr/>
        </p:nvSpPr>
        <p:spPr>
          <a:xfrm>
            <a:off x="15746814" y="7474825"/>
            <a:ext cx="7062365" cy="3774421"/>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1200"/>
              </a:spcBef>
            </a:pPr>
            <a:r>
              <a:rPr lang="en-US" sz="2400" b="1" kern="0" dirty="0"/>
              <a:t>Promotion management</a:t>
            </a:r>
          </a:p>
          <a:p>
            <a:pPr marL="342900" indent="-342900">
              <a:spcBef>
                <a:spcPts val="1200"/>
              </a:spcBef>
              <a:buFont typeface="Arial" panose="020B0604020202020204" pitchFamily="34" charset="0"/>
              <a:buChar char="•"/>
            </a:pPr>
            <a:r>
              <a:rPr lang="en-US" sz="2400" kern="0" dirty="0"/>
              <a:t>Simplify, standardize, and automate </a:t>
            </a:r>
            <a:br>
              <a:rPr lang="en-US" sz="2400" kern="0" dirty="0"/>
            </a:br>
            <a:r>
              <a:rPr lang="en-US" sz="2400" kern="0" dirty="0"/>
              <a:t>HR promotions processing</a:t>
            </a:r>
          </a:p>
          <a:p>
            <a:pPr>
              <a:spcBef>
                <a:spcPts val="1200"/>
              </a:spcBef>
            </a:pPr>
            <a:endParaRPr lang="en-US" sz="2400" kern="0" dirty="0"/>
          </a:p>
          <a:p>
            <a:r>
              <a:rPr lang="en-US" sz="2400" b="1" kern="0" dirty="0"/>
              <a:t>Staff augmentation automation</a:t>
            </a:r>
          </a:p>
          <a:p>
            <a:pPr marL="342900" indent="-342900">
              <a:spcBef>
                <a:spcPts val="1200"/>
              </a:spcBef>
              <a:buFont typeface="Arial" panose="020B0604020202020204" pitchFamily="34" charset="0"/>
              <a:buChar char="•"/>
            </a:pPr>
            <a:r>
              <a:rPr lang="en-US" sz="2400" kern="0" dirty="0"/>
              <a:t>Automate identify-select-onboard end-to-end workflow with speed and quality</a:t>
            </a:r>
          </a:p>
        </p:txBody>
      </p:sp>
      <p:cxnSp>
        <p:nvCxnSpPr>
          <p:cNvPr id="9" name="Straight Connector 8">
            <a:extLst>
              <a:ext uri="{FF2B5EF4-FFF2-40B4-BE49-F238E27FC236}">
                <a16:creationId xmlns:a16="http://schemas.microsoft.com/office/drawing/2014/main" id="{9E055736-2FC7-CC02-D1AD-CD707C547F69}"/>
              </a:ext>
            </a:extLst>
          </p:cNvPr>
          <p:cNvCxnSpPr>
            <a:cxnSpLocks/>
          </p:cNvCxnSpPr>
          <p:nvPr/>
        </p:nvCxnSpPr>
        <p:spPr bwMode="auto">
          <a:xfrm>
            <a:off x="15087600" y="6150934"/>
            <a:ext cx="0" cy="64008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Rectangle 2">
            <a:extLst>
              <a:ext uri="{FF2B5EF4-FFF2-40B4-BE49-F238E27FC236}">
                <a16:creationId xmlns:a16="http://schemas.microsoft.com/office/drawing/2014/main" id="{E5561478-C998-A132-B592-3084FB580223}"/>
              </a:ext>
            </a:extLst>
          </p:cNvPr>
          <p:cNvSpPr/>
          <p:nvPr/>
        </p:nvSpPr>
        <p:spPr bwMode="auto">
          <a:xfrm>
            <a:off x="6858000" y="3625699"/>
            <a:ext cx="16459200" cy="2296461"/>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057400" tIns="457200" rIns="228600" bIns="91428" numCol="1" rtlCol="0" anchor="t" anchorCtr="0" compatLnSpc="1">
            <a:prstTxWarp prst="textNoShape">
              <a:avLst/>
            </a:prstTxWarp>
          </a:bodyPr>
          <a:lstStyle/>
          <a:p>
            <a:pPr defTabSz="4876800">
              <a:lnSpc>
                <a:spcPct val="100000"/>
              </a:lnSpc>
              <a:spcAft>
                <a:spcPts val="1800"/>
              </a:spcAft>
            </a:pPr>
            <a:r>
              <a:rPr lang="en-US" sz="2800" kern="0" dirty="0">
                <a:solidFill>
                  <a:srgbClr val="000000"/>
                </a:solidFill>
                <a:latin typeface="IBM Plex Sans Light"/>
              </a:rPr>
              <a:t>Generative AI could create a </a:t>
            </a:r>
            <a:r>
              <a:rPr lang="en-US" sz="2800" b="1" i="1" kern="0" dirty="0">
                <a:solidFill>
                  <a:srgbClr val="0F62FF"/>
                </a:solidFill>
                <a:latin typeface="IBM Plex Sans SmBld" panose="020B0503050203000203" pitchFamily="34" charset="0"/>
              </a:rPr>
              <a:t>15-40% increase in productivity</a:t>
            </a:r>
            <a:r>
              <a:rPr lang="en-US" sz="2800" kern="0" dirty="0">
                <a:solidFill>
                  <a:srgbClr val="0F62FF"/>
                </a:solidFill>
              </a:rPr>
              <a:t>.</a:t>
            </a:r>
          </a:p>
          <a:p>
            <a:pPr defTabSz="4876800">
              <a:lnSpc>
                <a:spcPct val="100000"/>
              </a:lnSpc>
              <a:spcAft>
                <a:spcPts val="1800"/>
              </a:spcAft>
            </a:pPr>
            <a:r>
              <a:rPr lang="en-US" sz="2800" kern="0" dirty="0">
                <a:solidFill>
                  <a:srgbClr val="000000"/>
                </a:solidFill>
                <a:latin typeface="IBM Plex Sans Light"/>
              </a:rPr>
              <a:t>In one example, an IBM Data Scientist was able to accomplish </a:t>
            </a:r>
            <a:br>
              <a:rPr lang="en-US" sz="2800" kern="0" dirty="0">
                <a:solidFill>
                  <a:srgbClr val="000000"/>
                </a:solidFill>
                <a:latin typeface="IBM Plex Sans Light"/>
              </a:rPr>
            </a:br>
            <a:r>
              <a:rPr lang="en-US" sz="2800" kern="0" dirty="0">
                <a:solidFill>
                  <a:srgbClr val="000000"/>
                </a:solidFill>
                <a:latin typeface="IBM Plex Sans Light"/>
              </a:rPr>
              <a:t>what usually took two weeks in </a:t>
            </a:r>
            <a:r>
              <a:rPr lang="en-US" sz="2800" b="1" i="1" kern="0" dirty="0">
                <a:solidFill>
                  <a:srgbClr val="0F62FF"/>
                </a:solidFill>
                <a:latin typeface="IBM Plex Sans SmBld" panose="020B0503050203000203" pitchFamily="34" charset="0"/>
              </a:rPr>
              <a:t>just one day</a:t>
            </a:r>
            <a:r>
              <a:rPr lang="en-US" sz="2800" kern="0" dirty="0">
                <a:solidFill>
                  <a:srgbClr val="0F62FF"/>
                </a:solidFill>
              </a:rPr>
              <a:t>.</a:t>
            </a:r>
          </a:p>
        </p:txBody>
      </p:sp>
      <p:pic>
        <p:nvPicPr>
          <p:cNvPr id="17" name="Picture 16">
            <a:extLst>
              <a:ext uri="{FF2B5EF4-FFF2-40B4-BE49-F238E27FC236}">
                <a16:creationId xmlns:a16="http://schemas.microsoft.com/office/drawing/2014/main" id="{5FE554FC-5D43-CD7B-9D3E-E4F86C503663}"/>
              </a:ext>
            </a:extLst>
          </p:cNvPr>
          <p:cNvPicPr>
            <a:picLocks noChangeAspect="1"/>
          </p:cNvPicPr>
          <p:nvPr/>
        </p:nvPicPr>
        <p:blipFill>
          <a:blip r:embed="rId3"/>
          <a:srcRect/>
          <a:stretch/>
        </p:blipFill>
        <p:spPr>
          <a:xfrm>
            <a:off x="7262506" y="4044879"/>
            <a:ext cx="1219042" cy="1219042"/>
          </a:xfrm>
          <a:prstGeom prst="rect">
            <a:avLst/>
          </a:prstGeom>
        </p:spPr>
      </p:pic>
      <p:grpSp>
        <p:nvGrpSpPr>
          <p:cNvPr id="60" name="Group 59">
            <a:extLst>
              <a:ext uri="{FF2B5EF4-FFF2-40B4-BE49-F238E27FC236}">
                <a16:creationId xmlns:a16="http://schemas.microsoft.com/office/drawing/2014/main" id="{E3F3F0FF-C7D2-CE00-E630-58B81D0606D7}"/>
              </a:ext>
            </a:extLst>
          </p:cNvPr>
          <p:cNvGrpSpPr/>
          <p:nvPr/>
        </p:nvGrpSpPr>
        <p:grpSpPr>
          <a:xfrm>
            <a:off x="7624579" y="2718488"/>
            <a:ext cx="7433901" cy="502920"/>
            <a:chOff x="7624579" y="2718488"/>
            <a:chExt cx="7433901" cy="502920"/>
          </a:xfrm>
        </p:grpSpPr>
        <p:sp>
          <p:nvSpPr>
            <p:cNvPr id="15" name="Title 1">
              <a:extLst>
                <a:ext uri="{FF2B5EF4-FFF2-40B4-BE49-F238E27FC236}">
                  <a16:creationId xmlns:a16="http://schemas.microsoft.com/office/drawing/2014/main" id="{BDAB2226-B955-3D69-B1C5-E7118015C452}"/>
                </a:ext>
              </a:extLst>
            </p:cNvPr>
            <p:cNvSpPr txBox="1">
              <a:spLocks/>
            </p:cNvSpPr>
            <p:nvPr/>
          </p:nvSpPr>
          <p:spPr>
            <a:xfrm>
              <a:off x="8297117" y="2741348"/>
              <a:ext cx="6761363" cy="4572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4876800"/>
              <a:r>
                <a:rPr lang="en-US" sz="2400" kern="0" dirty="0">
                  <a:solidFill>
                    <a:srgbClr val="000000"/>
                  </a:solidFill>
                  <a:latin typeface="IBM Plex Sans Light"/>
                </a:rPr>
                <a:t>Facilitating new generative AI business use cases</a:t>
              </a:r>
            </a:p>
          </p:txBody>
        </p:sp>
        <p:sp>
          <p:nvSpPr>
            <p:cNvPr id="21" name="Oval 20">
              <a:extLst>
                <a:ext uri="{FF2B5EF4-FFF2-40B4-BE49-F238E27FC236}">
                  <a16:creationId xmlns:a16="http://schemas.microsoft.com/office/drawing/2014/main" id="{15E737D5-F94B-578F-DED7-3FA7AE9CA038}"/>
                </a:ext>
              </a:extLst>
            </p:cNvPr>
            <p:cNvSpPr/>
            <p:nvPr/>
          </p:nvSpPr>
          <p:spPr bwMode="auto">
            <a:xfrm>
              <a:off x="7624579" y="2718488"/>
              <a:ext cx="503208" cy="502920"/>
            </a:xfrm>
            <a:prstGeom prst="ellipse">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algn="ctr" defTabSz="914218" fontAlgn="base">
                <a:spcBef>
                  <a:spcPct val="0"/>
                </a:spcBef>
                <a:spcAft>
                  <a:spcPct val="0"/>
                </a:spcAft>
              </a:pPr>
              <a:r>
                <a:rPr lang="en-US" sz="2400">
                  <a:solidFill>
                    <a:srgbClr val="FFFFFF"/>
                  </a:solidFill>
                  <a:latin typeface="IBM Plex Sans Text" panose="020B0503050203000203" pitchFamily="34" charset="0"/>
                  <a:cs typeface="Helvetica"/>
                </a:rPr>
                <a:t>1</a:t>
              </a:r>
              <a:endParaRPr lang="en-US" sz="1800">
                <a:solidFill>
                  <a:srgbClr val="FFFFFF"/>
                </a:solidFill>
                <a:latin typeface="IBM Plex Sans Text" panose="020B0503050203000203" pitchFamily="34" charset="0"/>
                <a:cs typeface="Helvetica"/>
              </a:endParaRPr>
            </a:p>
          </p:txBody>
        </p:sp>
      </p:grpSp>
      <p:grpSp>
        <p:nvGrpSpPr>
          <p:cNvPr id="59" name="Group 58">
            <a:extLst>
              <a:ext uri="{FF2B5EF4-FFF2-40B4-BE49-F238E27FC236}">
                <a16:creationId xmlns:a16="http://schemas.microsoft.com/office/drawing/2014/main" id="{00CADA92-E90E-FE36-CBD5-6E9C6AF411A7}"/>
              </a:ext>
            </a:extLst>
          </p:cNvPr>
          <p:cNvGrpSpPr/>
          <p:nvPr/>
        </p:nvGrpSpPr>
        <p:grpSpPr>
          <a:xfrm>
            <a:off x="15860415" y="2718488"/>
            <a:ext cx="6948781" cy="502920"/>
            <a:chOff x="15860415" y="2718488"/>
            <a:chExt cx="6948781" cy="502920"/>
          </a:xfrm>
        </p:grpSpPr>
        <p:sp>
          <p:nvSpPr>
            <p:cNvPr id="22" name="Oval 21">
              <a:extLst>
                <a:ext uri="{FF2B5EF4-FFF2-40B4-BE49-F238E27FC236}">
                  <a16:creationId xmlns:a16="http://schemas.microsoft.com/office/drawing/2014/main" id="{10F29A03-6F46-380E-7AD4-E7DEBD196051}"/>
                </a:ext>
              </a:extLst>
            </p:cNvPr>
            <p:cNvSpPr/>
            <p:nvPr/>
          </p:nvSpPr>
          <p:spPr bwMode="auto">
            <a:xfrm>
              <a:off x="15860415" y="2718488"/>
              <a:ext cx="503208" cy="502920"/>
            </a:xfrm>
            <a:prstGeom prst="ellipse">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algn="ctr" defTabSz="914218" fontAlgn="base">
                <a:spcBef>
                  <a:spcPct val="0"/>
                </a:spcBef>
                <a:spcAft>
                  <a:spcPct val="0"/>
                </a:spcAft>
              </a:pPr>
              <a:r>
                <a:rPr lang="en-US" sz="2400">
                  <a:solidFill>
                    <a:srgbClr val="FFFFFF"/>
                  </a:solidFill>
                  <a:latin typeface="IBM Plex Sans Text" panose="020B0503050203000203" pitchFamily="34" charset="0"/>
                  <a:cs typeface="Helvetica"/>
                </a:rPr>
                <a:t>2</a:t>
              </a:r>
            </a:p>
          </p:txBody>
        </p:sp>
        <p:sp>
          <p:nvSpPr>
            <p:cNvPr id="23" name="TextBox 22">
              <a:extLst>
                <a:ext uri="{FF2B5EF4-FFF2-40B4-BE49-F238E27FC236}">
                  <a16:creationId xmlns:a16="http://schemas.microsoft.com/office/drawing/2014/main" id="{9CE079D8-6C40-0F08-6999-672DEB086065}"/>
                </a:ext>
              </a:extLst>
            </p:cNvPr>
            <p:cNvSpPr txBox="1"/>
            <p:nvPr/>
          </p:nvSpPr>
          <p:spPr>
            <a:xfrm>
              <a:off x="16532953" y="2785282"/>
              <a:ext cx="6276243"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chorCtr="0">
              <a:spAutoFit/>
            </a:bodyPr>
            <a:lstStyle/>
            <a:p>
              <a:pPr defTabSz="1828800"/>
              <a:r>
                <a:rPr lang="en-US" sz="2400" kern="0" dirty="0">
                  <a:solidFill>
                    <a:srgbClr val="000000"/>
                  </a:solidFill>
                  <a:latin typeface="IBM Plex Sans Light"/>
                  <a:cs typeface="Helvetica"/>
                </a:rPr>
                <a:t>Scaling and accelerating existing use cases</a:t>
              </a:r>
              <a:endParaRPr lang="en-US" sz="2400" dirty="0">
                <a:solidFill>
                  <a:srgbClr val="000000"/>
                </a:solidFill>
                <a:latin typeface="IBM Plex Sans Light"/>
                <a:cs typeface="Helvetica"/>
              </a:endParaRPr>
            </a:p>
          </p:txBody>
        </p:sp>
      </p:grpSp>
      <p:sp>
        <p:nvSpPr>
          <p:cNvPr id="10" name="Title 1">
            <a:extLst>
              <a:ext uri="{FF2B5EF4-FFF2-40B4-BE49-F238E27FC236}">
                <a16:creationId xmlns:a16="http://schemas.microsoft.com/office/drawing/2014/main" id="{F9E38BFF-FFBC-E574-5A99-057FFA351A56}"/>
              </a:ext>
            </a:extLst>
          </p:cNvPr>
          <p:cNvSpPr txBox="1">
            <a:spLocks/>
          </p:cNvSpPr>
          <p:nvPr/>
        </p:nvSpPr>
        <p:spPr>
          <a:xfrm>
            <a:off x="8521818" y="6150935"/>
            <a:ext cx="4288662" cy="9022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4876800">
              <a:lnSpc>
                <a:spcPct val="100000"/>
              </a:lnSpc>
            </a:pPr>
            <a:r>
              <a:rPr lang="en-US" sz="3200" kern="0" dirty="0">
                <a:solidFill>
                  <a:srgbClr val="000000"/>
                </a:solidFill>
                <a:latin typeface="IBM Plex Sans Light"/>
              </a:rPr>
              <a:t>Customer support</a:t>
            </a:r>
          </a:p>
        </p:txBody>
      </p:sp>
      <p:pic>
        <p:nvPicPr>
          <p:cNvPr id="13" name="Picture 12">
            <a:extLst>
              <a:ext uri="{FF2B5EF4-FFF2-40B4-BE49-F238E27FC236}">
                <a16:creationId xmlns:a16="http://schemas.microsoft.com/office/drawing/2014/main" id="{02FD7DE4-7677-847F-6C29-1CD64899A961}"/>
              </a:ext>
            </a:extLst>
          </p:cNvPr>
          <p:cNvPicPr>
            <a:picLocks noChangeAspect="1"/>
          </p:cNvPicPr>
          <p:nvPr/>
        </p:nvPicPr>
        <p:blipFill>
          <a:blip r:embed="rId4"/>
          <a:srcRect/>
          <a:stretch/>
        </p:blipFill>
        <p:spPr>
          <a:xfrm>
            <a:off x="7517215" y="6243105"/>
            <a:ext cx="717936" cy="717936"/>
          </a:xfrm>
          <a:prstGeom prst="rect">
            <a:avLst/>
          </a:prstGeom>
        </p:spPr>
      </p:pic>
      <p:sp>
        <p:nvSpPr>
          <p:cNvPr id="11" name="Title 1">
            <a:extLst>
              <a:ext uri="{FF2B5EF4-FFF2-40B4-BE49-F238E27FC236}">
                <a16:creationId xmlns:a16="http://schemas.microsoft.com/office/drawing/2014/main" id="{B3C885E5-CE93-1946-01C5-6124DDEBA4CC}"/>
              </a:ext>
            </a:extLst>
          </p:cNvPr>
          <p:cNvSpPr txBox="1">
            <a:spLocks/>
          </p:cNvSpPr>
          <p:nvPr/>
        </p:nvSpPr>
        <p:spPr>
          <a:xfrm>
            <a:off x="16774275" y="6150935"/>
            <a:ext cx="4442637" cy="90227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4876800">
              <a:lnSpc>
                <a:spcPct val="100000"/>
              </a:lnSpc>
            </a:pPr>
            <a:r>
              <a:rPr lang="en-US" sz="3200" kern="0" dirty="0">
                <a:solidFill>
                  <a:srgbClr val="000000"/>
                </a:solidFill>
                <a:latin typeface="IBM Plex Sans Light"/>
              </a:rPr>
              <a:t>Talent transformation</a:t>
            </a:r>
          </a:p>
        </p:txBody>
      </p:sp>
      <p:pic>
        <p:nvPicPr>
          <p:cNvPr id="14" name="Picture 13">
            <a:extLst>
              <a:ext uri="{FF2B5EF4-FFF2-40B4-BE49-F238E27FC236}">
                <a16:creationId xmlns:a16="http://schemas.microsoft.com/office/drawing/2014/main" id="{1BB1C288-B685-0633-B575-D60D8F4D7BB3}"/>
              </a:ext>
            </a:extLst>
          </p:cNvPr>
          <p:cNvPicPr>
            <a:picLocks noChangeAspect="1"/>
          </p:cNvPicPr>
          <p:nvPr/>
        </p:nvPicPr>
        <p:blipFill>
          <a:blip r:embed="rId5"/>
          <a:srcRect/>
          <a:stretch/>
        </p:blipFill>
        <p:spPr>
          <a:xfrm>
            <a:off x="15746815" y="6243106"/>
            <a:ext cx="717936" cy="717936"/>
          </a:xfrm>
          <a:prstGeom prst="rect">
            <a:avLst/>
          </a:prstGeom>
        </p:spPr>
      </p:pic>
      <p:sp>
        <p:nvSpPr>
          <p:cNvPr id="12" name="Title 11">
            <a:extLst>
              <a:ext uri="{FF2B5EF4-FFF2-40B4-BE49-F238E27FC236}">
                <a16:creationId xmlns:a16="http://schemas.microsoft.com/office/drawing/2014/main" id="{17903920-7DC9-D071-68C2-5F0C16D664E2}"/>
              </a:ext>
            </a:extLst>
          </p:cNvPr>
          <p:cNvSpPr>
            <a:spLocks noGrp="1"/>
          </p:cNvSpPr>
          <p:nvPr>
            <p:ph type="title"/>
          </p:nvPr>
        </p:nvSpPr>
        <p:spPr>
          <a:xfrm>
            <a:off x="576072" y="385200"/>
            <a:ext cx="23201248" cy="2104514"/>
          </a:xfrm>
        </p:spPr>
        <p:txBody>
          <a:bodyPr/>
          <a:lstStyle/>
          <a:p>
            <a:r>
              <a:rPr lang="en-US" kern="0" dirty="0">
                <a:latin typeface="+mj-lt"/>
                <a:cs typeface="Arial"/>
                <a:sym typeface="Arial"/>
              </a:rPr>
              <a:t>IBM as client zero: </a:t>
            </a:r>
            <a:r>
              <a:rPr lang="en-US" i="1" kern="0" dirty="0">
                <a:solidFill>
                  <a:schemeClr val="accent1"/>
                </a:solidFill>
                <a:latin typeface="+mj-lt"/>
                <a:cs typeface="Arial"/>
                <a:sym typeface="Arial"/>
              </a:rPr>
              <a:t>Transforming</a:t>
            </a:r>
            <a:r>
              <a:rPr lang="en-US" kern="0" dirty="0">
                <a:solidFill>
                  <a:srgbClr val="000000"/>
                </a:solidFill>
                <a:latin typeface="+mj-lt"/>
                <a:cs typeface="Arial"/>
                <a:sym typeface="Arial"/>
              </a:rPr>
              <a:t> internally with the </a:t>
            </a:r>
            <a:r>
              <a:rPr lang="en-US" i="1" kern="0" dirty="0">
                <a:solidFill>
                  <a:schemeClr val="accent1"/>
                </a:solidFill>
                <a:latin typeface="+mj-lt"/>
                <a:cs typeface="Arial"/>
                <a:sym typeface="Arial"/>
              </a:rPr>
              <a:t>power</a:t>
            </a:r>
            <a:r>
              <a:rPr lang="en-US" kern="0" dirty="0">
                <a:solidFill>
                  <a:srgbClr val="000000"/>
                </a:solidFill>
                <a:latin typeface="+mj-lt"/>
                <a:cs typeface="Arial"/>
                <a:sym typeface="Arial"/>
              </a:rPr>
              <a:t> </a:t>
            </a:r>
            <a:br>
              <a:rPr lang="en-US" kern="0" dirty="0">
                <a:solidFill>
                  <a:srgbClr val="000000"/>
                </a:solidFill>
                <a:latin typeface="+mj-lt"/>
                <a:cs typeface="Arial"/>
                <a:sym typeface="Arial"/>
              </a:rPr>
            </a:br>
            <a:r>
              <a:rPr lang="en-US" kern="0" dirty="0">
                <a:solidFill>
                  <a:srgbClr val="000000"/>
                </a:solidFill>
                <a:latin typeface="+mj-lt"/>
                <a:cs typeface="Arial"/>
                <a:sym typeface="Arial"/>
              </a:rPr>
              <a:t>of AI and Automation</a:t>
            </a:r>
            <a:br>
              <a:rPr kumimoji="0" lang="en-US" u="none" strike="noStrike" kern="0" cap="none" spc="0" normalizeH="0" baseline="0" noProof="0" dirty="0">
                <a:ln>
                  <a:noFill/>
                </a:ln>
                <a:solidFill>
                  <a:schemeClr val="accent1"/>
                </a:solidFill>
                <a:effectLst/>
                <a:uLnTx/>
                <a:uFillTx/>
                <a:latin typeface="+mj-lt"/>
                <a:cs typeface="Arial"/>
                <a:sym typeface="Arial"/>
              </a:rPr>
            </a:br>
            <a:endParaRPr lang="en-US" dirty="0">
              <a:latin typeface="+mj-lt"/>
            </a:endParaRPr>
          </a:p>
        </p:txBody>
      </p:sp>
    </p:spTree>
    <p:extLst>
      <p:ext uri="{BB962C8B-B14F-4D97-AF65-F5344CB8AC3E}">
        <p14:creationId xmlns:p14="http://schemas.microsoft.com/office/powerpoint/2010/main" val="1673508460"/>
      </p:ext>
    </p:extLst>
  </p:cSld>
  <p:clrMapOvr>
    <a:masterClrMapping/>
  </p:clrMapOvr>
  <p:transition spd="slow">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D35352F-5B42-5206-CBB7-7AE6A22C225B}"/>
              </a:ext>
            </a:extLst>
          </p:cNvPr>
          <p:cNvCxnSpPr>
            <a:cxnSpLocks/>
          </p:cNvCxnSpPr>
          <p:nvPr/>
        </p:nvCxnSpPr>
        <p:spPr bwMode="auto">
          <a:xfrm>
            <a:off x="6362377" y="2995081"/>
            <a:ext cx="0" cy="9140430"/>
          </a:xfrm>
          <a:prstGeom prst="line">
            <a:avLst/>
          </a:prstGeom>
          <a:ln w="19050">
            <a:solidFill>
              <a:srgbClr val="A4A4A4"/>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CDC4AFBC-F905-61A5-2886-3F94C17F4A39}"/>
              </a:ext>
            </a:extLst>
          </p:cNvPr>
          <p:cNvCxnSpPr>
            <a:cxnSpLocks/>
          </p:cNvCxnSpPr>
          <p:nvPr/>
        </p:nvCxnSpPr>
        <p:spPr bwMode="auto">
          <a:xfrm>
            <a:off x="12217293" y="2738279"/>
            <a:ext cx="0" cy="9140430"/>
          </a:xfrm>
          <a:prstGeom prst="line">
            <a:avLst/>
          </a:prstGeom>
          <a:ln w="19050">
            <a:solidFill>
              <a:srgbClr val="A4A4A4"/>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Rectangle 17">
            <a:extLst>
              <a:ext uri="{FF2B5EF4-FFF2-40B4-BE49-F238E27FC236}">
                <a16:creationId xmlns:a16="http://schemas.microsoft.com/office/drawing/2014/main" id="{AE2839CC-45D1-9382-2511-BB4D1E6A6653}"/>
              </a:ext>
            </a:extLst>
          </p:cNvPr>
          <p:cNvSpPr/>
          <p:nvPr/>
        </p:nvSpPr>
        <p:spPr>
          <a:xfrm>
            <a:off x="6692002" y="5640096"/>
            <a:ext cx="5428812" cy="6524507"/>
          </a:xfrm>
          <a:prstGeom prst="rect">
            <a:avLst/>
          </a:prstGeom>
        </p:spPr>
        <p:txBody>
          <a:bodyPr wrap="square" lIns="91404" tIns="45702" rIns="91404" bIns="45702" anchor="t">
            <a:spAutoFit/>
          </a:bodyPr>
          <a:lstStyle/>
          <a:p>
            <a:pPr defTabSz="1827680">
              <a:defRPr/>
            </a:pPr>
            <a:r>
              <a:rPr lang="en-US" sz="2800" dirty="0">
                <a:solidFill>
                  <a:srgbClr val="000000"/>
                </a:solidFill>
                <a:latin typeface="IBM Plex Sans Light"/>
              </a:rPr>
              <a:t>Using AI to expand staff </a:t>
            </a:r>
            <a:br>
              <a:rPr lang="en-US" sz="2800" dirty="0">
                <a:solidFill>
                  <a:srgbClr val="000000"/>
                </a:solidFill>
                <a:latin typeface="IBM Plex Sans Light"/>
              </a:rPr>
            </a:br>
            <a:r>
              <a:rPr lang="en-US" sz="2800" dirty="0">
                <a:solidFill>
                  <a:srgbClr val="000000"/>
                </a:solidFill>
                <a:latin typeface="IBM Plex Sans Light"/>
              </a:rPr>
              <a:t>and drive employee engagement</a:t>
            </a:r>
          </a:p>
          <a:p>
            <a:pPr defTabSz="1827680">
              <a:defRPr/>
            </a:pPr>
            <a:endParaRPr lang="en-US" sz="2800" dirty="0">
              <a:solidFill>
                <a:srgbClr val="000000"/>
              </a:solidFill>
              <a:latin typeface="IBM Plex Sans Light"/>
            </a:endParaRPr>
          </a:p>
          <a:p>
            <a:pPr defTabSz="1827680">
              <a:defRPr/>
            </a:pPr>
            <a:endParaRPr lang="en-US" sz="2800" dirty="0">
              <a:solidFill>
                <a:srgbClr val="000000"/>
              </a:solidFill>
              <a:latin typeface="IBM Plex Sans Light"/>
            </a:endParaRPr>
          </a:p>
          <a:p>
            <a:pPr defTabSz="1827680">
              <a:defRPr/>
            </a:pPr>
            <a:endParaRPr lang="en-US" sz="2800" dirty="0">
              <a:solidFill>
                <a:srgbClr val="000000"/>
              </a:solidFill>
              <a:latin typeface="IBM Plex Sans Light"/>
            </a:endParaRPr>
          </a:p>
          <a:p>
            <a:pPr defTabSz="1827680">
              <a:defRPr/>
            </a:pPr>
            <a:endParaRPr lang="en-US" sz="2800" dirty="0">
              <a:solidFill>
                <a:srgbClr val="000000"/>
              </a:solidFill>
              <a:latin typeface="IBM Plex Sans Light"/>
            </a:endParaRPr>
          </a:p>
          <a:p>
            <a:pPr defTabSz="1827680">
              <a:defRPr/>
            </a:pPr>
            <a:r>
              <a:rPr lang="en-US" sz="6598" b="1" dirty="0">
                <a:solidFill>
                  <a:srgbClr val="0062FF"/>
                </a:solidFill>
                <a:latin typeface="IBM Plex Sans SmBld" panose="020B0503050203000203" pitchFamily="34" charset="0"/>
              </a:rPr>
              <a:t>30% </a:t>
            </a:r>
            <a:br>
              <a:rPr lang="en-US" sz="2800" dirty="0">
                <a:solidFill>
                  <a:srgbClr val="000000"/>
                </a:solidFill>
                <a:latin typeface="IBM Plex Sans Light"/>
              </a:rPr>
            </a:br>
            <a:r>
              <a:rPr lang="en-US" sz="2800" dirty="0">
                <a:solidFill>
                  <a:srgbClr val="000000"/>
                </a:solidFill>
                <a:latin typeface="IBM Plex Sans Light"/>
              </a:rPr>
              <a:t>Sport Clips is aiming to grow</a:t>
            </a:r>
            <a:br>
              <a:rPr lang="en-US" sz="2800" dirty="0">
                <a:solidFill>
                  <a:srgbClr val="000000"/>
                </a:solidFill>
                <a:latin typeface="IBM Plex Sans Light"/>
              </a:rPr>
            </a:br>
            <a:r>
              <a:rPr lang="en-US" sz="2800" dirty="0">
                <a:solidFill>
                  <a:srgbClr val="000000"/>
                </a:solidFill>
                <a:latin typeface="IBM Plex Sans Light"/>
              </a:rPr>
              <a:t>staff by 30% with the help </a:t>
            </a:r>
            <a:br>
              <a:rPr lang="en-US" sz="2800" dirty="0">
                <a:solidFill>
                  <a:srgbClr val="000000"/>
                </a:solidFill>
                <a:latin typeface="IBM Plex Sans Light"/>
              </a:rPr>
            </a:br>
            <a:r>
              <a:rPr lang="en-US" sz="2800" dirty="0">
                <a:solidFill>
                  <a:srgbClr val="000000"/>
                </a:solidFill>
                <a:latin typeface="IBM Plex Sans Light"/>
              </a:rPr>
              <a:t>of responsible AI and intelligent automation</a:t>
            </a:r>
          </a:p>
          <a:p>
            <a:pPr defTabSz="1827680">
              <a:spcBef>
                <a:spcPts val="1200"/>
              </a:spcBef>
              <a:defRPr/>
            </a:pPr>
            <a:r>
              <a:rPr lang="en-US" sz="2800" dirty="0">
                <a:solidFill>
                  <a:srgbClr val="000000"/>
                </a:solidFill>
                <a:latin typeface="IBM Plex Sans Light"/>
              </a:rPr>
              <a:t> </a:t>
            </a:r>
          </a:p>
          <a:p>
            <a:pPr defTabSz="1827680">
              <a:spcBef>
                <a:spcPts val="1200"/>
              </a:spcBef>
              <a:defRPr/>
            </a:pPr>
            <a:endParaRPr lang="en-US" sz="2400" dirty="0">
              <a:solidFill>
                <a:srgbClr val="000000"/>
              </a:solidFill>
              <a:latin typeface="IBM Plex Sans Light"/>
            </a:endParaRPr>
          </a:p>
        </p:txBody>
      </p:sp>
      <p:sp>
        <p:nvSpPr>
          <p:cNvPr id="19" name="Rectangle 18">
            <a:extLst>
              <a:ext uri="{FF2B5EF4-FFF2-40B4-BE49-F238E27FC236}">
                <a16:creationId xmlns:a16="http://schemas.microsoft.com/office/drawing/2014/main" id="{32EDA139-1823-564F-046B-F0DF91AA3960}"/>
              </a:ext>
            </a:extLst>
          </p:cNvPr>
          <p:cNvSpPr/>
          <p:nvPr/>
        </p:nvSpPr>
        <p:spPr>
          <a:xfrm>
            <a:off x="801214" y="5632483"/>
            <a:ext cx="5329630" cy="4924069"/>
          </a:xfrm>
          <a:prstGeom prst="rect">
            <a:avLst/>
          </a:prstGeom>
        </p:spPr>
        <p:txBody>
          <a:bodyPr wrap="square" lIns="91404" tIns="45702" rIns="91404" bIns="45702" anchor="t">
            <a:spAutoFit/>
          </a:bodyPr>
          <a:lstStyle/>
          <a:p>
            <a:pPr defTabSz="1829014"/>
            <a:r>
              <a:rPr lang="en-US" sz="2800" dirty="0">
                <a:solidFill>
                  <a:srgbClr val="000000"/>
                </a:solidFill>
                <a:latin typeface="IBM Plex Sans Light" panose="020B0403050203000203" pitchFamily="34" charset="0"/>
              </a:rPr>
              <a:t>Using IBM watsonx Orchestrate to improve employee </a:t>
            </a:r>
            <a:br>
              <a:rPr lang="en-US" sz="2800" dirty="0">
                <a:solidFill>
                  <a:srgbClr val="000000"/>
                </a:solidFill>
                <a:latin typeface="IBM Plex Sans Light" panose="020B0403050203000203" pitchFamily="34" charset="0"/>
              </a:rPr>
            </a:br>
            <a:r>
              <a:rPr lang="en-US" sz="2800" dirty="0">
                <a:solidFill>
                  <a:srgbClr val="000000"/>
                </a:solidFill>
                <a:latin typeface="IBM Plex Sans Light" panose="020B0403050203000203" pitchFamily="34" charset="0"/>
              </a:rPr>
              <a:t>and customer happiness</a:t>
            </a:r>
          </a:p>
          <a:p>
            <a:pPr defTabSz="1829014"/>
            <a:endParaRPr lang="en-US" sz="2800" dirty="0">
              <a:solidFill>
                <a:srgbClr val="000000"/>
              </a:solidFill>
              <a:latin typeface="IBM Plex Sans Light" panose="020B0403050203000203" pitchFamily="34" charset="0"/>
            </a:endParaRPr>
          </a:p>
          <a:p>
            <a:pPr defTabSz="1829014"/>
            <a:endParaRPr lang="en-US" sz="2800" dirty="0">
              <a:solidFill>
                <a:srgbClr val="000000"/>
              </a:solidFill>
              <a:latin typeface="IBM Plex Sans Light" panose="020B0403050203000203" pitchFamily="34" charset="0"/>
            </a:endParaRPr>
          </a:p>
          <a:p>
            <a:pPr defTabSz="1829014"/>
            <a:endParaRPr lang="en-US" sz="2800" dirty="0">
              <a:solidFill>
                <a:srgbClr val="000000"/>
              </a:solidFill>
              <a:latin typeface="IBM Plex Sans Light" panose="020B0403050203000203" pitchFamily="34" charset="0"/>
            </a:endParaRPr>
          </a:p>
          <a:p>
            <a:pPr defTabSz="1829014"/>
            <a:r>
              <a:rPr lang="en-US" sz="6598" dirty="0">
                <a:solidFill>
                  <a:srgbClr val="0062FF"/>
                </a:solidFill>
                <a:latin typeface="IBM Plex Sans SmBld" panose="020B0503050203000203" pitchFamily="34" charset="0"/>
              </a:rPr>
              <a:t>25% </a:t>
            </a:r>
          </a:p>
          <a:p>
            <a:pPr defTabSz="1829014"/>
            <a:r>
              <a:rPr lang="en-US" sz="2800" dirty="0">
                <a:solidFill>
                  <a:srgbClr val="000000"/>
                </a:solidFill>
                <a:latin typeface="IBM Plex Sans Light" panose="020B0403050203000203" pitchFamily="34" charset="0"/>
              </a:rPr>
              <a:t>reduction in the time it takes </a:t>
            </a:r>
            <a:br>
              <a:rPr lang="en-US" sz="2800" dirty="0">
                <a:solidFill>
                  <a:srgbClr val="000000"/>
                </a:solidFill>
                <a:latin typeface="IBM Plex Sans Light" panose="020B0403050203000203" pitchFamily="34" charset="0"/>
              </a:rPr>
            </a:br>
            <a:r>
              <a:rPr lang="en-US" sz="2800" dirty="0">
                <a:solidFill>
                  <a:srgbClr val="000000"/>
                </a:solidFill>
                <a:latin typeface="IBM Plex Sans Light" panose="020B0403050203000203" pitchFamily="34" charset="0"/>
              </a:rPr>
              <a:t>to onboard new customers</a:t>
            </a:r>
          </a:p>
          <a:p>
            <a:pPr defTabSz="1829014"/>
            <a:endParaRPr lang="en-US" sz="2400" dirty="0">
              <a:solidFill>
                <a:srgbClr val="000000"/>
              </a:solidFill>
              <a:latin typeface="IBM Plex Sans Light" panose="020B0403050203000203" pitchFamily="34" charset="0"/>
            </a:endParaRPr>
          </a:p>
        </p:txBody>
      </p:sp>
      <p:cxnSp>
        <p:nvCxnSpPr>
          <p:cNvPr id="20" name="Straight Connector 19">
            <a:extLst>
              <a:ext uri="{FF2B5EF4-FFF2-40B4-BE49-F238E27FC236}">
                <a16:creationId xmlns:a16="http://schemas.microsoft.com/office/drawing/2014/main" id="{7D7522BB-94FD-443D-C080-CCCB75AD5E06}"/>
              </a:ext>
            </a:extLst>
          </p:cNvPr>
          <p:cNvCxnSpPr>
            <a:cxnSpLocks/>
          </p:cNvCxnSpPr>
          <p:nvPr/>
        </p:nvCxnSpPr>
        <p:spPr bwMode="auto">
          <a:xfrm>
            <a:off x="18025601" y="2717335"/>
            <a:ext cx="0" cy="9140430"/>
          </a:xfrm>
          <a:prstGeom prst="line">
            <a:avLst/>
          </a:prstGeom>
          <a:ln w="19050">
            <a:solidFill>
              <a:srgbClr val="A4A4A4"/>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 name="TextBox 24">
            <a:extLst>
              <a:ext uri="{FF2B5EF4-FFF2-40B4-BE49-F238E27FC236}">
                <a16:creationId xmlns:a16="http://schemas.microsoft.com/office/drawing/2014/main" id="{856E7282-B534-8730-23D7-7B13BE9A994B}"/>
              </a:ext>
            </a:extLst>
          </p:cNvPr>
          <p:cNvSpPr txBox="1"/>
          <p:nvPr/>
        </p:nvSpPr>
        <p:spPr>
          <a:xfrm>
            <a:off x="1035696" y="12055829"/>
            <a:ext cx="4034922" cy="523220"/>
          </a:xfrm>
          <a:prstGeom prst="rect">
            <a:avLst/>
          </a:prstGeom>
          <a:noFill/>
        </p:spPr>
        <p:txBody>
          <a:bodyPr wrap="square" rtlCol="0">
            <a:spAutoFit/>
          </a:bodyPr>
          <a:lstStyle/>
          <a:p>
            <a:pPr algn="ctr" defTabSz="1828434"/>
            <a:r>
              <a:rPr lang="en-US" sz="2800" dirty="0">
                <a:solidFill>
                  <a:srgbClr val="000000"/>
                </a:solidFill>
                <a:latin typeface="IBM Plex Sans Light" panose="020B0403050203000203" pitchFamily="34" charset="0"/>
                <a:hlinkClick r:id="rId3"/>
              </a:rPr>
              <a:t>Read the case study</a:t>
            </a:r>
            <a:endParaRPr lang="en-US" sz="2800" dirty="0">
              <a:solidFill>
                <a:srgbClr val="000000"/>
              </a:solidFill>
              <a:latin typeface="IBM Plex Sans Light" panose="020B0403050203000203" pitchFamily="34" charset="0"/>
            </a:endParaRPr>
          </a:p>
        </p:txBody>
      </p:sp>
      <p:sp>
        <p:nvSpPr>
          <p:cNvPr id="28" name="TextBox 27">
            <a:extLst>
              <a:ext uri="{FF2B5EF4-FFF2-40B4-BE49-F238E27FC236}">
                <a16:creationId xmlns:a16="http://schemas.microsoft.com/office/drawing/2014/main" id="{B77B8523-A9E8-E279-DFDE-470290F45C97}"/>
              </a:ext>
            </a:extLst>
          </p:cNvPr>
          <p:cNvSpPr txBox="1"/>
          <p:nvPr/>
        </p:nvSpPr>
        <p:spPr>
          <a:xfrm>
            <a:off x="7156608" y="12059207"/>
            <a:ext cx="4034922" cy="523220"/>
          </a:xfrm>
          <a:prstGeom prst="rect">
            <a:avLst/>
          </a:prstGeom>
          <a:noFill/>
        </p:spPr>
        <p:txBody>
          <a:bodyPr wrap="square" rtlCol="0">
            <a:spAutoFit/>
          </a:bodyPr>
          <a:lstStyle/>
          <a:p>
            <a:pPr algn="ctr" defTabSz="1828434"/>
            <a:r>
              <a:rPr lang="en-US" sz="2800" dirty="0">
                <a:solidFill>
                  <a:srgbClr val="000000"/>
                </a:solidFill>
                <a:latin typeface="IBM Plex Sans Light" panose="020B0403050203000203" pitchFamily="34" charset="0"/>
                <a:hlinkClick r:id="rId4"/>
              </a:rPr>
              <a:t>Read the case study</a:t>
            </a:r>
            <a:endParaRPr lang="en-US" sz="2800" dirty="0">
              <a:solidFill>
                <a:srgbClr val="000000"/>
              </a:solidFill>
              <a:latin typeface="IBM Plex Sans Light" panose="020B0403050203000203" pitchFamily="34" charset="0"/>
            </a:endParaRPr>
          </a:p>
        </p:txBody>
      </p:sp>
      <p:sp>
        <p:nvSpPr>
          <p:cNvPr id="31" name="TextBox 30">
            <a:extLst>
              <a:ext uri="{FF2B5EF4-FFF2-40B4-BE49-F238E27FC236}">
                <a16:creationId xmlns:a16="http://schemas.microsoft.com/office/drawing/2014/main" id="{3E549F13-F8AC-9627-7253-A11BB65D73ED}"/>
              </a:ext>
            </a:extLst>
          </p:cNvPr>
          <p:cNvSpPr txBox="1"/>
          <p:nvPr/>
        </p:nvSpPr>
        <p:spPr>
          <a:xfrm>
            <a:off x="12887908" y="12059207"/>
            <a:ext cx="4034922" cy="523220"/>
          </a:xfrm>
          <a:prstGeom prst="rect">
            <a:avLst/>
          </a:prstGeom>
          <a:noFill/>
        </p:spPr>
        <p:txBody>
          <a:bodyPr wrap="square" rtlCol="0">
            <a:spAutoFit/>
          </a:bodyPr>
          <a:lstStyle/>
          <a:p>
            <a:pPr algn="ctr" defTabSz="1828434"/>
            <a:r>
              <a:rPr lang="en-US" sz="2800" dirty="0">
                <a:solidFill>
                  <a:srgbClr val="000000"/>
                </a:solidFill>
                <a:latin typeface="IBM Plex Sans Light" panose="020B0403050203000203" pitchFamily="34" charset="0"/>
                <a:hlinkClick r:id="rId5"/>
              </a:rPr>
              <a:t>Read the case study</a:t>
            </a:r>
            <a:endParaRPr lang="en-US" sz="2800" dirty="0">
              <a:solidFill>
                <a:srgbClr val="000000"/>
              </a:solidFill>
              <a:latin typeface="IBM Plex Sans Light" panose="020B0403050203000203" pitchFamily="34" charset="0"/>
            </a:endParaRPr>
          </a:p>
        </p:txBody>
      </p:sp>
      <p:sp>
        <p:nvSpPr>
          <p:cNvPr id="37" name="TextBox 36">
            <a:extLst>
              <a:ext uri="{FF2B5EF4-FFF2-40B4-BE49-F238E27FC236}">
                <a16:creationId xmlns:a16="http://schemas.microsoft.com/office/drawing/2014/main" id="{DC338631-61D6-E5E1-2941-09CEE1837D3D}"/>
              </a:ext>
            </a:extLst>
          </p:cNvPr>
          <p:cNvSpPr txBox="1"/>
          <p:nvPr/>
        </p:nvSpPr>
        <p:spPr>
          <a:xfrm>
            <a:off x="19071448" y="11995027"/>
            <a:ext cx="4034922" cy="523220"/>
          </a:xfrm>
          <a:prstGeom prst="rect">
            <a:avLst/>
          </a:prstGeom>
          <a:noFill/>
        </p:spPr>
        <p:txBody>
          <a:bodyPr wrap="square" rtlCol="0">
            <a:spAutoFit/>
          </a:bodyPr>
          <a:lstStyle/>
          <a:p>
            <a:pPr algn="ctr" defTabSz="1828434"/>
            <a:r>
              <a:rPr lang="en-US" sz="2800" dirty="0">
                <a:solidFill>
                  <a:srgbClr val="000000"/>
                </a:solidFill>
                <a:latin typeface="IBM Plex Sans Light" panose="020B0403050203000203" pitchFamily="34" charset="0"/>
                <a:hlinkClick r:id="rId6"/>
              </a:rPr>
              <a:t>Read the case study</a:t>
            </a:r>
            <a:endParaRPr lang="en-US" sz="2800" dirty="0">
              <a:solidFill>
                <a:srgbClr val="000000"/>
              </a:solidFill>
              <a:latin typeface="IBM Plex Sans Light" panose="020B0403050203000203" pitchFamily="34" charset="0"/>
            </a:endParaRPr>
          </a:p>
        </p:txBody>
      </p:sp>
      <p:pic>
        <p:nvPicPr>
          <p:cNvPr id="38" name="Graphic 37">
            <a:extLst>
              <a:ext uri="{FF2B5EF4-FFF2-40B4-BE49-F238E27FC236}">
                <a16:creationId xmlns:a16="http://schemas.microsoft.com/office/drawing/2014/main" id="{A50E270B-8129-93D7-6E63-DDA3E78D6123}"/>
              </a:ext>
            </a:extLst>
          </p:cNvPr>
          <p:cNvPicPr>
            <a:picLocks noChangeAspect="1"/>
          </p:cNvPicPr>
          <p:nvPr/>
        </p:nvPicPr>
        <p:blipFill rotWithShape="1">
          <a:blip r:embed="rId7" cstate="hqprint">
            <a:extLst>
              <a:ext uri="{28A0092B-C50C-407E-A947-70E740481C1C}">
                <a14:useLocalDpi xmlns:a14="http://schemas.microsoft.com/office/drawing/2010/main"/>
              </a:ext>
              <a:ext uri="{96DAC541-7B7A-43D3-8B79-37D633B846F1}">
                <asvg:svgBlip xmlns:asvg="http://schemas.microsoft.com/office/drawing/2016/SVG/main" r:embed="rId8"/>
              </a:ext>
            </a:extLst>
          </a:blip>
          <a:srcRect b="14746"/>
          <a:stretch/>
        </p:blipFill>
        <p:spPr>
          <a:xfrm>
            <a:off x="1240255" y="2717334"/>
            <a:ext cx="4431176" cy="2542324"/>
          </a:xfrm>
          <a:prstGeom prst="rect">
            <a:avLst/>
          </a:prstGeom>
        </p:spPr>
      </p:pic>
      <p:pic>
        <p:nvPicPr>
          <p:cNvPr id="39" name="Graphic 38">
            <a:extLst>
              <a:ext uri="{FF2B5EF4-FFF2-40B4-BE49-F238E27FC236}">
                <a16:creationId xmlns:a16="http://schemas.microsoft.com/office/drawing/2014/main" id="{BC24DB42-2AFB-72C0-1549-D603D1085EF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30456" y="3265117"/>
            <a:ext cx="4941162" cy="1163918"/>
          </a:xfrm>
          <a:prstGeom prst="rect">
            <a:avLst/>
          </a:prstGeom>
        </p:spPr>
      </p:pic>
      <p:sp>
        <p:nvSpPr>
          <p:cNvPr id="40" name="Rectangle 39">
            <a:extLst>
              <a:ext uri="{FF2B5EF4-FFF2-40B4-BE49-F238E27FC236}">
                <a16:creationId xmlns:a16="http://schemas.microsoft.com/office/drawing/2014/main" id="{D02D6C99-198E-F014-7321-38C674693942}"/>
              </a:ext>
            </a:extLst>
          </p:cNvPr>
          <p:cNvSpPr/>
          <p:nvPr/>
        </p:nvSpPr>
        <p:spPr>
          <a:xfrm>
            <a:off x="12734482" y="5632483"/>
            <a:ext cx="4859122" cy="5939731"/>
          </a:xfrm>
          <a:prstGeom prst="rect">
            <a:avLst/>
          </a:prstGeom>
        </p:spPr>
        <p:txBody>
          <a:bodyPr wrap="square" lIns="91404" tIns="45702" rIns="91404" bIns="45702" anchor="t">
            <a:spAutoFit/>
          </a:bodyPr>
          <a:lstStyle/>
          <a:p>
            <a:pPr defTabSz="1827680">
              <a:defRPr/>
            </a:pPr>
            <a:r>
              <a:rPr lang="en-US" sz="2800" dirty="0">
                <a:solidFill>
                  <a:srgbClr val="000000"/>
                </a:solidFill>
                <a:latin typeface="IBM Plex Sans Light"/>
              </a:rPr>
              <a:t>Supporting job candidate satisfaction with </a:t>
            </a:r>
            <a:br>
              <a:rPr lang="en-US" sz="2800" dirty="0">
                <a:solidFill>
                  <a:srgbClr val="000000"/>
                </a:solidFill>
                <a:latin typeface="IBM Plex Sans Light"/>
              </a:rPr>
            </a:br>
            <a:r>
              <a:rPr lang="en-US" sz="2800" dirty="0">
                <a:solidFill>
                  <a:srgbClr val="000000"/>
                </a:solidFill>
                <a:latin typeface="IBM Plex Sans Light"/>
              </a:rPr>
              <a:t>intelligent automation </a:t>
            </a:r>
          </a:p>
          <a:p>
            <a:pPr defTabSz="1827680">
              <a:defRPr/>
            </a:pPr>
            <a:endParaRPr lang="en-US" sz="2800" dirty="0">
              <a:solidFill>
                <a:srgbClr val="000000"/>
              </a:solidFill>
              <a:latin typeface="IBM Plex Sans Light"/>
            </a:endParaRPr>
          </a:p>
          <a:p>
            <a:pPr defTabSz="1827680">
              <a:defRPr/>
            </a:pPr>
            <a:endParaRPr lang="en-US" sz="2800" dirty="0">
              <a:solidFill>
                <a:srgbClr val="000000"/>
              </a:solidFill>
              <a:latin typeface="IBM Plex Sans Light"/>
            </a:endParaRPr>
          </a:p>
          <a:p>
            <a:pPr defTabSz="1827680">
              <a:defRPr/>
            </a:pPr>
            <a:endParaRPr lang="en-US" sz="2800" dirty="0">
              <a:solidFill>
                <a:srgbClr val="000000"/>
              </a:solidFill>
              <a:latin typeface="IBM Plex Sans Light"/>
            </a:endParaRPr>
          </a:p>
          <a:p>
            <a:pPr defTabSz="1827680">
              <a:defRPr/>
            </a:pPr>
            <a:r>
              <a:rPr lang="en-US" sz="6598" b="1" dirty="0">
                <a:solidFill>
                  <a:srgbClr val="0062FF"/>
                </a:solidFill>
                <a:latin typeface="IBM Plex Sans SmBld" panose="020B0503050203000203" pitchFamily="34" charset="0"/>
              </a:rPr>
              <a:t>10-20% </a:t>
            </a:r>
            <a:br>
              <a:rPr lang="en-US" sz="2800" dirty="0">
                <a:solidFill>
                  <a:srgbClr val="000000"/>
                </a:solidFill>
                <a:latin typeface="IBM Plex Sans Light"/>
              </a:rPr>
            </a:br>
            <a:r>
              <a:rPr lang="en-US" sz="2800" dirty="0">
                <a:solidFill>
                  <a:srgbClr val="000000"/>
                </a:solidFill>
                <a:latin typeface="IBM Plex Sans Light"/>
              </a:rPr>
              <a:t>FloCareer aims to grow </a:t>
            </a:r>
            <a:br>
              <a:rPr lang="en-US" sz="2800" dirty="0">
                <a:solidFill>
                  <a:srgbClr val="000000"/>
                </a:solidFill>
                <a:latin typeface="IBM Plex Sans Light"/>
              </a:rPr>
            </a:br>
            <a:r>
              <a:rPr lang="en-US" sz="2800" dirty="0">
                <a:solidFill>
                  <a:srgbClr val="000000"/>
                </a:solidFill>
                <a:latin typeface="IBM Plex Sans Light"/>
              </a:rPr>
              <a:t>its staff by 10–20% with </a:t>
            </a:r>
            <a:br>
              <a:rPr lang="en-US" sz="2800" dirty="0">
                <a:solidFill>
                  <a:srgbClr val="000000"/>
                </a:solidFill>
                <a:latin typeface="IBM Plex Sans Light"/>
              </a:rPr>
            </a:br>
            <a:r>
              <a:rPr lang="en-US" sz="2800" dirty="0">
                <a:solidFill>
                  <a:srgbClr val="000000"/>
                </a:solidFill>
                <a:latin typeface="IBM Plex Sans Light"/>
              </a:rPr>
              <a:t>the help of responsible AI and intelligent automation </a:t>
            </a:r>
          </a:p>
          <a:p>
            <a:pPr defTabSz="1827680">
              <a:spcBef>
                <a:spcPts val="1200"/>
              </a:spcBef>
              <a:defRPr/>
            </a:pPr>
            <a:endParaRPr lang="en-US" sz="2400" dirty="0">
              <a:solidFill>
                <a:srgbClr val="000000"/>
              </a:solidFill>
              <a:latin typeface="IBM Plex Sans Light"/>
            </a:endParaRPr>
          </a:p>
        </p:txBody>
      </p:sp>
      <p:pic>
        <p:nvPicPr>
          <p:cNvPr id="41" name="Graphic 40">
            <a:extLst>
              <a:ext uri="{FF2B5EF4-FFF2-40B4-BE49-F238E27FC236}">
                <a16:creationId xmlns:a16="http://schemas.microsoft.com/office/drawing/2014/main" id="{A17272C1-199D-0D86-6E2A-D9FC0AA21B1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473980" y="3286436"/>
            <a:ext cx="5294938" cy="1121280"/>
          </a:xfrm>
          <a:prstGeom prst="rect">
            <a:avLst/>
          </a:prstGeom>
        </p:spPr>
      </p:pic>
      <p:pic>
        <p:nvPicPr>
          <p:cNvPr id="42" name="Picture 41" descr="A blue and white striped logo&#10;&#10;Description automatically generated">
            <a:extLst>
              <a:ext uri="{FF2B5EF4-FFF2-40B4-BE49-F238E27FC236}">
                <a16:creationId xmlns:a16="http://schemas.microsoft.com/office/drawing/2014/main" id="{8F5DB633-5D93-732C-EB5A-70663565886F}"/>
              </a:ext>
            </a:extLst>
          </p:cNvPr>
          <p:cNvPicPr>
            <a:picLocks noChangeAspect="1"/>
          </p:cNvPicPr>
          <p:nvPr/>
        </p:nvPicPr>
        <p:blipFill>
          <a:blip r:embed="rId13"/>
          <a:stretch>
            <a:fillRect/>
          </a:stretch>
        </p:blipFill>
        <p:spPr>
          <a:xfrm>
            <a:off x="19051374" y="2717332"/>
            <a:ext cx="4034914" cy="2264036"/>
          </a:xfrm>
          <a:prstGeom prst="rect">
            <a:avLst/>
          </a:prstGeom>
        </p:spPr>
      </p:pic>
      <p:sp>
        <p:nvSpPr>
          <p:cNvPr id="43" name="Rectangle 42">
            <a:extLst>
              <a:ext uri="{FF2B5EF4-FFF2-40B4-BE49-F238E27FC236}">
                <a16:creationId xmlns:a16="http://schemas.microsoft.com/office/drawing/2014/main" id="{5598493A-2F1F-1800-B5A5-942949A53C9F}"/>
              </a:ext>
            </a:extLst>
          </p:cNvPr>
          <p:cNvSpPr/>
          <p:nvPr/>
        </p:nvSpPr>
        <p:spPr>
          <a:xfrm>
            <a:off x="18639270" y="5621013"/>
            <a:ext cx="4859122" cy="5508844"/>
          </a:xfrm>
          <a:prstGeom prst="rect">
            <a:avLst/>
          </a:prstGeom>
        </p:spPr>
        <p:txBody>
          <a:bodyPr wrap="square" lIns="91404" tIns="45702" rIns="91404" bIns="45702" anchor="t">
            <a:spAutoFit/>
          </a:bodyPr>
          <a:lstStyle/>
          <a:p>
            <a:pPr defTabSz="1827680">
              <a:defRPr/>
            </a:pPr>
            <a:r>
              <a:rPr lang="en-US" sz="2800" dirty="0">
                <a:solidFill>
                  <a:srgbClr val="000000"/>
                </a:solidFill>
                <a:latin typeface="IBM Plex Sans Light"/>
              </a:rPr>
              <a:t>IBM® HR empowers human staff to devote more time </a:t>
            </a:r>
            <a:br>
              <a:rPr lang="en-US" sz="2800" dirty="0">
                <a:solidFill>
                  <a:srgbClr val="000000"/>
                </a:solidFill>
                <a:latin typeface="IBM Plex Sans Light"/>
              </a:rPr>
            </a:br>
            <a:r>
              <a:rPr lang="en-US" sz="2800" dirty="0">
                <a:solidFill>
                  <a:srgbClr val="000000"/>
                </a:solidFill>
                <a:latin typeface="IBM Plex Sans Light"/>
              </a:rPr>
              <a:t>to high-value tasks </a:t>
            </a:r>
          </a:p>
          <a:p>
            <a:pPr defTabSz="1827680">
              <a:defRPr/>
            </a:pPr>
            <a:endParaRPr lang="en-US" sz="2800" dirty="0">
              <a:solidFill>
                <a:srgbClr val="000000"/>
              </a:solidFill>
              <a:latin typeface="IBM Plex Sans Light"/>
            </a:endParaRPr>
          </a:p>
          <a:p>
            <a:pPr defTabSz="1827680">
              <a:defRPr/>
            </a:pPr>
            <a:endParaRPr lang="en-US" sz="2800" dirty="0">
              <a:solidFill>
                <a:srgbClr val="000000"/>
              </a:solidFill>
              <a:latin typeface="IBM Plex Sans Light"/>
            </a:endParaRPr>
          </a:p>
          <a:p>
            <a:pPr defTabSz="1827680">
              <a:defRPr/>
            </a:pPr>
            <a:endParaRPr lang="en-US" sz="2800" dirty="0">
              <a:solidFill>
                <a:srgbClr val="000000"/>
              </a:solidFill>
              <a:latin typeface="IBM Plex Sans Light"/>
            </a:endParaRPr>
          </a:p>
          <a:p>
            <a:pPr defTabSz="1827680">
              <a:defRPr/>
            </a:pPr>
            <a:r>
              <a:rPr lang="en-US" sz="6598" b="1" dirty="0">
                <a:solidFill>
                  <a:srgbClr val="0062FF"/>
                </a:solidFill>
                <a:latin typeface="IBM Plex Sans SmBld" panose="020B0503050203000203" pitchFamily="34" charset="0"/>
              </a:rPr>
              <a:t>12,000 </a:t>
            </a:r>
            <a:r>
              <a:rPr lang="en-US" sz="6598" b="1" dirty="0" err="1">
                <a:solidFill>
                  <a:srgbClr val="0062FF"/>
                </a:solidFill>
                <a:latin typeface="IBM Plex Sans SmBld" panose="020B0503050203000203" pitchFamily="34" charset="0"/>
              </a:rPr>
              <a:t>hrs</a:t>
            </a:r>
            <a:r>
              <a:rPr lang="en-US" sz="6598" b="1" dirty="0">
                <a:solidFill>
                  <a:srgbClr val="0062FF"/>
                </a:solidFill>
                <a:latin typeface="IBM Plex Sans SmBld" panose="020B0503050203000203" pitchFamily="34" charset="0"/>
              </a:rPr>
              <a:t> </a:t>
            </a:r>
            <a:br>
              <a:rPr lang="en-US" sz="2800" dirty="0">
                <a:solidFill>
                  <a:srgbClr val="000000"/>
                </a:solidFill>
                <a:latin typeface="IBM Plex Sans Light"/>
              </a:rPr>
            </a:br>
            <a:r>
              <a:rPr lang="en-US" sz="2800" dirty="0">
                <a:solidFill>
                  <a:srgbClr val="000000"/>
                </a:solidFill>
                <a:latin typeface="IBM Plex Sans Light" panose="020B0403050203000203" pitchFamily="34" charset="0"/>
              </a:rPr>
              <a:t>In a pilot for IBM Consulting in North America, IBM saved 12,000 hours in one quarter</a:t>
            </a:r>
          </a:p>
          <a:p>
            <a:pPr defTabSz="1827680">
              <a:spcBef>
                <a:spcPts val="1200"/>
              </a:spcBef>
              <a:defRPr/>
            </a:pPr>
            <a:endParaRPr lang="en-US" sz="2400" dirty="0">
              <a:solidFill>
                <a:srgbClr val="000000"/>
              </a:solidFill>
              <a:latin typeface="IBM Plex Sans Light"/>
            </a:endParaRPr>
          </a:p>
        </p:txBody>
      </p:sp>
      <p:sp>
        <p:nvSpPr>
          <p:cNvPr id="3" name="Title 2">
            <a:extLst>
              <a:ext uri="{FF2B5EF4-FFF2-40B4-BE49-F238E27FC236}">
                <a16:creationId xmlns:a16="http://schemas.microsoft.com/office/drawing/2014/main" id="{C9304818-7E74-1B28-F0F3-FEE4ADD4F544}"/>
              </a:ext>
            </a:extLst>
          </p:cNvPr>
          <p:cNvSpPr>
            <a:spLocks noGrp="1"/>
          </p:cNvSpPr>
          <p:nvPr>
            <p:ph type="title"/>
          </p:nvPr>
        </p:nvSpPr>
        <p:spPr>
          <a:xfrm>
            <a:off x="576072" y="385200"/>
            <a:ext cx="21986666" cy="1527048"/>
          </a:xfrm>
        </p:spPr>
        <p:txBody>
          <a:bodyPr/>
          <a:lstStyle/>
          <a:p>
            <a:r>
              <a:rPr lang="en-US" kern="0" dirty="0">
                <a:solidFill>
                  <a:srgbClr val="000000"/>
                </a:solidFill>
                <a:latin typeface="IBM Plex Sans" panose="020B0503050203000203" pitchFamily="34" charset="0"/>
                <a:cs typeface="Arial"/>
                <a:sym typeface="Arial"/>
              </a:rPr>
              <a:t>Employee productivity augmented by </a:t>
            </a:r>
            <a:r>
              <a:rPr lang="en-US" kern="0" dirty="0">
                <a:solidFill>
                  <a:srgbClr val="000000"/>
                </a:solidFill>
                <a:cs typeface="Arial"/>
                <a:sym typeface="Arial"/>
              </a:rPr>
              <a:t>watsonx Orchestrate</a:t>
            </a:r>
            <a:br>
              <a:rPr kumimoji="0" lang="en-US" u="none" strike="noStrike" kern="0" cap="none" spc="0" normalizeH="0" baseline="0" noProof="0" dirty="0">
                <a:ln>
                  <a:noFill/>
                </a:ln>
                <a:solidFill>
                  <a:schemeClr val="accent1"/>
                </a:solidFill>
                <a:effectLst/>
                <a:uLnTx/>
                <a:uFillTx/>
                <a:latin typeface="IBM Plex Sans Light" panose="020B0403050203000203" pitchFamily="34" charset="0"/>
                <a:cs typeface="Arial"/>
                <a:sym typeface="Arial"/>
              </a:rPr>
            </a:br>
            <a:endParaRPr lang="en-US" dirty="0"/>
          </a:p>
        </p:txBody>
      </p:sp>
    </p:spTree>
    <p:extLst>
      <p:ext uri="{BB962C8B-B14F-4D97-AF65-F5344CB8AC3E}">
        <p14:creationId xmlns:p14="http://schemas.microsoft.com/office/powerpoint/2010/main" val="2584597209"/>
      </p:ext>
    </p:extLst>
  </p:cSld>
  <p:clrMapOvr>
    <a:masterClrMapping/>
  </p:clrMapOvr>
  <p:transition spd="slow">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E5F7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FC785-4B73-1374-CE3A-190BCF867813}"/>
              </a:ext>
            </a:extLst>
          </p:cNvPr>
          <p:cNvSpPr>
            <a:spLocks noGrp="1"/>
          </p:cNvSpPr>
          <p:nvPr>
            <p:ph type="title"/>
          </p:nvPr>
        </p:nvSpPr>
        <p:spPr>
          <a:xfrm>
            <a:off x="576072" y="384048"/>
            <a:ext cx="10753419" cy="4573587"/>
          </a:xfrm>
          <a:noFill/>
        </p:spPr>
        <p:txBody>
          <a:bodyPr/>
          <a:lstStyle/>
          <a:p>
            <a:r>
              <a:rPr lang="en-US" dirty="0">
                <a:solidFill>
                  <a:schemeClr val="accent1"/>
                </a:solidFill>
              </a:rPr>
              <a:t>Getting started</a:t>
            </a:r>
            <a:br>
              <a:rPr lang="en-US" dirty="0">
                <a:solidFill>
                  <a:schemeClr val="accent1"/>
                </a:solidFill>
              </a:rPr>
            </a:br>
            <a:r>
              <a:rPr lang="en-US" dirty="0">
                <a:solidFill>
                  <a:schemeClr val="accent1"/>
                </a:solidFill>
              </a:rPr>
              <a:t>with </a:t>
            </a:r>
            <a:r>
              <a:rPr lang="en-US" dirty="0" err="1">
                <a:solidFill>
                  <a:schemeClr val="accent1"/>
                </a:solidFill>
              </a:rPr>
              <a:t>watsonx</a:t>
            </a:r>
            <a:r>
              <a:rPr lang="en-US" dirty="0">
                <a:solidFill>
                  <a:schemeClr val="accent1"/>
                </a:solidFill>
              </a:rPr>
              <a:t> Orchestrate</a:t>
            </a:r>
          </a:p>
        </p:txBody>
      </p:sp>
    </p:spTree>
    <p:extLst>
      <p:ext uri="{BB962C8B-B14F-4D97-AF65-F5344CB8AC3E}">
        <p14:creationId xmlns:p14="http://schemas.microsoft.com/office/powerpoint/2010/main" val="218868608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descr="Vertical quarter slide background in blue 10 ">
            <a:extLst>
              <a:ext uri="{FF2B5EF4-FFF2-40B4-BE49-F238E27FC236}">
                <a16:creationId xmlns:a16="http://schemas.microsoft.com/office/drawing/2014/main" id="{AB57352D-3678-A7CA-0209-59A013F370C1}"/>
              </a:ext>
            </a:extLst>
          </p:cNvPr>
          <p:cNvSpPr/>
          <p:nvPr/>
        </p:nvSpPr>
        <p:spPr bwMode="auto">
          <a:xfrm>
            <a:off x="0" y="0"/>
            <a:ext cx="6096000" cy="137160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AEC4870F-2BCD-D032-E9C3-B54F5E7578F6}"/>
              </a:ext>
            </a:extLst>
          </p:cNvPr>
          <p:cNvSpPr>
            <a:spLocks noGrp="1"/>
          </p:cNvSpPr>
          <p:nvPr>
            <p:ph type="title"/>
          </p:nvPr>
        </p:nvSpPr>
        <p:spPr/>
        <p:txBody>
          <a:bodyPr/>
          <a:lstStyle/>
          <a:p>
            <a:pPr>
              <a:lnSpc>
                <a:spcPct val="100000"/>
              </a:lnSpc>
            </a:pPr>
            <a:r>
              <a:rPr lang="en-GB" sz="5400" dirty="0"/>
              <a:t>Three ways </a:t>
            </a:r>
            <a:br>
              <a:rPr lang="en-GB" sz="5400" dirty="0"/>
            </a:br>
            <a:r>
              <a:rPr lang="en-GB" sz="5400" dirty="0"/>
              <a:t>to get started today—IBM’s investment </a:t>
            </a:r>
            <a:br>
              <a:rPr lang="en-GB" sz="5400" dirty="0"/>
            </a:br>
            <a:r>
              <a:rPr lang="en-GB" sz="5400" dirty="0"/>
              <a:t>in </a:t>
            </a:r>
            <a:r>
              <a:rPr lang="en-GB" sz="5400" i="1" dirty="0">
                <a:solidFill>
                  <a:schemeClr val="accent1"/>
                </a:solidFill>
                <a:latin typeface="IBM Plex Sans Light" panose="020B0403050203000203" pitchFamily="34" charset="0"/>
              </a:rPr>
              <a:t>partnering with </a:t>
            </a:r>
            <a:r>
              <a:rPr lang="en-GB" sz="5400" i="1" dirty="0">
                <a:solidFill>
                  <a:schemeClr val="accent1"/>
                </a:solidFill>
              </a:rPr>
              <a:t>clients</a:t>
            </a:r>
            <a:endParaRPr lang="en-US" sz="5400" dirty="0">
              <a:solidFill>
                <a:srgbClr val="000000"/>
              </a:solidFill>
              <a:effectLst/>
            </a:endParaRPr>
          </a:p>
        </p:txBody>
      </p:sp>
      <p:sp>
        <p:nvSpPr>
          <p:cNvPr id="26" name="Text Placeholder 9">
            <a:extLst>
              <a:ext uri="{FF2B5EF4-FFF2-40B4-BE49-F238E27FC236}">
                <a16:creationId xmlns:a16="http://schemas.microsoft.com/office/drawing/2014/main" id="{F2779CE1-7469-AFFD-9B53-7476C722D7CF}"/>
              </a:ext>
            </a:extLst>
          </p:cNvPr>
          <p:cNvSpPr txBox="1">
            <a:spLocks/>
          </p:cNvSpPr>
          <p:nvPr/>
        </p:nvSpPr>
        <p:spPr>
          <a:xfrm>
            <a:off x="6667500" y="3429000"/>
            <a:ext cx="4951413" cy="85725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kern="0" dirty="0">
                <a:solidFill>
                  <a:srgbClr val="000000"/>
                </a:solidFill>
                <a:latin typeface="IBM Plex Sans" panose="020B0503050203000203" pitchFamily="34" charset="0"/>
              </a:rPr>
              <a:t>Interactive tour</a:t>
            </a:r>
          </a:p>
          <a:p>
            <a:endParaRPr lang="en-US" kern="0" dirty="0">
              <a:solidFill>
                <a:srgbClr val="000000"/>
              </a:solidFill>
            </a:endParaRPr>
          </a:p>
          <a:p>
            <a:r>
              <a:rPr lang="en-US" kern="0" dirty="0">
                <a:solidFill>
                  <a:srgbClr val="000000"/>
                </a:solidFill>
              </a:rPr>
              <a:t>Experience IBM AI Assistants with a tour </a:t>
            </a:r>
            <a:br>
              <a:rPr lang="en-US" kern="0" dirty="0">
                <a:solidFill>
                  <a:srgbClr val="000000"/>
                </a:solidFill>
              </a:rPr>
            </a:br>
            <a:r>
              <a:rPr lang="en-US" kern="0" dirty="0">
                <a:solidFill>
                  <a:srgbClr val="000000"/>
                </a:solidFill>
              </a:rPr>
              <a:t>of watsonx Orchestrate</a:t>
            </a:r>
          </a:p>
          <a:p>
            <a:endParaRPr lang="en-US" kern="0" dirty="0">
              <a:solidFill>
                <a:srgbClr val="000000"/>
              </a:solidFill>
            </a:endParaRPr>
          </a:p>
          <a:p>
            <a:endParaRPr lang="en-US" kern="0" dirty="0">
              <a:solidFill>
                <a:srgbClr val="000000"/>
              </a:solidFill>
            </a:endParaRPr>
          </a:p>
          <a:p>
            <a:endParaRPr lang="en-US" kern="0" dirty="0">
              <a:solidFill>
                <a:srgbClr val="000000"/>
              </a:solidFill>
            </a:endParaRPr>
          </a:p>
          <a:p>
            <a:endParaRPr lang="en-US" kern="0" dirty="0">
              <a:solidFill>
                <a:srgbClr val="000000"/>
              </a:solidFill>
            </a:endParaRPr>
          </a:p>
          <a:p>
            <a:endParaRPr lang="en-US" kern="0" dirty="0">
              <a:solidFill>
                <a:srgbClr val="000000"/>
              </a:solidFill>
            </a:endParaRPr>
          </a:p>
          <a:p>
            <a:endParaRPr lang="en-US" i="1" kern="0" dirty="0">
              <a:solidFill>
                <a:schemeClr val="accent1"/>
              </a:solidFill>
              <a:latin typeface="IBM Plex Sans Light" panose="020B0403050203000203" pitchFamily="34" charset="0"/>
              <a:hlinkClick r:id="rId3"/>
            </a:endParaRPr>
          </a:p>
          <a:p>
            <a:endParaRPr lang="en-US" i="1" kern="0" dirty="0">
              <a:solidFill>
                <a:schemeClr val="accent1"/>
              </a:solidFill>
              <a:latin typeface="IBM Plex Sans Light" panose="020B0403050203000203" pitchFamily="34" charset="0"/>
              <a:hlinkClick r:id="rId3"/>
            </a:endParaRPr>
          </a:p>
          <a:p>
            <a:r>
              <a:rPr lang="en-US" i="1" kern="0" dirty="0">
                <a:solidFill>
                  <a:schemeClr val="accent1"/>
                </a:solidFill>
                <a:latin typeface="IBM Plex Sans Light" panose="020B0403050203000203" pitchFamily="34" charset="0"/>
                <a:hlinkClick r:id="rId3"/>
              </a:rPr>
              <a:t>Product Tour</a:t>
            </a:r>
            <a:br>
              <a:rPr lang="en-US" kern="0" dirty="0">
                <a:solidFill>
                  <a:srgbClr val="000000"/>
                </a:solidFill>
              </a:rPr>
            </a:br>
            <a:br>
              <a:rPr lang="en-US" kern="0" dirty="0">
                <a:solidFill>
                  <a:srgbClr val="000000"/>
                </a:solidFill>
              </a:rPr>
            </a:br>
            <a:endParaRPr lang="en-US" kern="0" dirty="0">
              <a:solidFill>
                <a:srgbClr val="000000"/>
              </a:solidFill>
            </a:endParaRPr>
          </a:p>
        </p:txBody>
      </p:sp>
      <p:sp>
        <p:nvSpPr>
          <p:cNvPr id="28" name="Text Placeholder 10">
            <a:extLst>
              <a:ext uri="{FF2B5EF4-FFF2-40B4-BE49-F238E27FC236}">
                <a16:creationId xmlns:a16="http://schemas.microsoft.com/office/drawing/2014/main" id="{AEFEA3BB-A37A-9EE4-6C78-C69F3489F4E0}"/>
              </a:ext>
            </a:extLst>
          </p:cNvPr>
          <p:cNvSpPr txBox="1">
            <a:spLocks/>
          </p:cNvSpPr>
          <p:nvPr/>
        </p:nvSpPr>
        <p:spPr>
          <a:xfrm>
            <a:off x="12763500" y="3429000"/>
            <a:ext cx="5168900" cy="85725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kern="0" dirty="0">
                <a:solidFill>
                  <a:srgbClr val="000000"/>
                </a:solidFill>
                <a:latin typeface="IBM Plex Sans" panose="020B0503050203000203" pitchFamily="34" charset="0"/>
              </a:rPr>
              <a:t>Schedule a demo</a:t>
            </a:r>
          </a:p>
          <a:p>
            <a:endParaRPr lang="en-US" kern="0" dirty="0">
              <a:solidFill>
                <a:srgbClr val="000000"/>
              </a:solidFill>
            </a:endParaRPr>
          </a:p>
          <a:p>
            <a:r>
              <a:rPr lang="en-US" kern="0" dirty="0">
                <a:solidFill>
                  <a:srgbClr val="000000"/>
                </a:solidFill>
              </a:rPr>
              <a:t>Talk with IBM experts </a:t>
            </a:r>
            <a:br>
              <a:rPr lang="en-US" kern="0" dirty="0">
                <a:solidFill>
                  <a:srgbClr val="000000"/>
                </a:solidFill>
              </a:rPr>
            </a:br>
            <a:r>
              <a:rPr lang="en-US" kern="0" dirty="0">
                <a:solidFill>
                  <a:srgbClr val="000000"/>
                </a:solidFill>
              </a:rPr>
              <a:t>to understand </a:t>
            </a:r>
            <a:br>
              <a:rPr lang="en-US" kern="0" dirty="0">
                <a:solidFill>
                  <a:srgbClr val="000000"/>
                </a:solidFill>
              </a:rPr>
            </a:br>
            <a:r>
              <a:rPr lang="en-US" kern="0" dirty="0">
                <a:solidFill>
                  <a:srgbClr val="000000"/>
                </a:solidFill>
              </a:rPr>
              <a:t>how the solutions </a:t>
            </a:r>
            <a:br>
              <a:rPr lang="en-US" kern="0" dirty="0">
                <a:solidFill>
                  <a:srgbClr val="000000"/>
                </a:solidFill>
              </a:rPr>
            </a:br>
            <a:r>
              <a:rPr lang="en-US" kern="0" dirty="0">
                <a:solidFill>
                  <a:srgbClr val="000000"/>
                </a:solidFill>
              </a:rPr>
              <a:t>can be applied </a:t>
            </a:r>
            <a:br>
              <a:rPr lang="en-US" kern="0" dirty="0">
                <a:solidFill>
                  <a:srgbClr val="000000"/>
                </a:solidFill>
              </a:rPr>
            </a:br>
            <a:r>
              <a:rPr lang="en-US" kern="0" dirty="0">
                <a:solidFill>
                  <a:srgbClr val="000000"/>
                </a:solidFill>
              </a:rPr>
              <a:t>to selected use cases.</a:t>
            </a:r>
            <a:br>
              <a:rPr lang="en-US" kern="0" dirty="0">
                <a:solidFill>
                  <a:srgbClr val="000000"/>
                </a:solidFill>
              </a:rPr>
            </a:br>
            <a:br>
              <a:rPr lang="en-US" kern="0" dirty="0">
                <a:solidFill>
                  <a:srgbClr val="000000"/>
                </a:solidFill>
              </a:rPr>
            </a:br>
            <a:endParaRPr lang="en-US" kern="0" dirty="0">
              <a:solidFill>
                <a:srgbClr val="000000"/>
              </a:solidFill>
            </a:endParaRPr>
          </a:p>
          <a:p>
            <a:endParaRPr lang="en-US" kern="0" dirty="0">
              <a:solidFill>
                <a:srgbClr val="000000"/>
              </a:solidFill>
            </a:endParaRPr>
          </a:p>
          <a:p>
            <a:endParaRPr lang="en-US" kern="0" dirty="0">
              <a:solidFill>
                <a:srgbClr val="000000"/>
              </a:solidFill>
            </a:endParaRPr>
          </a:p>
          <a:p>
            <a:endParaRPr lang="en-US" i="1" kern="0" dirty="0">
              <a:solidFill>
                <a:schemeClr val="accent1"/>
              </a:solidFill>
              <a:latin typeface="IBM Plex Sans Light" panose="020B0403050203000203" pitchFamily="34" charset="0"/>
            </a:endParaRPr>
          </a:p>
          <a:p>
            <a:r>
              <a:rPr lang="en-US" i="1" kern="0" dirty="0">
                <a:solidFill>
                  <a:schemeClr val="accent1"/>
                </a:solidFill>
                <a:latin typeface="IBM Plex Sans Light" panose="020B0403050203000203" pitchFamily="34" charset="0"/>
              </a:rPr>
              <a:t>1 hour</a:t>
            </a:r>
            <a:br>
              <a:rPr lang="en-US" kern="0" dirty="0">
                <a:solidFill>
                  <a:srgbClr val="000000"/>
                </a:solidFill>
              </a:rPr>
            </a:br>
            <a:br>
              <a:rPr lang="en-US" kern="0" dirty="0">
                <a:solidFill>
                  <a:srgbClr val="000000"/>
                </a:solidFill>
              </a:rPr>
            </a:br>
            <a:endParaRPr lang="en-US" kern="0" dirty="0">
              <a:solidFill>
                <a:srgbClr val="000000"/>
              </a:solidFill>
            </a:endParaRPr>
          </a:p>
        </p:txBody>
      </p:sp>
      <p:sp>
        <p:nvSpPr>
          <p:cNvPr id="30" name="Text Placeholder 11">
            <a:extLst>
              <a:ext uri="{FF2B5EF4-FFF2-40B4-BE49-F238E27FC236}">
                <a16:creationId xmlns:a16="http://schemas.microsoft.com/office/drawing/2014/main" id="{BD8C3512-34FD-83B7-4EFA-93AB93682037}"/>
              </a:ext>
            </a:extLst>
          </p:cNvPr>
          <p:cNvSpPr txBox="1">
            <a:spLocks/>
          </p:cNvSpPr>
          <p:nvPr/>
        </p:nvSpPr>
        <p:spPr>
          <a:xfrm>
            <a:off x="18859500" y="3429000"/>
            <a:ext cx="4959350" cy="85725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kern="0" dirty="0">
                <a:solidFill>
                  <a:srgbClr val="000000"/>
                </a:solidFill>
                <a:latin typeface="IBM Plex Sans" panose="020B0503050203000203" pitchFamily="34" charset="0"/>
              </a:rPr>
              <a:t>Strategy session</a:t>
            </a:r>
          </a:p>
          <a:p>
            <a:endParaRPr lang="en-US" kern="0" dirty="0">
              <a:solidFill>
                <a:srgbClr val="000000"/>
              </a:solidFill>
            </a:endParaRPr>
          </a:p>
          <a:p>
            <a:r>
              <a:rPr lang="en-US" kern="0" dirty="0">
                <a:solidFill>
                  <a:srgbClr val="000000"/>
                </a:solidFill>
              </a:rPr>
              <a:t>Discussion and custom demonstration of IBM’s AI point-of-view </a:t>
            </a:r>
            <a:br>
              <a:rPr lang="en-US" kern="0" dirty="0">
                <a:solidFill>
                  <a:srgbClr val="000000"/>
                </a:solidFill>
              </a:rPr>
            </a:br>
            <a:r>
              <a:rPr lang="en-US" kern="0" dirty="0">
                <a:solidFill>
                  <a:srgbClr val="000000"/>
                </a:solidFill>
              </a:rPr>
              <a:t>and capabilities. Understand where generative AI can </a:t>
            </a:r>
            <a:br>
              <a:rPr lang="en-US" kern="0" dirty="0">
                <a:solidFill>
                  <a:srgbClr val="000000"/>
                </a:solidFill>
              </a:rPr>
            </a:br>
            <a:r>
              <a:rPr lang="en-US" kern="0" dirty="0">
                <a:solidFill>
                  <a:srgbClr val="000000"/>
                </a:solidFill>
              </a:rPr>
              <a:t>be leveraged now </a:t>
            </a:r>
            <a:br>
              <a:rPr lang="en-US" kern="0" dirty="0">
                <a:solidFill>
                  <a:srgbClr val="000000"/>
                </a:solidFill>
              </a:rPr>
            </a:br>
            <a:r>
              <a:rPr lang="en-US" kern="0" dirty="0">
                <a:solidFill>
                  <a:srgbClr val="000000"/>
                </a:solidFill>
              </a:rPr>
              <a:t>for impact </a:t>
            </a:r>
            <a:br>
              <a:rPr lang="en-US" kern="0" dirty="0">
                <a:solidFill>
                  <a:srgbClr val="000000"/>
                </a:solidFill>
              </a:rPr>
            </a:br>
            <a:r>
              <a:rPr lang="en-US" kern="0" dirty="0">
                <a:solidFill>
                  <a:srgbClr val="000000"/>
                </a:solidFill>
              </a:rPr>
              <a:t>in the business.</a:t>
            </a:r>
          </a:p>
          <a:p>
            <a:endParaRPr lang="en-US" kern="0" dirty="0">
              <a:solidFill>
                <a:srgbClr val="000000"/>
              </a:solidFill>
            </a:endParaRPr>
          </a:p>
          <a:p>
            <a:r>
              <a:rPr lang="en-US" i="1" kern="0" dirty="0">
                <a:solidFill>
                  <a:schemeClr val="accent1"/>
                </a:solidFill>
                <a:latin typeface="IBM Plex Sans Light" panose="020B0403050203000203" pitchFamily="34" charset="0"/>
              </a:rPr>
              <a:t>2-4 hours</a:t>
            </a:r>
            <a:endParaRPr lang="en-US" kern="0" dirty="0">
              <a:solidFill>
                <a:srgbClr val="000000"/>
              </a:solidFill>
            </a:endParaRPr>
          </a:p>
        </p:txBody>
      </p:sp>
      <p:sp>
        <p:nvSpPr>
          <p:cNvPr id="6" name="TextBox 5">
            <a:extLst>
              <a:ext uri="{FF2B5EF4-FFF2-40B4-BE49-F238E27FC236}">
                <a16:creationId xmlns:a16="http://schemas.microsoft.com/office/drawing/2014/main" id="{EC25CFAD-F32D-CE97-723F-878FC1E1AF84}"/>
              </a:ext>
            </a:extLst>
          </p:cNvPr>
          <p:cNvSpPr txBox="1"/>
          <p:nvPr/>
        </p:nvSpPr>
        <p:spPr>
          <a:xfrm>
            <a:off x="28727400" y="386080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dirty="0">
              <a:solidFill>
                <a:srgbClr val="000000"/>
              </a:solidFill>
              <a:ea typeface="+mj-ea"/>
              <a:cs typeface="+mj-cs"/>
              <a:sym typeface="IBM Plex Sans Light"/>
            </a:endParaRPr>
          </a:p>
        </p:txBody>
      </p:sp>
      <p:sp>
        <p:nvSpPr>
          <p:cNvPr id="35" name="Freeform 34">
            <a:extLst>
              <a:ext uri="{FF2B5EF4-FFF2-40B4-BE49-F238E27FC236}">
                <a16:creationId xmlns:a16="http://schemas.microsoft.com/office/drawing/2014/main" id="{740A4A85-9866-15CA-65B9-42F3731D7378}"/>
              </a:ext>
            </a:extLst>
          </p:cNvPr>
          <p:cNvSpPr/>
          <p:nvPr/>
        </p:nvSpPr>
        <p:spPr>
          <a:xfrm>
            <a:off x="18969313" y="635719"/>
            <a:ext cx="1064733" cy="1154904"/>
          </a:xfrm>
          <a:custGeom>
            <a:avLst/>
            <a:gdLst>
              <a:gd name="connsiteX0" fmla="*/ 970321 w 1064733"/>
              <a:gd name="connsiteY0" fmla="*/ 686046 h 1154904"/>
              <a:gd name="connsiteX1" fmla="*/ 875909 w 1064733"/>
              <a:gd name="connsiteY1" fmla="*/ 780458 h 1154904"/>
              <a:gd name="connsiteX2" fmla="*/ 970321 w 1064733"/>
              <a:gd name="connsiteY2" fmla="*/ 874869 h 1154904"/>
              <a:gd name="connsiteX3" fmla="*/ 1064733 w 1064733"/>
              <a:gd name="connsiteY3" fmla="*/ 780458 h 1154904"/>
              <a:gd name="connsiteX4" fmla="*/ 970321 w 1064733"/>
              <a:gd name="connsiteY4" fmla="*/ 686046 h 1154904"/>
              <a:gd name="connsiteX5" fmla="*/ 970321 w 1064733"/>
              <a:gd name="connsiteY5" fmla="*/ 846066 h 1154904"/>
              <a:gd name="connsiteX6" fmla="*/ 904713 w 1064733"/>
              <a:gd name="connsiteY6" fmla="*/ 780458 h 1154904"/>
              <a:gd name="connsiteX7" fmla="*/ 970321 w 1064733"/>
              <a:gd name="connsiteY7" fmla="*/ 714849 h 1154904"/>
              <a:gd name="connsiteX8" fmla="*/ 1035929 w 1064733"/>
              <a:gd name="connsiteY8" fmla="*/ 780458 h 1154904"/>
              <a:gd name="connsiteX9" fmla="*/ 970321 w 1064733"/>
              <a:gd name="connsiteY9" fmla="*/ 846066 h 1154904"/>
              <a:gd name="connsiteX10" fmla="*/ 690286 w 1064733"/>
              <a:gd name="connsiteY10" fmla="*/ 686046 h 1154904"/>
              <a:gd name="connsiteX11" fmla="*/ 595874 w 1064733"/>
              <a:gd name="connsiteY11" fmla="*/ 780458 h 1154904"/>
              <a:gd name="connsiteX12" fmla="*/ 690286 w 1064733"/>
              <a:gd name="connsiteY12" fmla="*/ 874869 h 1154904"/>
              <a:gd name="connsiteX13" fmla="*/ 784698 w 1064733"/>
              <a:gd name="connsiteY13" fmla="*/ 780458 h 1154904"/>
              <a:gd name="connsiteX14" fmla="*/ 690286 w 1064733"/>
              <a:gd name="connsiteY14" fmla="*/ 686046 h 1154904"/>
              <a:gd name="connsiteX15" fmla="*/ 690286 w 1064733"/>
              <a:gd name="connsiteY15" fmla="*/ 846066 h 1154904"/>
              <a:gd name="connsiteX16" fmla="*/ 624678 w 1064733"/>
              <a:gd name="connsiteY16" fmla="*/ 780458 h 1154904"/>
              <a:gd name="connsiteX17" fmla="*/ 690286 w 1064733"/>
              <a:gd name="connsiteY17" fmla="*/ 714849 h 1154904"/>
              <a:gd name="connsiteX18" fmla="*/ 755894 w 1064733"/>
              <a:gd name="connsiteY18" fmla="*/ 780458 h 1154904"/>
              <a:gd name="connsiteX19" fmla="*/ 690286 w 1064733"/>
              <a:gd name="connsiteY19" fmla="*/ 846066 h 1154904"/>
              <a:gd name="connsiteX20" fmla="*/ 690286 w 1064733"/>
              <a:gd name="connsiteY20" fmla="*/ 966081 h 1154904"/>
              <a:gd name="connsiteX21" fmla="*/ 595874 w 1064733"/>
              <a:gd name="connsiteY21" fmla="*/ 1060493 h 1154904"/>
              <a:gd name="connsiteX22" fmla="*/ 690286 w 1064733"/>
              <a:gd name="connsiteY22" fmla="*/ 1154904 h 1154904"/>
              <a:gd name="connsiteX23" fmla="*/ 784698 w 1064733"/>
              <a:gd name="connsiteY23" fmla="*/ 1060493 h 1154904"/>
              <a:gd name="connsiteX24" fmla="*/ 690286 w 1064733"/>
              <a:gd name="connsiteY24" fmla="*/ 966081 h 1154904"/>
              <a:gd name="connsiteX25" fmla="*/ 690286 w 1064733"/>
              <a:gd name="connsiteY25" fmla="*/ 1126101 h 1154904"/>
              <a:gd name="connsiteX26" fmla="*/ 624678 w 1064733"/>
              <a:gd name="connsiteY26" fmla="*/ 1060493 h 1154904"/>
              <a:gd name="connsiteX27" fmla="*/ 690286 w 1064733"/>
              <a:gd name="connsiteY27" fmla="*/ 994884 h 1154904"/>
              <a:gd name="connsiteX28" fmla="*/ 755894 w 1064733"/>
              <a:gd name="connsiteY28" fmla="*/ 1060493 h 1154904"/>
              <a:gd name="connsiteX29" fmla="*/ 690286 w 1064733"/>
              <a:gd name="connsiteY29" fmla="*/ 1126101 h 1154904"/>
              <a:gd name="connsiteX30" fmla="*/ 410251 w 1064733"/>
              <a:gd name="connsiteY30" fmla="*/ 874869 h 1154904"/>
              <a:gd name="connsiteX31" fmla="*/ 504663 w 1064733"/>
              <a:gd name="connsiteY31" fmla="*/ 780458 h 1154904"/>
              <a:gd name="connsiteX32" fmla="*/ 410251 w 1064733"/>
              <a:gd name="connsiteY32" fmla="*/ 686046 h 1154904"/>
              <a:gd name="connsiteX33" fmla="*/ 315840 w 1064733"/>
              <a:gd name="connsiteY33" fmla="*/ 780458 h 1154904"/>
              <a:gd name="connsiteX34" fmla="*/ 410251 w 1064733"/>
              <a:gd name="connsiteY34" fmla="*/ 874869 h 1154904"/>
              <a:gd name="connsiteX35" fmla="*/ 410251 w 1064733"/>
              <a:gd name="connsiteY35" fmla="*/ 714849 h 1154904"/>
              <a:gd name="connsiteX36" fmla="*/ 475860 w 1064733"/>
              <a:gd name="connsiteY36" fmla="*/ 780458 h 1154904"/>
              <a:gd name="connsiteX37" fmla="*/ 410251 w 1064733"/>
              <a:gd name="connsiteY37" fmla="*/ 846066 h 1154904"/>
              <a:gd name="connsiteX38" fmla="*/ 344643 w 1064733"/>
              <a:gd name="connsiteY38" fmla="*/ 780458 h 1154904"/>
              <a:gd name="connsiteX39" fmla="*/ 410251 w 1064733"/>
              <a:gd name="connsiteY39" fmla="*/ 714849 h 1154904"/>
              <a:gd name="connsiteX40" fmla="*/ 320080 w 1064733"/>
              <a:gd name="connsiteY40" fmla="*/ 170221 h 1154904"/>
              <a:gd name="connsiteX41" fmla="*/ 389889 w 1064733"/>
              <a:gd name="connsiteY41" fmla="*/ 100373 h 1154904"/>
              <a:gd name="connsiteX42" fmla="*/ 320040 w 1064733"/>
              <a:gd name="connsiteY42" fmla="*/ 30524 h 1154904"/>
              <a:gd name="connsiteX43" fmla="*/ 340403 w 1064733"/>
              <a:gd name="connsiteY43" fmla="*/ 10161 h 1154904"/>
              <a:gd name="connsiteX44" fmla="*/ 410251 w 1064733"/>
              <a:gd name="connsiteY44" fmla="*/ 80010 h 1154904"/>
              <a:gd name="connsiteX45" fmla="*/ 480100 w 1064733"/>
              <a:gd name="connsiteY45" fmla="*/ 10161 h 1154904"/>
              <a:gd name="connsiteX46" fmla="*/ 500463 w 1064733"/>
              <a:gd name="connsiteY46" fmla="*/ 30524 h 1154904"/>
              <a:gd name="connsiteX47" fmla="*/ 430614 w 1064733"/>
              <a:gd name="connsiteY47" fmla="*/ 100373 h 1154904"/>
              <a:gd name="connsiteX48" fmla="*/ 500463 w 1064733"/>
              <a:gd name="connsiteY48" fmla="*/ 170221 h 1154904"/>
              <a:gd name="connsiteX49" fmla="*/ 480100 w 1064733"/>
              <a:gd name="connsiteY49" fmla="*/ 190584 h 1154904"/>
              <a:gd name="connsiteX50" fmla="*/ 410251 w 1064733"/>
              <a:gd name="connsiteY50" fmla="*/ 120735 h 1154904"/>
              <a:gd name="connsiteX51" fmla="*/ 340403 w 1064733"/>
              <a:gd name="connsiteY51" fmla="*/ 190584 h 1154904"/>
              <a:gd name="connsiteX52" fmla="*/ 320080 w 1064733"/>
              <a:gd name="connsiteY52" fmla="*/ 170221 h 1154904"/>
              <a:gd name="connsiteX53" fmla="*/ 600075 w 1064733"/>
              <a:gd name="connsiteY53" fmla="*/ 570271 h 1154904"/>
              <a:gd name="connsiteX54" fmla="*/ 669924 w 1064733"/>
              <a:gd name="connsiteY54" fmla="*/ 500423 h 1154904"/>
              <a:gd name="connsiteX55" fmla="*/ 600075 w 1064733"/>
              <a:gd name="connsiteY55" fmla="*/ 430574 h 1154904"/>
              <a:gd name="connsiteX56" fmla="*/ 620478 w 1064733"/>
              <a:gd name="connsiteY56" fmla="*/ 410211 h 1154904"/>
              <a:gd name="connsiteX57" fmla="*/ 690286 w 1064733"/>
              <a:gd name="connsiteY57" fmla="*/ 480060 h 1154904"/>
              <a:gd name="connsiteX58" fmla="*/ 760095 w 1064733"/>
              <a:gd name="connsiteY58" fmla="*/ 410251 h 1154904"/>
              <a:gd name="connsiteX59" fmla="*/ 780498 w 1064733"/>
              <a:gd name="connsiteY59" fmla="*/ 430614 h 1154904"/>
              <a:gd name="connsiteX60" fmla="*/ 710649 w 1064733"/>
              <a:gd name="connsiteY60" fmla="*/ 500423 h 1154904"/>
              <a:gd name="connsiteX61" fmla="*/ 780498 w 1064733"/>
              <a:gd name="connsiteY61" fmla="*/ 570271 h 1154904"/>
              <a:gd name="connsiteX62" fmla="*/ 760095 w 1064733"/>
              <a:gd name="connsiteY62" fmla="*/ 590634 h 1154904"/>
              <a:gd name="connsiteX63" fmla="*/ 690286 w 1064733"/>
              <a:gd name="connsiteY63" fmla="*/ 520785 h 1154904"/>
              <a:gd name="connsiteX64" fmla="*/ 620478 w 1064733"/>
              <a:gd name="connsiteY64" fmla="*/ 590594 h 1154904"/>
              <a:gd name="connsiteX65" fmla="*/ 600075 w 1064733"/>
              <a:gd name="connsiteY65" fmla="*/ 570271 h 1154904"/>
              <a:gd name="connsiteX66" fmla="*/ 970321 w 1064733"/>
              <a:gd name="connsiteY66" fmla="*/ 360045 h 1154904"/>
              <a:gd name="connsiteX67" fmla="*/ 1040130 w 1064733"/>
              <a:gd name="connsiteY67" fmla="*/ 290236 h 1154904"/>
              <a:gd name="connsiteX68" fmla="*/ 1060533 w 1064733"/>
              <a:gd name="connsiteY68" fmla="*/ 310599 h 1154904"/>
              <a:gd name="connsiteX69" fmla="*/ 990684 w 1064733"/>
              <a:gd name="connsiteY69" fmla="*/ 380408 h 1154904"/>
              <a:gd name="connsiteX70" fmla="*/ 1060533 w 1064733"/>
              <a:gd name="connsiteY70" fmla="*/ 450256 h 1154904"/>
              <a:gd name="connsiteX71" fmla="*/ 1040130 w 1064733"/>
              <a:gd name="connsiteY71" fmla="*/ 470619 h 1154904"/>
              <a:gd name="connsiteX72" fmla="*/ 970321 w 1064733"/>
              <a:gd name="connsiteY72" fmla="*/ 400770 h 1154904"/>
              <a:gd name="connsiteX73" fmla="*/ 900513 w 1064733"/>
              <a:gd name="connsiteY73" fmla="*/ 470579 h 1154904"/>
              <a:gd name="connsiteX74" fmla="*/ 880110 w 1064733"/>
              <a:gd name="connsiteY74" fmla="*/ 450216 h 1154904"/>
              <a:gd name="connsiteX75" fmla="*/ 949959 w 1064733"/>
              <a:gd name="connsiteY75" fmla="*/ 380408 h 1154904"/>
              <a:gd name="connsiteX76" fmla="*/ 880110 w 1064733"/>
              <a:gd name="connsiteY76" fmla="*/ 310559 h 1154904"/>
              <a:gd name="connsiteX77" fmla="*/ 900513 w 1064733"/>
              <a:gd name="connsiteY77" fmla="*/ 290196 h 1154904"/>
              <a:gd name="connsiteX78" fmla="*/ 970321 w 1064733"/>
              <a:gd name="connsiteY78" fmla="*/ 360045 h 1154904"/>
              <a:gd name="connsiteX79" fmla="*/ 290236 w 1064733"/>
              <a:gd name="connsiteY79" fmla="*/ 1046091 h 1154904"/>
              <a:gd name="connsiteX80" fmla="*/ 530266 w 1064733"/>
              <a:gd name="connsiteY80" fmla="*/ 1046091 h 1154904"/>
              <a:gd name="connsiteX81" fmla="*/ 530266 w 1064733"/>
              <a:gd name="connsiteY81" fmla="*/ 1074934 h 1154904"/>
              <a:gd name="connsiteX82" fmla="*/ 290236 w 1064733"/>
              <a:gd name="connsiteY82" fmla="*/ 1074934 h 1154904"/>
              <a:gd name="connsiteX83" fmla="*/ 75809 w 1064733"/>
              <a:gd name="connsiteY83" fmla="*/ 860508 h 1154904"/>
              <a:gd name="connsiteX84" fmla="*/ 75809 w 1064733"/>
              <a:gd name="connsiteY84" fmla="*/ 175102 h 1154904"/>
              <a:gd name="connsiteX85" fmla="*/ 20403 w 1064733"/>
              <a:gd name="connsiteY85" fmla="*/ 230549 h 1154904"/>
              <a:gd name="connsiteX86" fmla="*/ 0 w 1064733"/>
              <a:gd name="connsiteY86" fmla="*/ 210186 h 1154904"/>
              <a:gd name="connsiteX87" fmla="*/ 90091 w 1064733"/>
              <a:gd name="connsiteY87" fmla="*/ 119975 h 1154904"/>
              <a:gd name="connsiteX88" fmla="*/ 180383 w 1064733"/>
              <a:gd name="connsiteY88" fmla="*/ 210146 h 1154904"/>
              <a:gd name="connsiteX89" fmla="*/ 160020 w 1064733"/>
              <a:gd name="connsiteY89" fmla="*/ 230549 h 1154904"/>
              <a:gd name="connsiteX90" fmla="*/ 104613 w 1064733"/>
              <a:gd name="connsiteY90" fmla="*/ 175182 h 1154904"/>
              <a:gd name="connsiteX91" fmla="*/ 104613 w 1064733"/>
              <a:gd name="connsiteY91" fmla="*/ 860468 h 1154904"/>
              <a:gd name="connsiteX92" fmla="*/ 290236 w 1064733"/>
              <a:gd name="connsiteY92" fmla="*/ 1046091 h 1154904"/>
              <a:gd name="connsiteX93" fmla="*/ 864308 w 1064733"/>
              <a:gd name="connsiteY93" fmla="*/ 54727 h 1154904"/>
              <a:gd name="connsiteX94" fmla="*/ 864708 w 1064733"/>
              <a:gd name="connsiteY94" fmla="*/ 140298 h 1154904"/>
              <a:gd name="connsiteX95" fmla="*/ 730291 w 1064733"/>
              <a:gd name="connsiteY95" fmla="*/ 274794 h 1154904"/>
              <a:gd name="connsiteX96" fmla="*/ 570271 w 1064733"/>
              <a:gd name="connsiteY96" fmla="*/ 274794 h 1154904"/>
              <a:gd name="connsiteX97" fmla="*/ 424653 w 1064733"/>
              <a:gd name="connsiteY97" fmla="*/ 420453 h 1154904"/>
              <a:gd name="connsiteX98" fmla="*/ 424653 w 1064733"/>
              <a:gd name="connsiteY98" fmla="*/ 620478 h 1154904"/>
              <a:gd name="connsiteX99" fmla="*/ 395850 w 1064733"/>
              <a:gd name="connsiteY99" fmla="*/ 620478 h 1154904"/>
              <a:gd name="connsiteX100" fmla="*/ 395850 w 1064733"/>
              <a:gd name="connsiteY100" fmla="*/ 420453 h 1154904"/>
              <a:gd name="connsiteX101" fmla="*/ 570271 w 1064733"/>
              <a:gd name="connsiteY101" fmla="*/ 246031 h 1154904"/>
              <a:gd name="connsiteX102" fmla="*/ 730291 w 1064733"/>
              <a:gd name="connsiteY102" fmla="*/ 246031 h 1154904"/>
              <a:gd name="connsiteX103" fmla="*/ 835904 w 1064733"/>
              <a:gd name="connsiteY103" fmla="*/ 140418 h 1154904"/>
              <a:gd name="connsiteX104" fmla="*/ 835504 w 1064733"/>
              <a:gd name="connsiteY104" fmla="*/ 55607 h 1154904"/>
              <a:gd name="connsiteX105" fmla="*/ 780538 w 1064733"/>
              <a:gd name="connsiteY105" fmla="*/ 110574 h 1154904"/>
              <a:gd name="connsiteX106" fmla="*/ 760135 w 1064733"/>
              <a:gd name="connsiteY106" fmla="*/ 90211 h 1154904"/>
              <a:gd name="connsiteX107" fmla="*/ 850306 w 1064733"/>
              <a:gd name="connsiteY107" fmla="*/ 0 h 1154904"/>
              <a:gd name="connsiteX108" fmla="*/ 940518 w 1064733"/>
              <a:gd name="connsiteY108" fmla="*/ 90211 h 1154904"/>
              <a:gd name="connsiteX109" fmla="*/ 920115 w 1064733"/>
              <a:gd name="connsiteY109" fmla="*/ 110574 h 1154904"/>
              <a:gd name="connsiteX110" fmla="*/ 864308 w 1064733"/>
              <a:gd name="connsiteY110" fmla="*/ 54727 h 115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064733" h="1154904">
                <a:moveTo>
                  <a:pt x="970321" y="686046"/>
                </a:moveTo>
                <a:cubicBezTo>
                  <a:pt x="918235" y="686046"/>
                  <a:pt x="875909" y="728411"/>
                  <a:pt x="875909" y="780458"/>
                </a:cubicBezTo>
                <a:cubicBezTo>
                  <a:pt x="875909" y="832504"/>
                  <a:pt x="918275" y="874869"/>
                  <a:pt x="970321" y="874869"/>
                </a:cubicBezTo>
                <a:cubicBezTo>
                  <a:pt x="1022368" y="874869"/>
                  <a:pt x="1064733" y="832504"/>
                  <a:pt x="1064733" y="780458"/>
                </a:cubicBezTo>
                <a:cubicBezTo>
                  <a:pt x="1064733" y="728411"/>
                  <a:pt x="1022408" y="686046"/>
                  <a:pt x="970321" y="686046"/>
                </a:cubicBezTo>
                <a:close/>
                <a:moveTo>
                  <a:pt x="970321" y="846066"/>
                </a:moveTo>
                <a:cubicBezTo>
                  <a:pt x="934157" y="846066"/>
                  <a:pt x="904713" y="816662"/>
                  <a:pt x="904713" y="780458"/>
                </a:cubicBezTo>
                <a:cubicBezTo>
                  <a:pt x="904713" y="744253"/>
                  <a:pt x="934117" y="714849"/>
                  <a:pt x="970321" y="714849"/>
                </a:cubicBezTo>
                <a:cubicBezTo>
                  <a:pt x="1006526" y="714849"/>
                  <a:pt x="1035929" y="744253"/>
                  <a:pt x="1035929" y="780458"/>
                </a:cubicBezTo>
                <a:cubicBezTo>
                  <a:pt x="1035929" y="816662"/>
                  <a:pt x="1006486" y="846066"/>
                  <a:pt x="970321" y="846066"/>
                </a:cubicBezTo>
                <a:close/>
                <a:moveTo>
                  <a:pt x="690286" y="686046"/>
                </a:moveTo>
                <a:cubicBezTo>
                  <a:pt x="638200" y="686046"/>
                  <a:pt x="595874" y="728411"/>
                  <a:pt x="595874" y="780458"/>
                </a:cubicBezTo>
                <a:cubicBezTo>
                  <a:pt x="595874" y="832504"/>
                  <a:pt x="638240" y="874869"/>
                  <a:pt x="690286" y="874869"/>
                </a:cubicBezTo>
                <a:cubicBezTo>
                  <a:pt x="742333" y="874869"/>
                  <a:pt x="784698" y="832504"/>
                  <a:pt x="784698" y="780458"/>
                </a:cubicBezTo>
                <a:cubicBezTo>
                  <a:pt x="784698" y="728411"/>
                  <a:pt x="742373" y="686046"/>
                  <a:pt x="690286" y="686046"/>
                </a:cubicBezTo>
                <a:close/>
                <a:moveTo>
                  <a:pt x="690286" y="846066"/>
                </a:moveTo>
                <a:cubicBezTo>
                  <a:pt x="654122" y="846066"/>
                  <a:pt x="624678" y="816662"/>
                  <a:pt x="624678" y="780458"/>
                </a:cubicBezTo>
                <a:cubicBezTo>
                  <a:pt x="624678" y="744253"/>
                  <a:pt x="654082" y="714849"/>
                  <a:pt x="690286" y="714849"/>
                </a:cubicBezTo>
                <a:cubicBezTo>
                  <a:pt x="726491" y="714849"/>
                  <a:pt x="755894" y="744253"/>
                  <a:pt x="755894" y="780458"/>
                </a:cubicBezTo>
                <a:cubicBezTo>
                  <a:pt x="755894" y="816662"/>
                  <a:pt x="726451" y="846066"/>
                  <a:pt x="690286" y="846066"/>
                </a:cubicBezTo>
                <a:close/>
                <a:moveTo>
                  <a:pt x="690286" y="966081"/>
                </a:moveTo>
                <a:cubicBezTo>
                  <a:pt x="638200" y="966081"/>
                  <a:pt x="595874" y="1008446"/>
                  <a:pt x="595874" y="1060493"/>
                </a:cubicBezTo>
                <a:cubicBezTo>
                  <a:pt x="595874" y="1112539"/>
                  <a:pt x="638240" y="1154904"/>
                  <a:pt x="690286" y="1154904"/>
                </a:cubicBezTo>
                <a:cubicBezTo>
                  <a:pt x="742333" y="1154904"/>
                  <a:pt x="784698" y="1112539"/>
                  <a:pt x="784698" y="1060493"/>
                </a:cubicBezTo>
                <a:cubicBezTo>
                  <a:pt x="784698" y="1008446"/>
                  <a:pt x="742373" y="966081"/>
                  <a:pt x="690286" y="966081"/>
                </a:cubicBezTo>
                <a:close/>
                <a:moveTo>
                  <a:pt x="690286" y="1126101"/>
                </a:moveTo>
                <a:cubicBezTo>
                  <a:pt x="654122" y="1126101"/>
                  <a:pt x="624678" y="1096697"/>
                  <a:pt x="624678" y="1060493"/>
                </a:cubicBezTo>
                <a:cubicBezTo>
                  <a:pt x="624678" y="1024288"/>
                  <a:pt x="654082" y="994884"/>
                  <a:pt x="690286" y="994884"/>
                </a:cubicBezTo>
                <a:cubicBezTo>
                  <a:pt x="726491" y="994884"/>
                  <a:pt x="755894" y="1024288"/>
                  <a:pt x="755894" y="1060493"/>
                </a:cubicBezTo>
                <a:cubicBezTo>
                  <a:pt x="755894" y="1096697"/>
                  <a:pt x="726451" y="1126101"/>
                  <a:pt x="690286" y="1126101"/>
                </a:cubicBezTo>
                <a:close/>
                <a:moveTo>
                  <a:pt x="410251" y="874869"/>
                </a:moveTo>
                <a:cubicBezTo>
                  <a:pt x="462298" y="874869"/>
                  <a:pt x="504663" y="832504"/>
                  <a:pt x="504663" y="780458"/>
                </a:cubicBezTo>
                <a:cubicBezTo>
                  <a:pt x="504663" y="728411"/>
                  <a:pt x="462298" y="686046"/>
                  <a:pt x="410251" y="686046"/>
                </a:cubicBezTo>
                <a:cubicBezTo>
                  <a:pt x="358205" y="686046"/>
                  <a:pt x="315840" y="728411"/>
                  <a:pt x="315840" y="780458"/>
                </a:cubicBezTo>
                <a:cubicBezTo>
                  <a:pt x="315840" y="832504"/>
                  <a:pt x="358205" y="874869"/>
                  <a:pt x="410251" y="874869"/>
                </a:cubicBezTo>
                <a:close/>
                <a:moveTo>
                  <a:pt x="410251" y="714849"/>
                </a:moveTo>
                <a:cubicBezTo>
                  <a:pt x="446416" y="714849"/>
                  <a:pt x="475860" y="744253"/>
                  <a:pt x="475860" y="780458"/>
                </a:cubicBezTo>
                <a:cubicBezTo>
                  <a:pt x="475860" y="816662"/>
                  <a:pt x="446416" y="846066"/>
                  <a:pt x="410251" y="846066"/>
                </a:cubicBezTo>
                <a:cubicBezTo>
                  <a:pt x="374087" y="846066"/>
                  <a:pt x="344643" y="816662"/>
                  <a:pt x="344643" y="780458"/>
                </a:cubicBezTo>
                <a:cubicBezTo>
                  <a:pt x="344643" y="744253"/>
                  <a:pt x="374087" y="714849"/>
                  <a:pt x="410251" y="714849"/>
                </a:cubicBezTo>
                <a:close/>
                <a:moveTo>
                  <a:pt x="320080" y="170221"/>
                </a:moveTo>
                <a:lnTo>
                  <a:pt x="389889" y="100373"/>
                </a:lnTo>
                <a:lnTo>
                  <a:pt x="320040" y="30524"/>
                </a:lnTo>
                <a:lnTo>
                  <a:pt x="340403" y="10161"/>
                </a:lnTo>
                <a:lnTo>
                  <a:pt x="410251" y="80010"/>
                </a:lnTo>
                <a:lnTo>
                  <a:pt x="480100" y="10161"/>
                </a:lnTo>
                <a:lnTo>
                  <a:pt x="500463" y="30524"/>
                </a:lnTo>
                <a:lnTo>
                  <a:pt x="430614" y="100373"/>
                </a:lnTo>
                <a:lnTo>
                  <a:pt x="500463" y="170221"/>
                </a:lnTo>
                <a:lnTo>
                  <a:pt x="480100" y="190584"/>
                </a:lnTo>
                <a:lnTo>
                  <a:pt x="410251" y="120735"/>
                </a:lnTo>
                <a:lnTo>
                  <a:pt x="340403" y="190584"/>
                </a:lnTo>
                <a:lnTo>
                  <a:pt x="320080" y="170221"/>
                </a:lnTo>
                <a:close/>
                <a:moveTo>
                  <a:pt x="600075" y="570271"/>
                </a:moveTo>
                <a:lnTo>
                  <a:pt x="669924" y="500423"/>
                </a:lnTo>
                <a:lnTo>
                  <a:pt x="600075" y="430574"/>
                </a:lnTo>
                <a:lnTo>
                  <a:pt x="620478" y="410211"/>
                </a:lnTo>
                <a:lnTo>
                  <a:pt x="690286" y="480060"/>
                </a:lnTo>
                <a:lnTo>
                  <a:pt x="760095" y="410251"/>
                </a:lnTo>
                <a:lnTo>
                  <a:pt x="780498" y="430614"/>
                </a:lnTo>
                <a:lnTo>
                  <a:pt x="710649" y="500423"/>
                </a:lnTo>
                <a:lnTo>
                  <a:pt x="780498" y="570271"/>
                </a:lnTo>
                <a:lnTo>
                  <a:pt x="760095" y="590634"/>
                </a:lnTo>
                <a:lnTo>
                  <a:pt x="690286" y="520785"/>
                </a:lnTo>
                <a:lnTo>
                  <a:pt x="620478" y="590594"/>
                </a:lnTo>
                <a:lnTo>
                  <a:pt x="600075" y="570271"/>
                </a:lnTo>
                <a:close/>
                <a:moveTo>
                  <a:pt x="970321" y="360045"/>
                </a:moveTo>
                <a:lnTo>
                  <a:pt x="1040130" y="290236"/>
                </a:lnTo>
                <a:lnTo>
                  <a:pt x="1060533" y="310599"/>
                </a:lnTo>
                <a:lnTo>
                  <a:pt x="990684" y="380408"/>
                </a:lnTo>
                <a:lnTo>
                  <a:pt x="1060533" y="450256"/>
                </a:lnTo>
                <a:lnTo>
                  <a:pt x="1040130" y="470619"/>
                </a:lnTo>
                <a:lnTo>
                  <a:pt x="970321" y="400770"/>
                </a:lnTo>
                <a:lnTo>
                  <a:pt x="900513" y="470579"/>
                </a:lnTo>
                <a:lnTo>
                  <a:pt x="880110" y="450216"/>
                </a:lnTo>
                <a:lnTo>
                  <a:pt x="949959" y="380408"/>
                </a:lnTo>
                <a:lnTo>
                  <a:pt x="880110" y="310559"/>
                </a:lnTo>
                <a:lnTo>
                  <a:pt x="900513" y="290196"/>
                </a:lnTo>
                <a:lnTo>
                  <a:pt x="970321" y="360045"/>
                </a:lnTo>
                <a:close/>
                <a:moveTo>
                  <a:pt x="290236" y="1046091"/>
                </a:moveTo>
                <a:lnTo>
                  <a:pt x="530266" y="1046091"/>
                </a:lnTo>
                <a:lnTo>
                  <a:pt x="530266" y="1074934"/>
                </a:lnTo>
                <a:lnTo>
                  <a:pt x="290236" y="1074934"/>
                </a:lnTo>
                <a:cubicBezTo>
                  <a:pt x="288076" y="1074934"/>
                  <a:pt x="75809" y="1072454"/>
                  <a:pt x="75809" y="860508"/>
                </a:cubicBezTo>
                <a:lnTo>
                  <a:pt x="75809" y="175102"/>
                </a:lnTo>
                <a:lnTo>
                  <a:pt x="20403" y="230549"/>
                </a:lnTo>
                <a:lnTo>
                  <a:pt x="0" y="210186"/>
                </a:lnTo>
                <a:lnTo>
                  <a:pt x="90091" y="119975"/>
                </a:lnTo>
                <a:lnTo>
                  <a:pt x="180383" y="210146"/>
                </a:lnTo>
                <a:lnTo>
                  <a:pt x="160020" y="230549"/>
                </a:lnTo>
                <a:lnTo>
                  <a:pt x="104613" y="175182"/>
                </a:lnTo>
                <a:lnTo>
                  <a:pt x="104613" y="860468"/>
                </a:lnTo>
                <a:cubicBezTo>
                  <a:pt x="104613" y="1043971"/>
                  <a:pt x="282675" y="1046091"/>
                  <a:pt x="290236" y="1046091"/>
                </a:cubicBezTo>
                <a:close/>
                <a:moveTo>
                  <a:pt x="864308" y="54727"/>
                </a:moveTo>
                <a:lnTo>
                  <a:pt x="864708" y="140298"/>
                </a:lnTo>
                <a:cubicBezTo>
                  <a:pt x="864708" y="246711"/>
                  <a:pt x="776777" y="274794"/>
                  <a:pt x="730291" y="274794"/>
                </a:cubicBezTo>
                <a:lnTo>
                  <a:pt x="570271" y="274794"/>
                </a:lnTo>
                <a:cubicBezTo>
                  <a:pt x="426893" y="274794"/>
                  <a:pt x="424653" y="414492"/>
                  <a:pt x="424653" y="420453"/>
                </a:cubicBezTo>
                <a:lnTo>
                  <a:pt x="424653" y="620478"/>
                </a:lnTo>
                <a:lnTo>
                  <a:pt x="395850" y="620478"/>
                </a:lnTo>
                <a:lnTo>
                  <a:pt x="395850" y="420453"/>
                </a:lnTo>
                <a:cubicBezTo>
                  <a:pt x="395850" y="418732"/>
                  <a:pt x="397850" y="246031"/>
                  <a:pt x="570271" y="246031"/>
                </a:cubicBezTo>
                <a:lnTo>
                  <a:pt x="730291" y="246031"/>
                </a:lnTo>
                <a:cubicBezTo>
                  <a:pt x="734532" y="246031"/>
                  <a:pt x="835904" y="244271"/>
                  <a:pt x="835904" y="140418"/>
                </a:cubicBezTo>
                <a:lnTo>
                  <a:pt x="835504" y="55607"/>
                </a:lnTo>
                <a:lnTo>
                  <a:pt x="780538" y="110574"/>
                </a:lnTo>
                <a:lnTo>
                  <a:pt x="760135" y="90211"/>
                </a:lnTo>
                <a:lnTo>
                  <a:pt x="850306" y="0"/>
                </a:lnTo>
                <a:lnTo>
                  <a:pt x="940518" y="90211"/>
                </a:lnTo>
                <a:lnTo>
                  <a:pt x="920115" y="110574"/>
                </a:lnTo>
                <a:lnTo>
                  <a:pt x="864308" y="54727"/>
                </a:lnTo>
                <a:close/>
              </a:path>
            </a:pathLst>
          </a:custGeom>
          <a:solidFill>
            <a:schemeClr val="accent1"/>
          </a:solidFill>
          <a:ln w="39886"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49F47DE9-D71A-07D4-BDFF-8BD8B064B6D1}"/>
              </a:ext>
            </a:extLst>
          </p:cNvPr>
          <p:cNvSpPr/>
          <p:nvPr/>
        </p:nvSpPr>
        <p:spPr>
          <a:xfrm>
            <a:off x="6777313" y="681685"/>
            <a:ext cx="1025048" cy="1104738"/>
          </a:xfrm>
          <a:custGeom>
            <a:avLst/>
            <a:gdLst>
              <a:gd name="connsiteX0" fmla="*/ 340603 w 1025048"/>
              <a:gd name="connsiteY0" fmla="*/ 788579 h 1104738"/>
              <a:gd name="connsiteX1" fmla="*/ 145178 w 1025048"/>
              <a:gd name="connsiteY1" fmla="*/ 974602 h 1104738"/>
              <a:gd name="connsiteX2" fmla="*/ 144938 w 1025048"/>
              <a:gd name="connsiteY2" fmla="*/ 980163 h 1104738"/>
              <a:gd name="connsiteX3" fmla="*/ 20363 w 1025048"/>
              <a:gd name="connsiteY3" fmla="*/ 1104738 h 1104738"/>
              <a:gd name="connsiteX4" fmla="*/ 0 w 1025048"/>
              <a:gd name="connsiteY4" fmla="*/ 1084336 h 1104738"/>
              <a:gd name="connsiteX5" fmla="*/ 116735 w 1025048"/>
              <a:gd name="connsiteY5" fmla="*/ 967561 h 1104738"/>
              <a:gd name="connsiteX6" fmla="*/ 340563 w 1025048"/>
              <a:gd name="connsiteY6" fmla="*/ 759735 h 1104738"/>
              <a:gd name="connsiteX7" fmla="*/ 650601 w 1025048"/>
              <a:gd name="connsiteY7" fmla="*/ 759735 h 1104738"/>
              <a:gd name="connsiteX8" fmla="*/ 705008 w 1025048"/>
              <a:gd name="connsiteY8" fmla="*/ 814142 h 1104738"/>
              <a:gd name="connsiteX9" fmla="*/ 704648 w 1025048"/>
              <a:gd name="connsiteY9" fmla="*/ 822303 h 1104738"/>
              <a:gd name="connsiteX10" fmla="*/ 904993 w 1025048"/>
              <a:gd name="connsiteY10" fmla="*/ 659522 h 1104738"/>
              <a:gd name="connsiteX11" fmla="*/ 1004246 w 1025048"/>
              <a:gd name="connsiteY11" fmla="*/ 660523 h 1104738"/>
              <a:gd name="connsiteX12" fmla="*/ 1025048 w 1025048"/>
              <a:gd name="connsiteY12" fmla="*/ 710689 h 1104738"/>
              <a:gd name="connsiteX13" fmla="*/ 1004246 w 1025048"/>
              <a:gd name="connsiteY13" fmla="*/ 760895 h 1104738"/>
              <a:gd name="connsiteX14" fmla="*/ 760135 w 1025048"/>
              <a:gd name="connsiteY14" fmla="*/ 1005006 h 1104738"/>
              <a:gd name="connsiteX15" fmla="*/ 705208 w 1025048"/>
              <a:gd name="connsiteY15" fmla="*/ 1031889 h 1104738"/>
              <a:gd name="connsiteX16" fmla="*/ 417252 w 1025048"/>
              <a:gd name="connsiteY16" fmla="*/ 1067854 h 1104738"/>
              <a:gd name="connsiteX17" fmla="*/ 380568 w 1025048"/>
              <a:gd name="connsiteY17" fmla="*/ 1104698 h 1104738"/>
              <a:gd name="connsiteX18" fmla="*/ 360165 w 1025048"/>
              <a:gd name="connsiteY18" fmla="*/ 1084376 h 1104738"/>
              <a:gd name="connsiteX19" fmla="*/ 403851 w 1025048"/>
              <a:gd name="connsiteY19" fmla="*/ 1040490 h 1104738"/>
              <a:gd name="connsiteX20" fmla="*/ 701608 w 1025048"/>
              <a:gd name="connsiteY20" fmla="*/ 1003245 h 1104738"/>
              <a:gd name="connsiteX21" fmla="*/ 739732 w 1025048"/>
              <a:gd name="connsiteY21" fmla="*/ 984563 h 1104738"/>
              <a:gd name="connsiteX22" fmla="*/ 983843 w 1025048"/>
              <a:gd name="connsiteY22" fmla="*/ 740453 h 1104738"/>
              <a:gd name="connsiteX23" fmla="*/ 996245 w 1025048"/>
              <a:gd name="connsiteY23" fmla="*/ 710649 h 1104738"/>
              <a:gd name="connsiteX24" fmla="*/ 983883 w 1025048"/>
              <a:gd name="connsiteY24" fmla="*/ 680845 h 1104738"/>
              <a:gd name="connsiteX25" fmla="*/ 924236 w 1025048"/>
              <a:gd name="connsiteY25" fmla="*/ 680845 h 1104738"/>
              <a:gd name="connsiteX26" fmla="*/ 670444 w 1025048"/>
              <a:gd name="connsiteY26" fmla="*/ 887111 h 1104738"/>
              <a:gd name="connsiteX27" fmla="*/ 670404 w 1025048"/>
              <a:gd name="connsiteY27" fmla="*/ 887071 h 1104738"/>
              <a:gd name="connsiteX28" fmla="*/ 610636 w 1025048"/>
              <a:gd name="connsiteY28" fmla="*/ 908514 h 1104738"/>
              <a:gd name="connsiteX29" fmla="*/ 410571 w 1025048"/>
              <a:gd name="connsiteY29" fmla="*/ 908514 h 1104738"/>
              <a:gd name="connsiteX30" fmla="*/ 410571 w 1025048"/>
              <a:gd name="connsiteY30" fmla="*/ 879670 h 1104738"/>
              <a:gd name="connsiteX31" fmla="*/ 610636 w 1025048"/>
              <a:gd name="connsiteY31" fmla="*/ 879670 h 1104738"/>
              <a:gd name="connsiteX32" fmla="*/ 676165 w 1025048"/>
              <a:gd name="connsiteY32" fmla="*/ 814102 h 1104738"/>
              <a:gd name="connsiteX33" fmla="*/ 650561 w 1025048"/>
              <a:gd name="connsiteY33" fmla="*/ 788459 h 1104738"/>
              <a:gd name="connsiteX34" fmla="*/ 340603 w 1025048"/>
              <a:gd name="connsiteY34" fmla="*/ 788459 h 1104738"/>
              <a:gd name="connsiteX35" fmla="*/ 340603 w 1025048"/>
              <a:gd name="connsiteY35" fmla="*/ 788579 h 1104738"/>
              <a:gd name="connsiteX36" fmla="*/ 730291 w 1025048"/>
              <a:gd name="connsiteY36" fmla="*/ 588874 h 1104738"/>
              <a:gd name="connsiteX37" fmla="*/ 330241 w 1025048"/>
              <a:gd name="connsiteY37" fmla="*/ 588874 h 1104738"/>
              <a:gd name="connsiteX38" fmla="*/ 330241 w 1025048"/>
              <a:gd name="connsiteY38" fmla="*/ 560070 h 1104738"/>
              <a:gd name="connsiteX39" fmla="*/ 730291 w 1025048"/>
              <a:gd name="connsiteY39" fmla="*/ 560070 h 1104738"/>
              <a:gd name="connsiteX40" fmla="*/ 730291 w 1025048"/>
              <a:gd name="connsiteY40" fmla="*/ 588874 h 1104738"/>
              <a:gd name="connsiteX41" fmla="*/ 824703 w 1025048"/>
              <a:gd name="connsiteY41" fmla="*/ 494462 h 1104738"/>
              <a:gd name="connsiteX42" fmla="*/ 795899 w 1025048"/>
              <a:gd name="connsiteY42" fmla="*/ 494462 h 1104738"/>
              <a:gd name="connsiteX43" fmla="*/ 795899 w 1025048"/>
              <a:gd name="connsiteY43" fmla="*/ 94412 h 1104738"/>
              <a:gd name="connsiteX44" fmla="*/ 824743 w 1025048"/>
              <a:gd name="connsiteY44" fmla="*/ 94412 h 1104738"/>
              <a:gd name="connsiteX45" fmla="*/ 824703 w 1025048"/>
              <a:gd name="connsiteY45" fmla="*/ 494462 h 1104738"/>
              <a:gd name="connsiteX46" fmla="*/ 824703 w 1025048"/>
              <a:gd name="connsiteY46" fmla="*/ 494462 h 1104738"/>
              <a:gd name="connsiteX47" fmla="*/ 264633 w 1025048"/>
              <a:gd name="connsiteY47" fmla="*/ 494462 h 1104738"/>
              <a:gd name="connsiteX48" fmla="*/ 235830 w 1025048"/>
              <a:gd name="connsiteY48" fmla="*/ 494462 h 1104738"/>
              <a:gd name="connsiteX49" fmla="*/ 235830 w 1025048"/>
              <a:gd name="connsiteY49" fmla="*/ 94412 h 1104738"/>
              <a:gd name="connsiteX50" fmla="*/ 264633 w 1025048"/>
              <a:gd name="connsiteY50" fmla="*/ 94412 h 1104738"/>
              <a:gd name="connsiteX51" fmla="*/ 264633 w 1025048"/>
              <a:gd name="connsiteY51" fmla="*/ 494462 h 1104738"/>
              <a:gd name="connsiteX52" fmla="*/ 730291 w 1025048"/>
              <a:gd name="connsiteY52" fmla="*/ 28804 h 1104738"/>
              <a:gd name="connsiteX53" fmla="*/ 330241 w 1025048"/>
              <a:gd name="connsiteY53" fmla="*/ 28804 h 1104738"/>
              <a:gd name="connsiteX54" fmla="*/ 330241 w 1025048"/>
              <a:gd name="connsiteY54" fmla="*/ 0 h 1104738"/>
              <a:gd name="connsiteX55" fmla="*/ 730291 w 1025048"/>
              <a:gd name="connsiteY55" fmla="*/ 0 h 1104738"/>
              <a:gd name="connsiteX56" fmla="*/ 730291 w 1025048"/>
              <a:gd name="connsiteY56" fmla="*/ 28804 h 1104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025048" h="1104738">
                <a:moveTo>
                  <a:pt x="340603" y="788579"/>
                </a:moveTo>
                <a:cubicBezTo>
                  <a:pt x="236070" y="788579"/>
                  <a:pt x="150219" y="870269"/>
                  <a:pt x="145178" y="974602"/>
                </a:cubicBezTo>
                <a:lnTo>
                  <a:pt x="144938" y="980163"/>
                </a:lnTo>
                <a:lnTo>
                  <a:pt x="20363" y="1104738"/>
                </a:lnTo>
                <a:lnTo>
                  <a:pt x="0" y="1084336"/>
                </a:lnTo>
                <a:lnTo>
                  <a:pt x="116735" y="967561"/>
                </a:lnTo>
                <a:cubicBezTo>
                  <a:pt x="125256" y="850586"/>
                  <a:pt x="222508" y="759735"/>
                  <a:pt x="340563" y="759735"/>
                </a:cubicBezTo>
                <a:lnTo>
                  <a:pt x="650601" y="759735"/>
                </a:lnTo>
                <a:cubicBezTo>
                  <a:pt x="680605" y="759735"/>
                  <a:pt x="705008" y="784138"/>
                  <a:pt x="705008" y="814142"/>
                </a:cubicBezTo>
                <a:cubicBezTo>
                  <a:pt x="705008" y="816862"/>
                  <a:pt x="704888" y="819622"/>
                  <a:pt x="704648" y="822303"/>
                </a:cubicBezTo>
                <a:lnTo>
                  <a:pt x="904993" y="659522"/>
                </a:lnTo>
                <a:cubicBezTo>
                  <a:pt x="929596" y="634679"/>
                  <a:pt x="977482" y="633679"/>
                  <a:pt x="1004246" y="660523"/>
                </a:cubicBezTo>
                <a:cubicBezTo>
                  <a:pt x="1017647" y="673884"/>
                  <a:pt x="1025048" y="691686"/>
                  <a:pt x="1025048" y="710689"/>
                </a:cubicBezTo>
                <a:cubicBezTo>
                  <a:pt x="1025048" y="729651"/>
                  <a:pt x="1017647" y="747453"/>
                  <a:pt x="1004246" y="760895"/>
                </a:cubicBezTo>
                <a:lnTo>
                  <a:pt x="760135" y="1005006"/>
                </a:lnTo>
                <a:cubicBezTo>
                  <a:pt x="745413" y="1019687"/>
                  <a:pt x="725931" y="1029249"/>
                  <a:pt x="705208" y="1031889"/>
                </a:cubicBezTo>
                <a:lnTo>
                  <a:pt x="417252" y="1067854"/>
                </a:lnTo>
                <a:lnTo>
                  <a:pt x="380568" y="1104698"/>
                </a:lnTo>
                <a:lnTo>
                  <a:pt x="360165" y="1084376"/>
                </a:lnTo>
                <a:lnTo>
                  <a:pt x="403851" y="1040490"/>
                </a:lnTo>
                <a:lnTo>
                  <a:pt x="701608" y="1003245"/>
                </a:lnTo>
                <a:cubicBezTo>
                  <a:pt x="715970" y="1001445"/>
                  <a:pt x="729531" y="994804"/>
                  <a:pt x="739732" y="984563"/>
                </a:cubicBezTo>
                <a:lnTo>
                  <a:pt x="983843" y="740453"/>
                </a:lnTo>
                <a:cubicBezTo>
                  <a:pt x="991804" y="732492"/>
                  <a:pt x="996245" y="721890"/>
                  <a:pt x="996245" y="710649"/>
                </a:cubicBezTo>
                <a:cubicBezTo>
                  <a:pt x="996245" y="699367"/>
                  <a:pt x="991884" y="688806"/>
                  <a:pt x="983883" y="680845"/>
                </a:cubicBezTo>
                <a:cubicBezTo>
                  <a:pt x="967921" y="664883"/>
                  <a:pt x="940198" y="664923"/>
                  <a:pt x="924236" y="680845"/>
                </a:cubicBezTo>
                <a:lnTo>
                  <a:pt x="670444" y="887111"/>
                </a:lnTo>
                <a:lnTo>
                  <a:pt x="670404" y="887071"/>
                </a:lnTo>
                <a:cubicBezTo>
                  <a:pt x="654162" y="900473"/>
                  <a:pt x="633279" y="908514"/>
                  <a:pt x="610636" y="908514"/>
                </a:cubicBezTo>
                <a:lnTo>
                  <a:pt x="410571" y="908514"/>
                </a:lnTo>
                <a:lnTo>
                  <a:pt x="410571" y="879670"/>
                </a:lnTo>
                <a:lnTo>
                  <a:pt x="610636" y="879670"/>
                </a:lnTo>
                <a:cubicBezTo>
                  <a:pt x="646761" y="879670"/>
                  <a:pt x="676165" y="850266"/>
                  <a:pt x="676165" y="814102"/>
                </a:cubicBezTo>
                <a:cubicBezTo>
                  <a:pt x="676165" y="799940"/>
                  <a:pt x="664683" y="788459"/>
                  <a:pt x="650561" y="788459"/>
                </a:cubicBezTo>
                <a:lnTo>
                  <a:pt x="340603" y="788459"/>
                </a:lnTo>
                <a:lnTo>
                  <a:pt x="340603" y="788579"/>
                </a:lnTo>
                <a:close/>
                <a:moveTo>
                  <a:pt x="730291" y="588874"/>
                </a:moveTo>
                <a:lnTo>
                  <a:pt x="330241" y="588874"/>
                </a:lnTo>
                <a:lnTo>
                  <a:pt x="330241" y="560070"/>
                </a:lnTo>
                <a:lnTo>
                  <a:pt x="730291" y="560070"/>
                </a:lnTo>
                <a:lnTo>
                  <a:pt x="730291" y="588874"/>
                </a:lnTo>
                <a:close/>
                <a:moveTo>
                  <a:pt x="824703" y="494462"/>
                </a:moveTo>
                <a:lnTo>
                  <a:pt x="795899" y="494462"/>
                </a:lnTo>
                <a:lnTo>
                  <a:pt x="795899" y="94412"/>
                </a:lnTo>
                <a:lnTo>
                  <a:pt x="824743" y="94412"/>
                </a:lnTo>
                <a:lnTo>
                  <a:pt x="824703" y="494462"/>
                </a:lnTo>
                <a:lnTo>
                  <a:pt x="824703" y="494462"/>
                </a:lnTo>
                <a:close/>
                <a:moveTo>
                  <a:pt x="264633" y="494462"/>
                </a:moveTo>
                <a:lnTo>
                  <a:pt x="235830" y="494462"/>
                </a:lnTo>
                <a:lnTo>
                  <a:pt x="235830" y="94412"/>
                </a:lnTo>
                <a:lnTo>
                  <a:pt x="264633" y="94412"/>
                </a:lnTo>
                <a:cubicBezTo>
                  <a:pt x="264633" y="94412"/>
                  <a:pt x="264633" y="494462"/>
                  <a:pt x="264633" y="494462"/>
                </a:cubicBezTo>
                <a:close/>
                <a:moveTo>
                  <a:pt x="730291" y="28804"/>
                </a:moveTo>
                <a:lnTo>
                  <a:pt x="330241" y="28804"/>
                </a:lnTo>
                <a:lnTo>
                  <a:pt x="330241" y="0"/>
                </a:lnTo>
                <a:lnTo>
                  <a:pt x="730291" y="0"/>
                </a:lnTo>
                <a:lnTo>
                  <a:pt x="730291" y="28804"/>
                </a:lnTo>
                <a:close/>
              </a:path>
            </a:pathLst>
          </a:custGeom>
          <a:solidFill>
            <a:schemeClr val="accent1"/>
          </a:solidFill>
          <a:ln w="3988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B319217-4708-79F5-E7C3-9B6199757202}"/>
              </a:ext>
            </a:extLst>
          </p:cNvPr>
          <p:cNvSpPr/>
          <p:nvPr/>
        </p:nvSpPr>
        <p:spPr>
          <a:xfrm>
            <a:off x="12829108" y="616077"/>
            <a:ext cx="1148943" cy="1214551"/>
          </a:xfrm>
          <a:custGeom>
            <a:avLst/>
            <a:gdLst>
              <a:gd name="connsiteX0" fmla="*/ 1134542 w 1148943"/>
              <a:gd name="connsiteY0" fmla="*/ 1214552 h 1214551"/>
              <a:gd name="connsiteX1" fmla="*/ 14402 w 1148943"/>
              <a:gd name="connsiteY1" fmla="*/ 1214552 h 1214551"/>
              <a:gd name="connsiteX2" fmla="*/ 0 w 1148943"/>
              <a:gd name="connsiteY2" fmla="*/ 1200150 h 1214551"/>
              <a:gd name="connsiteX3" fmla="*/ 0 w 1148943"/>
              <a:gd name="connsiteY3" fmla="*/ 120015 h 1214551"/>
              <a:gd name="connsiteX4" fmla="*/ 14402 w 1148943"/>
              <a:gd name="connsiteY4" fmla="*/ 105613 h 1214551"/>
              <a:gd name="connsiteX5" fmla="*/ 240030 w 1148943"/>
              <a:gd name="connsiteY5" fmla="*/ 105613 h 1214551"/>
              <a:gd name="connsiteX6" fmla="*/ 240030 w 1148943"/>
              <a:gd name="connsiteY6" fmla="*/ 0 h 1214551"/>
              <a:gd name="connsiteX7" fmla="*/ 268834 w 1148943"/>
              <a:gd name="connsiteY7" fmla="*/ 0 h 1214551"/>
              <a:gd name="connsiteX8" fmla="*/ 268834 w 1148943"/>
              <a:gd name="connsiteY8" fmla="*/ 105613 h 1214551"/>
              <a:gd name="connsiteX9" fmla="*/ 560070 w 1148943"/>
              <a:gd name="connsiteY9" fmla="*/ 105613 h 1214551"/>
              <a:gd name="connsiteX10" fmla="*/ 560070 w 1148943"/>
              <a:gd name="connsiteY10" fmla="*/ 0 h 1214551"/>
              <a:gd name="connsiteX11" fmla="*/ 588874 w 1148943"/>
              <a:gd name="connsiteY11" fmla="*/ 0 h 1214551"/>
              <a:gd name="connsiteX12" fmla="*/ 588874 w 1148943"/>
              <a:gd name="connsiteY12" fmla="*/ 105613 h 1214551"/>
              <a:gd name="connsiteX13" fmla="*/ 880110 w 1148943"/>
              <a:gd name="connsiteY13" fmla="*/ 105613 h 1214551"/>
              <a:gd name="connsiteX14" fmla="*/ 880110 w 1148943"/>
              <a:gd name="connsiteY14" fmla="*/ 0 h 1214551"/>
              <a:gd name="connsiteX15" fmla="*/ 908954 w 1148943"/>
              <a:gd name="connsiteY15" fmla="*/ 0 h 1214551"/>
              <a:gd name="connsiteX16" fmla="*/ 908954 w 1148943"/>
              <a:gd name="connsiteY16" fmla="*/ 105613 h 1214551"/>
              <a:gd name="connsiteX17" fmla="*/ 1134542 w 1148943"/>
              <a:gd name="connsiteY17" fmla="*/ 105613 h 1214551"/>
              <a:gd name="connsiteX18" fmla="*/ 1148944 w 1148943"/>
              <a:gd name="connsiteY18" fmla="*/ 120015 h 1214551"/>
              <a:gd name="connsiteX19" fmla="*/ 1148944 w 1148943"/>
              <a:gd name="connsiteY19" fmla="*/ 1200150 h 1214551"/>
              <a:gd name="connsiteX20" fmla="*/ 1134542 w 1148943"/>
              <a:gd name="connsiteY20" fmla="*/ 1214552 h 1214551"/>
              <a:gd name="connsiteX21" fmla="*/ 28804 w 1148943"/>
              <a:gd name="connsiteY21" fmla="*/ 1185748 h 1214551"/>
              <a:gd name="connsiteX22" fmla="*/ 1120140 w 1148943"/>
              <a:gd name="connsiteY22" fmla="*/ 1185748 h 1214551"/>
              <a:gd name="connsiteX23" fmla="*/ 1120140 w 1148943"/>
              <a:gd name="connsiteY23" fmla="*/ 134417 h 1214551"/>
              <a:gd name="connsiteX24" fmla="*/ 908914 w 1148943"/>
              <a:gd name="connsiteY24" fmla="*/ 134417 h 1214551"/>
              <a:gd name="connsiteX25" fmla="*/ 908914 w 1148943"/>
              <a:gd name="connsiteY25" fmla="*/ 240030 h 1214551"/>
              <a:gd name="connsiteX26" fmla="*/ 880110 w 1148943"/>
              <a:gd name="connsiteY26" fmla="*/ 240030 h 1214551"/>
              <a:gd name="connsiteX27" fmla="*/ 880110 w 1148943"/>
              <a:gd name="connsiteY27" fmla="*/ 134417 h 1214551"/>
              <a:gd name="connsiteX28" fmla="*/ 588874 w 1148943"/>
              <a:gd name="connsiteY28" fmla="*/ 134417 h 1214551"/>
              <a:gd name="connsiteX29" fmla="*/ 588874 w 1148943"/>
              <a:gd name="connsiteY29" fmla="*/ 240030 h 1214551"/>
              <a:gd name="connsiteX30" fmla="*/ 560070 w 1148943"/>
              <a:gd name="connsiteY30" fmla="*/ 240030 h 1214551"/>
              <a:gd name="connsiteX31" fmla="*/ 560070 w 1148943"/>
              <a:gd name="connsiteY31" fmla="*/ 134417 h 1214551"/>
              <a:gd name="connsiteX32" fmla="*/ 268834 w 1148943"/>
              <a:gd name="connsiteY32" fmla="*/ 134417 h 1214551"/>
              <a:gd name="connsiteX33" fmla="*/ 268834 w 1148943"/>
              <a:gd name="connsiteY33" fmla="*/ 240030 h 1214551"/>
              <a:gd name="connsiteX34" fmla="*/ 240030 w 1148943"/>
              <a:gd name="connsiteY34" fmla="*/ 240030 h 1214551"/>
              <a:gd name="connsiteX35" fmla="*/ 240030 w 1148943"/>
              <a:gd name="connsiteY35" fmla="*/ 134417 h 1214551"/>
              <a:gd name="connsiteX36" fmla="*/ 28804 w 1148943"/>
              <a:gd name="connsiteY36" fmla="*/ 134417 h 1214551"/>
              <a:gd name="connsiteX37" fmla="*/ 28804 w 1148943"/>
              <a:gd name="connsiteY37" fmla="*/ 1185748 h 1214551"/>
              <a:gd name="connsiteX38" fmla="*/ 934517 w 1148943"/>
              <a:gd name="connsiteY38" fmla="*/ 1054532 h 1214551"/>
              <a:gd name="connsiteX39" fmla="*/ 854507 w 1148943"/>
              <a:gd name="connsiteY39" fmla="*/ 1054532 h 1214551"/>
              <a:gd name="connsiteX40" fmla="*/ 840105 w 1148943"/>
              <a:gd name="connsiteY40" fmla="*/ 1040130 h 1214551"/>
              <a:gd name="connsiteX41" fmla="*/ 840105 w 1148943"/>
              <a:gd name="connsiteY41" fmla="*/ 960120 h 1214551"/>
              <a:gd name="connsiteX42" fmla="*/ 854507 w 1148943"/>
              <a:gd name="connsiteY42" fmla="*/ 945718 h 1214551"/>
              <a:gd name="connsiteX43" fmla="*/ 934517 w 1148943"/>
              <a:gd name="connsiteY43" fmla="*/ 945718 h 1214551"/>
              <a:gd name="connsiteX44" fmla="*/ 948919 w 1148943"/>
              <a:gd name="connsiteY44" fmla="*/ 960120 h 1214551"/>
              <a:gd name="connsiteX45" fmla="*/ 948919 w 1148943"/>
              <a:gd name="connsiteY45" fmla="*/ 1040130 h 1214551"/>
              <a:gd name="connsiteX46" fmla="*/ 934517 w 1148943"/>
              <a:gd name="connsiteY46" fmla="*/ 1054532 h 1214551"/>
              <a:gd name="connsiteX47" fmla="*/ 868909 w 1148943"/>
              <a:gd name="connsiteY47" fmla="*/ 1025728 h 1214551"/>
              <a:gd name="connsiteX48" fmla="*/ 920075 w 1148943"/>
              <a:gd name="connsiteY48" fmla="*/ 1025728 h 1214551"/>
              <a:gd name="connsiteX49" fmla="*/ 920075 w 1148943"/>
              <a:gd name="connsiteY49" fmla="*/ 974522 h 1214551"/>
              <a:gd name="connsiteX50" fmla="*/ 868909 w 1148943"/>
              <a:gd name="connsiteY50" fmla="*/ 974522 h 1214551"/>
              <a:gd name="connsiteX51" fmla="*/ 868909 w 1148943"/>
              <a:gd name="connsiteY51" fmla="*/ 1025728 h 1214551"/>
              <a:gd name="connsiteX52" fmla="*/ 614477 w 1148943"/>
              <a:gd name="connsiteY52" fmla="*/ 1054532 h 1214551"/>
              <a:gd name="connsiteX53" fmla="*/ 534467 w 1148943"/>
              <a:gd name="connsiteY53" fmla="*/ 1054532 h 1214551"/>
              <a:gd name="connsiteX54" fmla="*/ 520065 w 1148943"/>
              <a:gd name="connsiteY54" fmla="*/ 1040130 h 1214551"/>
              <a:gd name="connsiteX55" fmla="*/ 520065 w 1148943"/>
              <a:gd name="connsiteY55" fmla="*/ 960120 h 1214551"/>
              <a:gd name="connsiteX56" fmla="*/ 534467 w 1148943"/>
              <a:gd name="connsiteY56" fmla="*/ 945718 h 1214551"/>
              <a:gd name="connsiteX57" fmla="*/ 614477 w 1148943"/>
              <a:gd name="connsiteY57" fmla="*/ 945718 h 1214551"/>
              <a:gd name="connsiteX58" fmla="*/ 628879 w 1148943"/>
              <a:gd name="connsiteY58" fmla="*/ 960120 h 1214551"/>
              <a:gd name="connsiteX59" fmla="*/ 628879 w 1148943"/>
              <a:gd name="connsiteY59" fmla="*/ 1040130 h 1214551"/>
              <a:gd name="connsiteX60" fmla="*/ 614477 w 1148943"/>
              <a:gd name="connsiteY60" fmla="*/ 1054532 h 1214551"/>
              <a:gd name="connsiteX61" fmla="*/ 548869 w 1148943"/>
              <a:gd name="connsiteY61" fmla="*/ 1025728 h 1214551"/>
              <a:gd name="connsiteX62" fmla="*/ 600075 w 1148943"/>
              <a:gd name="connsiteY62" fmla="*/ 1025728 h 1214551"/>
              <a:gd name="connsiteX63" fmla="*/ 600075 w 1148943"/>
              <a:gd name="connsiteY63" fmla="*/ 974522 h 1214551"/>
              <a:gd name="connsiteX64" fmla="*/ 548869 w 1148943"/>
              <a:gd name="connsiteY64" fmla="*/ 974522 h 1214551"/>
              <a:gd name="connsiteX65" fmla="*/ 548869 w 1148943"/>
              <a:gd name="connsiteY65" fmla="*/ 1025728 h 1214551"/>
              <a:gd name="connsiteX66" fmla="*/ 294437 w 1148943"/>
              <a:gd name="connsiteY66" fmla="*/ 1054532 h 1214551"/>
              <a:gd name="connsiteX67" fmla="*/ 214427 w 1148943"/>
              <a:gd name="connsiteY67" fmla="*/ 1054532 h 1214551"/>
              <a:gd name="connsiteX68" fmla="*/ 200025 w 1148943"/>
              <a:gd name="connsiteY68" fmla="*/ 1040130 h 1214551"/>
              <a:gd name="connsiteX69" fmla="*/ 200025 w 1148943"/>
              <a:gd name="connsiteY69" fmla="*/ 960120 h 1214551"/>
              <a:gd name="connsiteX70" fmla="*/ 214427 w 1148943"/>
              <a:gd name="connsiteY70" fmla="*/ 945718 h 1214551"/>
              <a:gd name="connsiteX71" fmla="*/ 294437 w 1148943"/>
              <a:gd name="connsiteY71" fmla="*/ 945718 h 1214551"/>
              <a:gd name="connsiteX72" fmla="*/ 308839 w 1148943"/>
              <a:gd name="connsiteY72" fmla="*/ 960120 h 1214551"/>
              <a:gd name="connsiteX73" fmla="*/ 308839 w 1148943"/>
              <a:gd name="connsiteY73" fmla="*/ 1040130 h 1214551"/>
              <a:gd name="connsiteX74" fmla="*/ 294437 w 1148943"/>
              <a:gd name="connsiteY74" fmla="*/ 1054532 h 1214551"/>
              <a:gd name="connsiteX75" fmla="*/ 228829 w 1148943"/>
              <a:gd name="connsiteY75" fmla="*/ 1025728 h 1214551"/>
              <a:gd name="connsiteX76" fmla="*/ 280035 w 1148943"/>
              <a:gd name="connsiteY76" fmla="*/ 1025728 h 1214551"/>
              <a:gd name="connsiteX77" fmla="*/ 280035 w 1148943"/>
              <a:gd name="connsiteY77" fmla="*/ 974522 h 1214551"/>
              <a:gd name="connsiteX78" fmla="*/ 228829 w 1148943"/>
              <a:gd name="connsiteY78" fmla="*/ 974522 h 1214551"/>
              <a:gd name="connsiteX79" fmla="*/ 228829 w 1148943"/>
              <a:gd name="connsiteY79" fmla="*/ 1025728 h 1214551"/>
              <a:gd name="connsiteX80" fmla="*/ 934517 w 1148943"/>
              <a:gd name="connsiteY80" fmla="*/ 774497 h 1214551"/>
              <a:gd name="connsiteX81" fmla="*/ 854507 w 1148943"/>
              <a:gd name="connsiteY81" fmla="*/ 774497 h 1214551"/>
              <a:gd name="connsiteX82" fmla="*/ 840105 w 1148943"/>
              <a:gd name="connsiteY82" fmla="*/ 760095 h 1214551"/>
              <a:gd name="connsiteX83" fmla="*/ 840105 w 1148943"/>
              <a:gd name="connsiteY83" fmla="*/ 680085 h 1214551"/>
              <a:gd name="connsiteX84" fmla="*/ 854507 w 1148943"/>
              <a:gd name="connsiteY84" fmla="*/ 665683 h 1214551"/>
              <a:gd name="connsiteX85" fmla="*/ 934517 w 1148943"/>
              <a:gd name="connsiteY85" fmla="*/ 665683 h 1214551"/>
              <a:gd name="connsiteX86" fmla="*/ 948919 w 1148943"/>
              <a:gd name="connsiteY86" fmla="*/ 680085 h 1214551"/>
              <a:gd name="connsiteX87" fmla="*/ 948919 w 1148943"/>
              <a:gd name="connsiteY87" fmla="*/ 760095 h 1214551"/>
              <a:gd name="connsiteX88" fmla="*/ 934517 w 1148943"/>
              <a:gd name="connsiteY88" fmla="*/ 774497 h 1214551"/>
              <a:gd name="connsiteX89" fmla="*/ 868909 w 1148943"/>
              <a:gd name="connsiteY89" fmla="*/ 745693 h 1214551"/>
              <a:gd name="connsiteX90" fmla="*/ 920075 w 1148943"/>
              <a:gd name="connsiteY90" fmla="*/ 745693 h 1214551"/>
              <a:gd name="connsiteX91" fmla="*/ 920075 w 1148943"/>
              <a:gd name="connsiteY91" fmla="*/ 694487 h 1214551"/>
              <a:gd name="connsiteX92" fmla="*/ 868909 w 1148943"/>
              <a:gd name="connsiteY92" fmla="*/ 694487 h 1214551"/>
              <a:gd name="connsiteX93" fmla="*/ 868909 w 1148943"/>
              <a:gd name="connsiteY93" fmla="*/ 745693 h 1214551"/>
              <a:gd name="connsiteX94" fmla="*/ 614477 w 1148943"/>
              <a:gd name="connsiteY94" fmla="*/ 774497 h 1214551"/>
              <a:gd name="connsiteX95" fmla="*/ 534467 w 1148943"/>
              <a:gd name="connsiteY95" fmla="*/ 774497 h 1214551"/>
              <a:gd name="connsiteX96" fmla="*/ 520065 w 1148943"/>
              <a:gd name="connsiteY96" fmla="*/ 760095 h 1214551"/>
              <a:gd name="connsiteX97" fmla="*/ 520065 w 1148943"/>
              <a:gd name="connsiteY97" fmla="*/ 680085 h 1214551"/>
              <a:gd name="connsiteX98" fmla="*/ 534467 w 1148943"/>
              <a:gd name="connsiteY98" fmla="*/ 665683 h 1214551"/>
              <a:gd name="connsiteX99" fmla="*/ 614477 w 1148943"/>
              <a:gd name="connsiteY99" fmla="*/ 665683 h 1214551"/>
              <a:gd name="connsiteX100" fmla="*/ 628879 w 1148943"/>
              <a:gd name="connsiteY100" fmla="*/ 680085 h 1214551"/>
              <a:gd name="connsiteX101" fmla="*/ 628879 w 1148943"/>
              <a:gd name="connsiteY101" fmla="*/ 760095 h 1214551"/>
              <a:gd name="connsiteX102" fmla="*/ 614477 w 1148943"/>
              <a:gd name="connsiteY102" fmla="*/ 774497 h 1214551"/>
              <a:gd name="connsiteX103" fmla="*/ 548869 w 1148943"/>
              <a:gd name="connsiteY103" fmla="*/ 745693 h 1214551"/>
              <a:gd name="connsiteX104" fmla="*/ 600075 w 1148943"/>
              <a:gd name="connsiteY104" fmla="*/ 745693 h 1214551"/>
              <a:gd name="connsiteX105" fmla="*/ 600075 w 1148943"/>
              <a:gd name="connsiteY105" fmla="*/ 694487 h 1214551"/>
              <a:gd name="connsiteX106" fmla="*/ 548869 w 1148943"/>
              <a:gd name="connsiteY106" fmla="*/ 694487 h 1214551"/>
              <a:gd name="connsiteX107" fmla="*/ 548869 w 1148943"/>
              <a:gd name="connsiteY107" fmla="*/ 745693 h 1214551"/>
              <a:gd name="connsiteX108" fmla="*/ 294437 w 1148943"/>
              <a:gd name="connsiteY108" fmla="*/ 774497 h 1214551"/>
              <a:gd name="connsiteX109" fmla="*/ 214427 w 1148943"/>
              <a:gd name="connsiteY109" fmla="*/ 774497 h 1214551"/>
              <a:gd name="connsiteX110" fmla="*/ 200025 w 1148943"/>
              <a:gd name="connsiteY110" fmla="*/ 760095 h 1214551"/>
              <a:gd name="connsiteX111" fmla="*/ 200025 w 1148943"/>
              <a:gd name="connsiteY111" fmla="*/ 680085 h 1214551"/>
              <a:gd name="connsiteX112" fmla="*/ 214427 w 1148943"/>
              <a:gd name="connsiteY112" fmla="*/ 665683 h 1214551"/>
              <a:gd name="connsiteX113" fmla="*/ 294437 w 1148943"/>
              <a:gd name="connsiteY113" fmla="*/ 665683 h 1214551"/>
              <a:gd name="connsiteX114" fmla="*/ 308839 w 1148943"/>
              <a:gd name="connsiteY114" fmla="*/ 680085 h 1214551"/>
              <a:gd name="connsiteX115" fmla="*/ 308839 w 1148943"/>
              <a:gd name="connsiteY115" fmla="*/ 760095 h 1214551"/>
              <a:gd name="connsiteX116" fmla="*/ 294437 w 1148943"/>
              <a:gd name="connsiteY116" fmla="*/ 774497 h 1214551"/>
              <a:gd name="connsiteX117" fmla="*/ 228829 w 1148943"/>
              <a:gd name="connsiteY117" fmla="*/ 745693 h 1214551"/>
              <a:gd name="connsiteX118" fmla="*/ 280035 w 1148943"/>
              <a:gd name="connsiteY118" fmla="*/ 745693 h 1214551"/>
              <a:gd name="connsiteX119" fmla="*/ 280035 w 1148943"/>
              <a:gd name="connsiteY119" fmla="*/ 694487 h 1214551"/>
              <a:gd name="connsiteX120" fmla="*/ 228829 w 1148943"/>
              <a:gd name="connsiteY120" fmla="*/ 694487 h 1214551"/>
              <a:gd name="connsiteX121" fmla="*/ 228829 w 1148943"/>
              <a:gd name="connsiteY121" fmla="*/ 745693 h 1214551"/>
              <a:gd name="connsiteX122" fmla="*/ 934517 w 1148943"/>
              <a:gd name="connsiteY122" fmla="*/ 494462 h 1214551"/>
              <a:gd name="connsiteX123" fmla="*/ 854507 w 1148943"/>
              <a:gd name="connsiteY123" fmla="*/ 494462 h 1214551"/>
              <a:gd name="connsiteX124" fmla="*/ 840105 w 1148943"/>
              <a:gd name="connsiteY124" fmla="*/ 480060 h 1214551"/>
              <a:gd name="connsiteX125" fmla="*/ 840105 w 1148943"/>
              <a:gd name="connsiteY125" fmla="*/ 400050 h 1214551"/>
              <a:gd name="connsiteX126" fmla="*/ 854507 w 1148943"/>
              <a:gd name="connsiteY126" fmla="*/ 385648 h 1214551"/>
              <a:gd name="connsiteX127" fmla="*/ 934517 w 1148943"/>
              <a:gd name="connsiteY127" fmla="*/ 385648 h 1214551"/>
              <a:gd name="connsiteX128" fmla="*/ 948919 w 1148943"/>
              <a:gd name="connsiteY128" fmla="*/ 400050 h 1214551"/>
              <a:gd name="connsiteX129" fmla="*/ 948919 w 1148943"/>
              <a:gd name="connsiteY129" fmla="*/ 480060 h 1214551"/>
              <a:gd name="connsiteX130" fmla="*/ 934517 w 1148943"/>
              <a:gd name="connsiteY130" fmla="*/ 494462 h 1214551"/>
              <a:gd name="connsiteX131" fmla="*/ 868909 w 1148943"/>
              <a:gd name="connsiteY131" fmla="*/ 465658 h 1214551"/>
              <a:gd name="connsiteX132" fmla="*/ 920075 w 1148943"/>
              <a:gd name="connsiteY132" fmla="*/ 465658 h 1214551"/>
              <a:gd name="connsiteX133" fmla="*/ 920075 w 1148943"/>
              <a:gd name="connsiteY133" fmla="*/ 414452 h 1214551"/>
              <a:gd name="connsiteX134" fmla="*/ 868909 w 1148943"/>
              <a:gd name="connsiteY134" fmla="*/ 414452 h 1214551"/>
              <a:gd name="connsiteX135" fmla="*/ 868909 w 1148943"/>
              <a:gd name="connsiteY135" fmla="*/ 465658 h 1214551"/>
              <a:gd name="connsiteX136" fmla="*/ 614477 w 1148943"/>
              <a:gd name="connsiteY136" fmla="*/ 494462 h 1214551"/>
              <a:gd name="connsiteX137" fmla="*/ 534467 w 1148943"/>
              <a:gd name="connsiteY137" fmla="*/ 494462 h 1214551"/>
              <a:gd name="connsiteX138" fmla="*/ 520065 w 1148943"/>
              <a:gd name="connsiteY138" fmla="*/ 480060 h 1214551"/>
              <a:gd name="connsiteX139" fmla="*/ 520065 w 1148943"/>
              <a:gd name="connsiteY139" fmla="*/ 400050 h 1214551"/>
              <a:gd name="connsiteX140" fmla="*/ 534467 w 1148943"/>
              <a:gd name="connsiteY140" fmla="*/ 385648 h 1214551"/>
              <a:gd name="connsiteX141" fmla="*/ 614477 w 1148943"/>
              <a:gd name="connsiteY141" fmla="*/ 385648 h 1214551"/>
              <a:gd name="connsiteX142" fmla="*/ 628879 w 1148943"/>
              <a:gd name="connsiteY142" fmla="*/ 400050 h 1214551"/>
              <a:gd name="connsiteX143" fmla="*/ 628879 w 1148943"/>
              <a:gd name="connsiteY143" fmla="*/ 480060 h 1214551"/>
              <a:gd name="connsiteX144" fmla="*/ 614477 w 1148943"/>
              <a:gd name="connsiteY144" fmla="*/ 494462 h 1214551"/>
              <a:gd name="connsiteX145" fmla="*/ 548869 w 1148943"/>
              <a:gd name="connsiteY145" fmla="*/ 465658 h 1214551"/>
              <a:gd name="connsiteX146" fmla="*/ 600075 w 1148943"/>
              <a:gd name="connsiteY146" fmla="*/ 465658 h 1214551"/>
              <a:gd name="connsiteX147" fmla="*/ 600075 w 1148943"/>
              <a:gd name="connsiteY147" fmla="*/ 414452 h 1214551"/>
              <a:gd name="connsiteX148" fmla="*/ 548869 w 1148943"/>
              <a:gd name="connsiteY148" fmla="*/ 414452 h 1214551"/>
              <a:gd name="connsiteX149" fmla="*/ 548869 w 1148943"/>
              <a:gd name="connsiteY149" fmla="*/ 465658 h 1214551"/>
              <a:gd name="connsiteX150" fmla="*/ 294437 w 1148943"/>
              <a:gd name="connsiteY150" fmla="*/ 494462 h 1214551"/>
              <a:gd name="connsiteX151" fmla="*/ 214427 w 1148943"/>
              <a:gd name="connsiteY151" fmla="*/ 494462 h 1214551"/>
              <a:gd name="connsiteX152" fmla="*/ 200025 w 1148943"/>
              <a:gd name="connsiteY152" fmla="*/ 480060 h 1214551"/>
              <a:gd name="connsiteX153" fmla="*/ 200025 w 1148943"/>
              <a:gd name="connsiteY153" fmla="*/ 400050 h 1214551"/>
              <a:gd name="connsiteX154" fmla="*/ 214427 w 1148943"/>
              <a:gd name="connsiteY154" fmla="*/ 385648 h 1214551"/>
              <a:gd name="connsiteX155" fmla="*/ 294437 w 1148943"/>
              <a:gd name="connsiteY155" fmla="*/ 385648 h 1214551"/>
              <a:gd name="connsiteX156" fmla="*/ 308839 w 1148943"/>
              <a:gd name="connsiteY156" fmla="*/ 400050 h 1214551"/>
              <a:gd name="connsiteX157" fmla="*/ 308839 w 1148943"/>
              <a:gd name="connsiteY157" fmla="*/ 480060 h 1214551"/>
              <a:gd name="connsiteX158" fmla="*/ 294437 w 1148943"/>
              <a:gd name="connsiteY158" fmla="*/ 494462 h 1214551"/>
              <a:gd name="connsiteX159" fmla="*/ 228829 w 1148943"/>
              <a:gd name="connsiteY159" fmla="*/ 465658 h 1214551"/>
              <a:gd name="connsiteX160" fmla="*/ 280035 w 1148943"/>
              <a:gd name="connsiteY160" fmla="*/ 465658 h 1214551"/>
              <a:gd name="connsiteX161" fmla="*/ 280035 w 1148943"/>
              <a:gd name="connsiteY161" fmla="*/ 414452 h 1214551"/>
              <a:gd name="connsiteX162" fmla="*/ 228829 w 1148943"/>
              <a:gd name="connsiteY162" fmla="*/ 414452 h 1214551"/>
              <a:gd name="connsiteX163" fmla="*/ 228829 w 1148943"/>
              <a:gd name="connsiteY163" fmla="*/ 465658 h 1214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48943" h="1214551">
                <a:moveTo>
                  <a:pt x="1134542" y="1214552"/>
                </a:moveTo>
                <a:lnTo>
                  <a:pt x="14402" y="1214552"/>
                </a:lnTo>
                <a:cubicBezTo>
                  <a:pt x="6441" y="1214552"/>
                  <a:pt x="0" y="1208111"/>
                  <a:pt x="0" y="1200150"/>
                </a:cubicBezTo>
                <a:lnTo>
                  <a:pt x="0" y="120015"/>
                </a:lnTo>
                <a:cubicBezTo>
                  <a:pt x="0" y="112054"/>
                  <a:pt x="6441" y="105613"/>
                  <a:pt x="14402" y="105613"/>
                </a:cubicBezTo>
                <a:lnTo>
                  <a:pt x="240030" y="105613"/>
                </a:lnTo>
                <a:lnTo>
                  <a:pt x="240030" y="0"/>
                </a:lnTo>
                <a:lnTo>
                  <a:pt x="268834" y="0"/>
                </a:lnTo>
                <a:lnTo>
                  <a:pt x="268834" y="105613"/>
                </a:lnTo>
                <a:lnTo>
                  <a:pt x="560070" y="105613"/>
                </a:lnTo>
                <a:lnTo>
                  <a:pt x="560070" y="0"/>
                </a:lnTo>
                <a:lnTo>
                  <a:pt x="588874" y="0"/>
                </a:lnTo>
                <a:lnTo>
                  <a:pt x="588874" y="105613"/>
                </a:lnTo>
                <a:lnTo>
                  <a:pt x="880110" y="105613"/>
                </a:lnTo>
                <a:lnTo>
                  <a:pt x="880110" y="0"/>
                </a:lnTo>
                <a:lnTo>
                  <a:pt x="908954" y="0"/>
                </a:lnTo>
                <a:lnTo>
                  <a:pt x="908954" y="105613"/>
                </a:lnTo>
                <a:lnTo>
                  <a:pt x="1134542" y="105613"/>
                </a:lnTo>
                <a:cubicBezTo>
                  <a:pt x="1142503" y="105613"/>
                  <a:pt x="1148944" y="112054"/>
                  <a:pt x="1148944" y="120015"/>
                </a:cubicBezTo>
                <a:lnTo>
                  <a:pt x="1148944" y="1200150"/>
                </a:lnTo>
                <a:cubicBezTo>
                  <a:pt x="1148944" y="1208111"/>
                  <a:pt x="1142503" y="1214552"/>
                  <a:pt x="1134542" y="1214552"/>
                </a:cubicBezTo>
                <a:close/>
                <a:moveTo>
                  <a:pt x="28804" y="1185748"/>
                </a:moveTo>
                <a:lnTo>
                  <a:pt x="1120140" y="1185748"/>
                </a:lnTo>
                <a:lnTo>
                  <a:pt x="1120140" y="134417"/>
                </a:lnTo>
                <a:lnTo>
                  <a:pt x="908914" y="134417"/>
                </a:lnTo>
                <a:lnTo>
                  <a:pt x="908914" y="240030"/>
                </a:lnTo>
                <a:lnTo>
                  <a:pt x="880110" y="240030"/>
                </a:lnTo>
                <a:lnTo>
                  <a:pt x="880110" y="134417"/>
                </a:lnTo>
                <a:lnTo>
                  <a:pt x="588874" y="134417"/>
                </a:lnTo>
                <a:lnTo>
                  <a:pt x="588874" y="240030"/>
                </a:lnTo>
                <a:lnTo>
                  <a:pt x="560070" y="240030"/>
                </a:lnTo>
                <a:lnTo>
                  <a:pt x="560070" y="134417"/>
                </a:lnTo>
                <a:lnTo>
                  <a:pt x="268834" y="134417"/>
                </a:lnTo>
                <a:lnTo>
                  <a:pt x="268834" y="240030"/>
                </a:lnTo>
                <a:lnTo>
                  <a:pt x="240030" y="240030"/>
                </a:lnTo>
                <a:lnTo>
                  <a:pt x="240030" y="134417"/>
                </a:lnTo>
                <a:lnTo>
                  <a:pt x="28804" y="134417"/>
                </a:lnTo>
                <a:lnTo>
                  <a:pt x="28804" y="1185748"/>
                </a:lnTo>
                <a:close/>
                <a:moveTo>
                  <a:pt x="934517" y="1054532"/>
                </a:moveTo>
                <a:lnTo>
                  <a:pt x="854507" y="1054532"/>
                </a:lnTo>
                <a:cubicBezTo>
                  <a:pt x="846546" y="1054532"/>
                  <a:pt x="840105" y="1048091"/>
                  <a:pt x="840105" y="1040130"/>
                </a:cubicBezTo>
                <a:lnTo>
                  <a:pt x="840105" y="960120"/>
                </a:lnTo>
                <a:cubicBezTo>
                  <a:pt x="840105" y="952159"/>
                  <a:pt x="846546" y="945718"/>
                  <a:pt x="854507" y="945718"/>
                </a:cubicBezTo>
                <a:lnTo>
                  <a:pt x="934517" y="945718"/>
                </a:lnTo>
                <a:cubicBezTo>
                  <a:pt x="942478" y="945718"/>
                  <a:pt x="948919" y="952159"/>
                  <a:pt x="948919" y="960120"/>
                </a:cubicBezTo>
                <a:lnTo>
                  <a:pt x="948919" y="1040130"/>
                </a:lnTo>
                <a:cubicBezTo>
                  <a:pt x="948919" y="1048091"/>
                  <a:pt x="942478" y="1054532"/>
                  <a:pt x="934517" y="1054532"/>
                </a:cubicBezTo>
                <a:close/>
                <a:moveTo>
                  <a:pt x="868909" y="1025728"/>
                </a:moveTo>
                <a:lnTo>
                  <a:pt x="920075" y="1025728"/>
                </a:lnTo>
                <a:lnTo>
                  <a:pt x="920075" y="974522"/>
                </a:lnTo>
                <a:lnTo>
                  <a:pt x="868909" y="974522"/>
                </a:lnTo>
                <a:lnTo>
                  <a:pt x="868909" y="1025728"/>
                </a:lnTo>
                <a:close/>
                <a:moveTo>
                  <a:pt x="614477" y="1054532"/>
                </a:moveTo>
                <a:lnTo>
                  <a:pt x="534467" y="1054532"/>
                </a:lnTo>
                <a:cubicBezTo>
                  <a:pt x="526506" y="1054532"/>
                  <a:pt x="520065" y="1048091"/>
                  <a:pt x="520065" y="1040130"/>
                </a:cubicBezTo>
                <a:lnTo>
                  <a:pt x="520065" y="960120"/>
                </a:lnTo>
                <a:cubicBezTo>
                  <a:pt x="520065" y="952159"/>
                  <a:pt x="526506" y="945718"/>
                  <a:pt x="534467" y="945718"/>
                </a:cubicBezTo>
                <a:lnTo>
                  <a:pt x="614477" y="945718"/>
                </a:lnTo>
                <a:cubicBezTo>
                  <a:pt x="622438" y="945718"/>
                  <a:pt x="628879" y="952159"/>
                  <a:pt x="628879" y="960120"/>
                </a:cubicBezTo>
                <a:lnTo>
                  <a:pt x="628879" y="1040130"/>
                </a:lnTo>
                <a:cubicBezTo>
                  <a:pt x="628879" y="1048091"/>
                  <a:pt x="622438" y="1054532"/>
                  <a:pt x="614477" y="1054532"/>
                </a:cubicBezTo>
                <a:close/>
                <a:moveTo>
                  <a:pt x="548869" y="1025728"/>
                </a:moveTo>
                <a:lnTo>
                  <a:pt x="600075" y="1025728"/>
                </a:lnTo>
                <a:lnTo>
                  <a:pt x="600075" y="974522"/>
                </a:lnTo>
                <a:lnTo>
                  <a:pt x="548869" y="974522"/>
                </a:lnTo>
                <a:lnTo>
                  <a:pt x="548869" y="1025728"/>
                </a:lnTo>
                <a:close/>
                <a:moveTo>
                  <a:pt x="294437" y="1054532"/>
                </a:moveTo>
                <a:lnTo>
                  <a:pt x="214427" y="1054532"/>
                </a:lnTo>
                <a:cubicBezTo>
                  <a:pt x="206466" y="1054532"/>
                  <a:pt x="200025" y="1048091"/>
                  <a:pt x="200025" y="1040130"/>
                </a:cubicBezTo>
                <a:lnTo>
                  <a:pt x="200025" y="960120"/>
                </a:lnTo>
                <a:cubicBezTo>
                  <a:pt x="200025" y="952159"/>
                  <a:pt x="206466" y="945718"/>
                  <a:pt x="214427" y="945718"/>
                </a:cubicBezTo>
                <a:lnTo>
                  <a:pt x="294437" y="945718"/>
                </a:lnTo>
                <a:cubicBezTo>
                  <a:pt x="302398" y="945718"/>
                  <a:pt x="308839" y="952159"/>
                  <a:pt x="308839" y="960120"/>
                </a:cubicBezTo>
                <a:lnTo>
                  <a:pt x="308839" y="1040130"/>
                </a:lnTo>
                <a:cubicBezTo>
                  <a:pt x="308839" y="1048091"/>
                  <a:pt x="302398" y="1054532"/>
                  <a:pt x="294437" y="1054532"/>
                </a:cubicBezTo>
                <a:close/>
                <a:moveTo>
                  <a:pt x="228829" y="1025728"/>
                </a:moveTo>
                <a:lnTo>
                  <a:pt x="280035" y="1025728"/>
                </a:lnTo>
                <a:lnTo>
                  <a:pt x="280035" y="974522"/>
                </a:lnTo>
                <a:lnTo>
                  <a:pt x="228829" y="974522"/>
                </a:lnTo>
                <a:lnTo>
                  <a:pt x="228829" y="1025728"/>
                </a:lnTo>
                <a:close/>
                <a:moveTo>
                  <a:pt x="934517" y="774497"/>
                </a:moveTo>
                <a:lnTo>
                  <a:pt x="854507" y="774497"/>
                </a:lnTo>
                <a:cubicBezTo>
                  <a:pt x="846546" y="774497"/>
                  <a:pt x="840105" y="768056"/>
                  <a:pt x="840105" y="760095"/>
                </a:cubicBezTo>
                <a:lnTo>
                  <a:pt x="840105" y="680085"/>
                </a:lnTo>
                <a:cubicBezTo>
                  <a:pt x="840105" y="672124"/>
                  <a:pt x="846546" y="665683"/>
                  <a:pt x="854507" y="665683"/>
                </a:cubicBezTo>
                <a:lnTo>
                  <a:pt x="934517" y="665683"/>
                </a:lnTo>
                <a:cubicBezTo>
                  <a:pt x="942478" y="665683"/>
                  <a:pt x="948919" y="672124"/>
                  <a:pt x="948919" y="680085"/>
                </a:cubicBezTo>
                <a:lnTo>
                  <a:pt x="948919" y="760095"/>
                </a:lnTo>
                <a:cubicBezTo>
                  <a:pt x="948919" y="768056"/>
                  <a:pt x="942478" y="774497"/>
                  <a:pt x="934517" y="774497"/>
                </a:cubicBezTo>
                <a:close/>
                <a:moveTo>
                  <a:pt x="868909" y="745693"/>
                </a:moveTo>
                <a:lnTo>
                  <a:pt x="920075" y="745693"/>
                </a:lnTo>
                <a:lnTo>
                  <a:pt x="920075" y="694487"/>
                </a:lnTo>
                <a:lnTo>
                  <a:pt x="868909" y="694487"/>
                </a:lnTo>
                <a:lnTo>
                  <a:pt x="868909" y="745693"/>
                </a:lnTo>
                <a:close/>
                <a:moveTo>
                  <a:pt x="614477" y="774497"/>
                </a:moveTo>
                <a:lnTo>
                  <a:pt x="534467" y="774497"/>
                </a:lnTo>
                <a:cubicBezTo>
                  <a:pt x="526506" y="774497"/>
                  <a:pt x="520065" y="768056"/>
                  <a:pt x="520065" y="760095"/>
                </a:cubicBezTo>
                <a:lnTo>
                  <a:pt x="520065" y="680085"/>
                </a:lnTo>
                <a:cubicBezTo>
                  <a:pt x="520065" y="672124"/>
                  <a:pt x="526506" y="665683"/>
                  <a:pt x="534467" y="665683"/>
                </a:cubicBezTo>
                <a:lnTo>
                  <a:pt x="614477" y="665683"/>
                </a:lnTo>
                <a:cubicBezTo>
                  <a:pt x="622438" y="665683"/>
                  <a:pt x="628879" y="672124"/>
                  <a:pt x="628879" y="680085"/>
                </a:cubicBezTo>
                <a:lnTo>
                  <a:pt x="628879" y="760095"/>
                </a:lnTo>
                <a:cubicBezTo>
                  <a:pt x="628879" y="768056"/>
                  <a:pt x="622438" y="774497"/>
                  <a:pt x="614477" y="774497"/>
                </a:cubicBezTo>
                <a:close/>
                <a:moveTo>
                  <a:pt x="548869" y="745693"/>
                </a:moveTo>
                <a:lnTo>
                  <a:pt x="600075" y="745693"/>
                </a:lnTo>
                <a:lnTo>
                  <a:pt x="600075" y="694487"/>
                </a:lnTo>
                <a:lnTo>
                  <a:pt x="548869" y="694487"/>
                </a:lnTo>
                <a:lnTo>
                  <a:pt x="548869" y="745693"/>
                </a:lnTo>
                <a:close/>
                <a:moveTo>
                  <a:pt x="294437" y="774497"/>
                </a:moveTo>
                <a:lnTo>
                  <a:pt x="214427" y="774497"/>
                </a:lnTo>
                <a:cubicBezTo>
                  <a:pt x="206466" y="774497"/>
                  <a:pt x="200025" y="768056"/>
                  <a:pt x="200025" y="760095"/>
                </a:cubicBezTo>
                <a:lnTo>
                  <a:pt x="200025" y="680085"/>
                </a:lnTo>
                <a:cubicBezTo>
                  <a:pt x="200025" y="672124"/>
                  <a:pt x="206466" y="665683"/>
                  <a:pt x="214427" y="665683"/>
                </a:cubicBezTo>
                <a:lnTo>
                  <a:pt x="294437" y="665683"/>
                </a:lnTo>
                <a:cubicBezTo>
                  <a:pt x="302398" y="665683"/>
                  <a:pt x="308839" y="672124"/>
                  <a:pt x="308839" y="680085"/>
                </a:cubicBezTo>
                <a:lnTo>
                  <a:pt x="308839" y="760095"/>
                </a:lnTo>
                <a:cubicBezTo>
                  <a:pt x="308839" y="768056"/>
                  <a:pt x="302398" y="774497"/>
                  <a:pt x="294437" y="774497"/>
                </a:cubicBezTo>
                <a:close/>
                <a:moveTo>
                  <a:pt x="228829" y="745693"/>
                </a:moveTo>
                <a:lnTo>
                  <a:pt x="280035" y="745693"/>
                </a:lnTo>
                <a:lnTo>
                  <a:pt x="280035" y="694487"/>
                </a:lnTo>
                <a:lnTo>
                  <a:pt x="228829" y="694487"/>
                </a:lnTo>
                <a:lnTo>
                  <a:pt x="228829" y="745693"/>
                </a:lnTo>
                <a:close/>
                <a:moveTo>
                  <a:pt x="934517" y="494462"/>
                </a:moveTo>
                <a:lnTo>
                  <a:pt x="854507" y="494462"/>
                </a:lnTo>
                <a:cubicBezTo>
                  <a:pt x="846546" y="494462"/>
                  <a:pt x="840105" y="488021"/>
                  <a:pt x="840105" y="480060"/>
                </a:cubicBezTo>
                <a:lnTo>
                  <a:pt x="840105" y="400050"/>
                </a:lnTo>
                <a:cubicBezTo>
                  <a:pt x="840105" y="392089"/>
                  <a:pt x="846546" y="385648"/>
                  <a:pt x="854507" y="385648"/>
                </a:cubicBezTo>
                <a:lnTo>
                  <a:pt x="934517" y="385648"/>
                </a:lnTo>
                <a:cubicBezTo>
                  <a:pt x="942478" y="385648"/>
                  <a:pt x="948919" y="392089"/>
                  <a:pt x="948919" y="400050"/>
                </a:cubicBezTo>
                <a:lnTo>
                  <a:pt x="948919" y="480060"/>
                </a:lnTo>
                <a:cubicBezTo>
                  <a:pt x="948919" y="488021"/>
                  <a:pt x="942478" y="494462"/>
                  <a:pt x="934517" y="494462"/>
                </a:cubicBezTo>
                <a:close/>
                <a:moveTo>
                  <a:pt x="868909" y="465658"/>
                </a:moveTo>
                <a:lnTo>
                  <a:pt x="920075" y="465658"/>
                </a:lnTo>
                <a:lnTo>
                  <a:pt x="920075" y="414452"/>
                </a:lnTo>
                <a:lnTo>
                  <a:pt x="868909" y="414452"/>
                </a:lnTo>
                <a:lnTo>
                  <a:pt x="868909" y="465658"/>
                </a:lnTo>
                <a:close/>
                <a:moveTo>
                  <a:pt x="614477" y="494462"/>
                </a:moveTo>
                <a:lnTo>
                  <a:pt x="534467" y="494462"/>
                </a:lnTo>
                <a:cubicBezTo>
                  <a:pt x="526506" y="494462"/>
                  <a:pt x="520065" y="488021"/>
                  <a:pt x="520065" y="480060"/>
                </a:cubicBezTo>
                <a:lnTo>
                  <a:pt x="520065" y="400050"/>
                </a:lnTo>
                <a:cubicBezTo>
                  <a:pt x="520065" y="392089"/>
                  <a:pt x="526506" y="385648"/>
                  <a:pt x="534467" y="385648"/>
                </a:cubicBezTo>
                <a:lnTo>
                  <a:pt x="614477" y="385648"/>
                </a:lnTo>
                <a:cubicBezTo>
                  <a:pt x="622438" y="385648"/>
                  <a:pt x="628879" y="392089"/>
                  <a:pt x="628879" y="400050"/>
                </a:cubicBezTo>
                <a:lnTo>
                  <a:pt x="628879" y="480060"/>
                </a:lnTo>
                <a:cubicBezTo>
                  <a:pt x="628879" y="488021"/>
                  <a:pt x="622438" y="494462"/>
                  <a:pt x="614477" y="494462"/>
                </a:cubicBezTo>
                <a:close/>
                <a:moveTo>
                  <a:pt x="548869" y="465658"/>
                </a:moveTo>
                <a:lnTo>
                  <a:pt x="600075" y="465658"/>
                </a:lnTo>
                <a:lnTo>
                  <a:pt x="600075" y="414452"/>
                </a:lnTo>
                <a:lnTo>
                  <a:pt x="548869" y="414452"/>
                </a:lnTo>
                <a:lnTo>
                  <a:pt x="548869" y="465658"/>
                </a:lnTo>
                <a:close/>
                <a:moveTo>
                  <a:pt x="294437" y="494462"/>
                </a:moveTo>
                <a:lnTo>
                  <a:pt x="214427" y="494462"/>
                </a:lnTo>
                <a:cubicBezTo>
                  <a:pt x="206466" y="494462"/>
                  <a:pt x="200025" y="488021"/>
                  <a:pt x="200025" y="480060"/>
                </a:cubicBezTo>
                <a:lnTo>
                  <a:pt x="200025" y="400050"/>
                </a:lnTo>
                <a:cubicBezTo>
                  <a:pt x="200025" y="392089"/>
                  <a:pt x="206466" y="385648"/>
                  <a:pt x="214427" y="385648"/>
                </a:cubicBezTo>
                <a:lnTo>
                  <a:pt x="294437" y="385648"/>
                </a:lnTo>
                <a:cubicBezTo>
                  <a:pt x="302398" y="385648"/>
                  <a:pt x="308839" y="392089"/>
                  <a:pt x="308839" y="400050"/>
                </a:cubicBezTo>
                <a:lnTo>
                  <a:pt x="308839" y="480060"/>
                </a:lnTo>
                <a:cubicBezTo>
                  <a:pt x="308839" y="488021"/>
                  <a:pt x="302398" y="494462"/>
                  <a:pt x="294437" y="494462"/>
                </a:cubicBezTo>
                <a:close/>
                <a:moveTo>
                  <a:pt x="228829" y="465658"/>
                </a:moveTo>
                <a:lnTo>
                  <a:pt x="280035" y="465658"/>
                </a:lnTo>
                <a:lnTo>
                  <a:pt x="280035" y="414452"/>
                </a:lnTo>
                <a:lnTo>
                  <a:pt x="228829" y="414452"/>
                </a:lnTo>
                <a:lnTo>
                  <a:pt x="228829" y="465658"/>
                </a:lnTo>
                <a:close/>
              </a:path>
            </a:pathLst>
          </a:custGeom>
          <a:solidFill>
            <a:schemeClr val="accent1"/>
          </a:solidFill>
          <a:ln w="39886" cap="flat">
            <a:noFill/>
            <a:prstDash val="solid"/>
            <a:miter/>
          </a:ln>
        </p:spPr>
        <p:txBody>
          <a:bodyPr rtlCol="0" anchor="ctr"/>
          <a:lstStyle/>
          <a:p>
            <a:endParaRPr lang="en-US"/>
          </a:p>
        </p:txBody>
      </p:sp>
    </p:spTree>
    <p:extLst>
      <p:ext uri="{BB962C8B-B14F-4D97-AF65-F5344CB8AC3E}">
        <p14:creationId xmlns:p14="http://schemas.microsoft.com/office/powerpoint/2010/main" val="239862571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1000"/>
                                        <p:tgtEl>
                                          <p:spTgt spid="2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1000"/>
                                        <p:tgtEl>
                                          <p:spTgt spid="26"/>
                                        </p:tgtEl>
                                      </p:cBhvr>
                                    </p:animEffect>
                                  </p:childTnLst>
                                </p:cTn>
                              </p:par>
                            </p:childTnLst>
                          </p:cTn>
                        </p:par>
                        <p:par>
                          <p:cTn id="11" fill="hold">
                            <p:stCondLst>
                              <p:cond delay="1000"/>
                            </p:stCondLst>
                            <p:childTnLst>
                              <p:par>
                                <p:cTn id="12" presetID="10" presetClass="entr" presetSubtype="0" fill="hold" grpId="0" nodeType="afterEffect">
                                  <p:stCondLst>
                                    <p:cond delay="0"/>
                                  </p:stCondLst>
                                  <p:childTnLst>
                                    <p:set>
                                      <p:cBhvr>
                                        <p:cTn id="13" dur="1" fill="hold">
                                          <p:stCondLst>
                                            <p:cond delay="0"/>
                                          </p:stCondLst>
                                        </p:cTn>
                                        <p:tgtEl>
                                          <p:spTgt spid="32"/>
                                        </p:tgtEl>
                                        <p:attrNameLst>
                                          <p:attrName>style.visibility</p:attrName>
                                        </p:attrNameLst>
                                      </p:cBhvr>
                                      <p:to>
                                        <p:strVal val="visible"/>
                                      </p:to>
                                    </p:set>
                                    <p:animEffect transition="in" filter="fade">
                                      <p:cBhvr>
                                        <p:cTn id="14" dur="1000"/>
                                        <p:tgtEl>
                                          <p:spTgt spid="3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1000"/>
                                        <p:tgtEl>
                                          <p:spTgt spid="28"/>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1000"/>
                                        <p:tgtEl>
                                          <p:spTgt spid="3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1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8" grpId="0" animBg="1"/>
      <p:bldP spid="30" grpId="0" animBg="1"/>
      <p:bldP spid="35" grpId="0" animBg="1"/>
      <p:bldP spid="27" grpId="0" animBg="1"/>
      <p:bldP spid="3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5666948"/>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FC785-4B73-1374-CE3A-190BCF867813}"/>
              </a:ext>
            </a:extLst>
          </p:cNvPr>
          <p:cNvSpPr>
            <a:spLocks noGrp="1"/>
          </p:cNvSpPr>
          <p:nvPr>
            <p:ph type="title"/>
          </p:nvPr>
        </p:nvSpPr>
        <p:spPr>
          <a:noFill/>
        </p:spPr>
        <p:txBody>
          <a:bodyPr/>
          <a:lstStyle/>
          <a:p>
            <a:r>
              <a:rPr lang="en-US" dirty="0">
                <a:solidFill>
                  <a:schemeClr val="accent1"/>
                </a:solidFill>
              </a:rPr>
              <a:t>AI assistant </a:t>
            </a:r>
            <a:br>
              <a:rPr lang="en-US" dirty="0">
                <a:solidFill>
                  <a:schemeClr val="accent1"/>
                </a:solidFill>
              </a:rPr>
            </a:br>
            <a:r>
              <a:rPr lang="en-US" dirty="0">
                <a:solidFill>
                  <a:schemeClr val="accent1"/>
                </a:solidFill>
              </a:rPr>
              <a:t>solutions </a:t>
            </a:r>
            <a:br>
              <a:rPr lang="en-US" dirty="0">
                <a:solidFill>
                  <a:schemeClr val="accent1"/>
                </a:solidFill>
              </a:rPr>
            </a:br>
            <a:r>
              <a:rPr lang="en-US" dirty="0">
                <a:solidFill>
                  <a:schemeClr val="accent1"/>
                </a:solidFill>
              </a:rPr>
              <a:t>by industry</a:t>
            </a:r>
          </a:p>
        </p:txBody>
      </p:sp>
    </p:spTree>
    <p:extLst>
      <p:ext uri="{BB962C8B-B14F-4D97-AF65-F5344CB8AC3E}">
        <p14:creationId xmlns:p14="http://schemas.microsoft.com/office/powerpoint/2010/main" val="306552948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1175130C-5282-0DAA-266C-0992E8ABA6C4}"/>
              </a:ext>
            </a:extLst>
          </p:cNvPr>
          <p:cNvSpPr/>
          <p:nvPr/>
        </p:nvSpPr>
        <p:spPr>
          <a:xfrm>
            <a:off x="4441730" y="6271190"/>
            <a:ext cx="3314636" cy="3273552"/>
          </a:xfrm>
          <a:custGeom>
            <a:avLst/>
            <a:gdLst>
              <a:gd name="connsiteX0" fmla="*/ 2478424 w 3314636"/>
              <a:gd name="connsiteY0" fmla="*/ 3275793 h 3275792"/>
              <a:gd name="connsiteX1" fmla="*/ 2400738 w 3314636"/>
              <a:gd name="connsiteY1" fmla="*/ 3275793 h 3275792"/>
              <a:gd name="connsiteX2" fmla="*/ 1848838 w 3314636"/>
              <a:gd name="connsiteY2" fmla="*/ 2558269 h 3275792"/>
              <a:gd name="connsiteX3" fmla="*/ 1820137 w 3314636"/>
              <a:gd name="connsiteY3" fmla="*/ 2524605 h 3275792"/>
              <a:gd name="connsiteX4" fmla="*/ 1841501 w 3314636"/>
              <a:gd name="connsiteY4" fmla="*/ 2485977 h 3275792"/>
              <a:gd name="connsiteX5" fmla="*/ 2074237 w 3314636"/>
              <a:gd name="connsiteY5" fmla="*/ 2113836 h 3275792"/>
              <a:gd name="connsiteX6" fmla="*/ 1657318 w 3314636"/>
              <a:gd name="connsiteY6" fmla="*/ 1696701 h 3275792"/>
              <a:gd name="connsiteX7" fmla="*/ 1240291 w 3314636"/>
              <a:gd name="connsiteY7" fmla="*/ 2113836 h 3275792"/>
              <a:gd name="connsiteX8" fmla="*/ 1473136 w 3314636"/>
              <a:gd name="connsiteY8" fmla="*/ 2485977 h 3275792"/>
              <a:gd name="connsiteX9" fmla="*/ 1494500 w 3314636"/>
              <a:gd name="connsiteY9" fmla="*/ 2524605 h 3275792"/>
              <a:gd name="connsiteX10" fmla="*/ 1465799 w 3314636"/>
              <a:gd name="connsiteY10" fmla="*/ 2558269 h 3275792"/>
              <a:gd name="connsiteX11" fmla="*/ 913899 w 3314636"/>
              <a:gd name="connsiteY11" fmla="*/ 3275793 h 3275792"/>
              <a:gd name="connsiteX12" fmla="*/ 836212 w 3314636"/>
              <a:gd name="connsiteY12" fmla="*/ 3275793 h 3275792"/>
              <a:gd name="connsiteX13" fmla="*/ 1363403 w 3314636"/>
              <a:gd name="connsiteY13" fmla="*/ 2509715 h 3275792"/>
              <a:gd name="connsiteX14" fmla="*/ 1162604 w 3314636"/>
              <a:gd name="connsiteY14" fmla="*/ 2113728 h 3275792"/>
              <a:gd name="connsiteX15" fmla="*/ 1657318 w 3314636"/>
              <a:gd name="connsiteY15" fmla="*/ 1619014 h 3275792"/>
              <a:gd name="connsiteX16" fmla="*/ 2152032 w 3314636"/>
              <a:gd name="connsiteY16" fmla="*/ 2113728 h 3275792"/>
              <a:gd name="connsiteX17" fmla="*/ 1951233 w 3314636"/>
              <a:gd name="connsiteY17" fmla="*/ 2509715 h 3275792"/>
              <a:gd name="connsiteX18" fmla="*/ 2478424 w 3314636"/>
              <a:gd name="connsiteY18" fmla="*/ 3275793 h 3275792"/>
              <a:gd name="connsiteX19" fmla="*/ 2844200 w 3314636"/>
              <a:gd name="connsiteY19" fmla="*/ 1804060 h 3275792"/>
              <a:gd name="connsiteX20" fmla="*/ 2373763 w 3314636"/>
              <a:gd name="connsiteY20" fmla="*/ 1333623 h 3275792"/>
              <a:gd name="connsiteX21" fmla="*/ 2844200 w 3314636"/>
              <a:gd name="connsiteY21" fmla="*/ 863187 h 3275792"/>
              <a:gd name="connsiteX22" fmla="*/ 3314636 w 3314636"/>
              <a:gd name="connsiteY22" fmla="*/ 1333623 h 3275792"/>
              <a:gd name="connsiteX23" fmla="*/ 2844200 w 3314636"/>
              <a:gd name="connsiteY23" fmla="*/ 1804060 h 3275792"/>
              <a:gd name="connsiteX24" fmla="*/ 2844200 w 3314636"/>
              <a:gd name="connsiteY24" fmla="*/ 940873 h 3275792"/>
              <a:gd name="connsiteX25" fmla="*/ 2451450 w 3314636"/>
              <a:gd name="connsiteY25" fmla="*/ 1333623 h 3275792"/>
              <a:gd name="connsiteX26" fmla="*/ 2844200 w 3314636"/>
              <a:gd name="connsiteY26" fmla="*/ 1726373 h 3275792"/>
              <a:gd name="connsiteX27" fmla="*/ 3236949 w 3314636"/>
              <a:gd name="connsiteY27" fmla="*/ 1333623 h 3275792"/>
              <a:gd name="connsiteX28" fmla="*/ 2844200 w 3314636"/>
              <a:gd name="connsiteY28" fmla="*/ 940873 h 3275792"/>
              <a:gd name="connsiteX29" fmla="*/ 470437 w 3314636"/>
              <a:gd name="connsiteY29" fmla="*/ 1804060 h 3275792"/>
              <a:gd name="connsiteX30" fmla="*/ 0 w 3314636"/>
              <a:gd name="connsiteY30" fmla="*/ 1333623 h 3275792"/>
              <a:gd name="connsiteX31" fmla="*/ 470437 w 3314636"/>
              <a:gd name="connsiteY31" fmla="*/ 863187 h 3275792"/>
              <a:gd name="connsiteX32" fmla="*/ 940873 w 3314636"/>
              <a:gd name="connsiteY32" fmla="*/ 1333623 h 3275792"/>
              <a:gd name="connsiteX33" fmla="*/ 470437 w 3314636"/>
              <a:gd name="connsiteY33" fmla="*/ 1804060 h 3275792"/>
              <a:gd name="connsiteX34" fmla="*/ 470437 w 3314636"/>
              <a:gd name="connsiteY34" fmla="*/ 940873 h 3275792"/>
              <a:gd name="connsiteX35" fmla="*/ 77687 w 3314636"/>
              <a:gd name="connsiteY35" fmla="*/ 1333623 h 3275792"/>
              <a:gd name="connsiteX36" fmla="*/ 470437 w 3314636"/>
              <a:gd name="connsiteY36" fmla="*/ 1726373 h 3275792"/>
              <a:gd name="connsiteX37" fmla="*/ 863187 w 3314636"/>
              <a:gd name="connsiteY37" fmla="*/ 1333623 h 3275792"/>
              <a:gd name="connsiteX38" fmla="*/ 470437 w 3314636"/>
              <a:gd name="connsiteY38" fmla="*/ 940873 h 3275792"/>
              <a:gd name="connsiteX39" fmla="*/ 1657318 w 3314636"/>
              <a:gd name="connsiteY39" fmla="*/ 940873 h 3275792"/>
              <a:gd name="connsiteX40" fmla="*/ 1186882 w 3314636"/>
              <a:gd name="connsiteY40" fmla="*/ 470437 h 3275792"/>
              <a:gd name="connsiteX41" fmla="*/ 1657318 w 3314636"/>
              <a:gd name="connsiteY41" fmla="*/ 0 h 3275792"/>
              <a:gd name="connsiteX42" fmla="*/ 2127755 w 3314636"/>
              <a:gd name="connsiteY42" fmla="*/ 470437 h 3275792"/>
              <a:gd name="connsiteX43" fmla="*/ 1657318 w 3314636"/>
              <a:gd name="connsiteY43" fmla="*/ 940873 h 3275792"/>
              <a:gd name="connsiteX44" fmla="*/ 1657318 w 3314636"/>
              <a:gd name="connsiteY44" fmla="*/ 77687 h 3275792"/>
              <a:gd name="connsiteX45" fmla="*/ 1264568 w 3314636"/>
              <a:gd name="connsiteY45" fmla="*/ 470437 h 3275792"/>
              <a:gd name="connsiteX46" fmla="*/ 1657318 w 3314636"/>
              <a:gd name="connsiteY46" fmla="*/ 863187 h 3275792"/>
              <a:gd name="connsiteX47" fmla="*/ 2050068 w 3314636"/>
              <a:gd name="connsiteY47" fmla="*/ 470437 h 3275792"/>
              <a:gd name="connsiteX48" fmla="*/ 1657318 w 3314636"/>
              <a:gd name="connsiteY48" fmla="*/ 77687 h 327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314636" h="3275792">
                <a:moveTo>
                  <a:pt x="2478424" y="3275793"/>
                </a:moveTo>
                <a:lnTo>
                  <a:pt x="2400738" y="3275793"/>
                </a:lnTo>
                <a:cubicBezTo>
                  <a:pt x="2400738" y="2939798"/>
                  <a:pt x="2173719" y="2644696"/>
                  <a:pt x="1848838" y="2558269"/>
                </a:cubicBezTo>
                <a:cubicBezTo>
                  <a:pt x="1833192" y="2554169"/>
                  <a:pt x="1821863" y="2540790"/>
                  <a:pt x="1820137" y="2524605"/>
                </a:cubicBezTo>
                <a:cubicBezTo>
                  <a:pt x="1818518" y="2508528"/>
                  <a:pt x="1827042" y="2493099"/>
                  <a:pt x="1841501" y="2485977"/>
                </a:cubicBezTo>
                <a:cubicBezTo>
                  <a:pt x="1985113" y="2414656"/>
                  <a:pt x="2074237" y="2272123"/>
                  <a:pt x="2074237" y="2113836"/>
                </a:cubicBezTo>
                <a:cubicBezTo>
                  <a:pt x="2074237" y="1883797"/>
                  <a:pt x="1887250" y="1696701"/>
                  <a:pt x="1657318" y="1696701"/>
                </a:cubicBezTo>
                <a:cubicBezTo>
                  <a:pt x="1427387" y="1696701"/>
                  <a:pt x="1240291" y="1883797"/>
                  <a:pt x="1240291" y="2113836"/>
                </a:cubicBezTo>
                <a:cubicBezTo>
                  <a:pt x="1240291" y="2272015"/>
                  <a:pt x="1329523" y="2414656"/>
                  <a:pt x="1473136" y="2485977"/>
                </a:cubicBezTo>
                <a:cubicBezTo>
                  <a:pt x="1487594" y="2493099"/>
                  <a:pt x="1496118" y="2508528"/>
                  <a:pt x="1494500" y="2524605"/>
                </a:cubicBezTo>
                <a:cubicBezTo>
                  <a:pt x="1492881" y="2540682"/>
                  <a:pt x="1481444" y="2554061"/>
                  <a:pt x="1465799" y="2558269"/>
                </a:cubicBezTo>
                <a:cubicBezTo>
                  <a:pt x="1140809" y="2644696"/>
                  <a:pt x="913899" y="2939798"/>
                  <a:pt x="913899" y="3275793"/>
                </a:cubicBezTo>
                <a:lnTo>
                  <a:pt x="836212" y="3275793"/>
                </a:lnTo>
                <a:cubicBezTo>
                  <a:pt x="836212" y="2933755"/>
                  <a:pt x="1049095" y="2630129"/>
                  <a:pt x="1363403" y="2509715"/>
                </a:cubicBezTo>
                <a:cubicBezTo>
                  <a:pt x="1237702" y="2417462"/>
                  <a:pt x="1162604" y="2272231"/>
                  <a:pt x="1162604" y="2113728"/>
                </a:cubicBezTo>
                <a:cubicBezTo>
                  <a:pt x="1162604" y="1840961"/>
                  <a:pt x="1384551" y="1619014"/>
                  <a:pt x="1657318" y="1619014"/>
                </a:cubicBezTo>
                <a:cubicBezTo>
                  <a:pt x="1930085" y="1619014"/>
                  <a:pt x="2152032" y="1840961"/>
                  <a:pt x="2152032" y="2113728"/>
                </a:cubicBezTo>
                <a:cubicBezTo>
                  <a:pt x="2152032" y="2272231"/>
                  <a:pt x="2076827" y="2417462"/>
                  <a:pt x="1951233" y="2509715"/>
                </a:cubicBezTo>
                <a:cubicBezTo>
                  <a:pt x="2265541" y="2630129"/>
                  <a:pt x="2478424" y="2933755"/>
                  <a:pt x="2478424" y="3275793"/>
                </a:cubicBezTo>
                <a:close/>
                <a:moveTo>
                  <a:pt x="2844200" y="1804060"/>
                </a:moveTo>
                <a:cubicBezTo>
                  <a:pt x="2584812" y="1804060"/>
                  <a:pt x="2373763" y="1593011"/>
                  <a:pt x="2373763" y="1333623"/>
                </a:cubicBezTo>
                <a:cubicBezTo>
                  <a:pt x="2373763" y="1074236"/>
                  <a:pt x="2584812" y="863187"/>
                  <a:pt x="2844200" y="863187"/>
                </a:cubicBezTo>
                <a:cubicBezTo>
                  <a:pt x="3103587" y="863187"/>
                  <a:pt x="3314636" y="1074236"/>
                  <a:pt x="3314636" y="1333623"/>
                </a:cubicBezTo>
                <a:cubicBezTo>
                  <a:pt x="3314636" y="1593011"/>
                  <a:pt x="3103587" y="1804060"/>
                  <a:pt x="2844200" y="1804060"/>
                </a:cubicBezTo>
                <a:close/>
                <a:moveTo>
                  <a:pt x="2844200" y="940873"/>
                </a:moveTo>
                <a:cubicBezTo>
                  <a:pt x="2627648" y="940873"/>
                  <a:pt x="2451450" y="1117071"/>
                  <a:pt x="2451450" y="1333623"/>
                </a:cubicBezTo>
                <a:cubicBezTo>
                  <a:pt x="2451450" y="1550175"/>
                  <a:pt x="2627648" y="1726373"/>
                  <a:pt x="2844200" y="1726373"/>
                </a:cubicBezTo>
                <a:cubicBezTo>
                  <a:pt x="3060752" y="1726373"/>
                  <a:pt x="3236949" y="1550175"/>
                  <a:pt x="3236949" y="1333623"/>
                </a:cubicBezTo>
                <a:cubicBezTo>
                  <a:pt x="3236949" y="1117071"/>
                  <a:pt x="3060752" y="940873"/>
                  <a:pt x="2844200" y="940873"/>
                </a:cubicBezTo>
                <a:close/>
                <a:moveTo>
                  <a:pt x="470437" y="1804060"/>
                </a:moveTo>
                <a:cubicBezTo>
                  <a:pt x="211049" y="1804060"/>
                  <a:pt x="0" y="1593011"/>
                  <a:pt x="0" y="1333623"/>
                </a:cubicBezTo>
                <a:cubicBezTo>
                  <a:pt x="0" y="1074236"/>
                  <a:pt x="211049" y="863187"/>
                  <a:pt x="470437" y="863187"/>
                </a:cubicBezTo>
                <a:cubicBezTo>
                  <a:pt x="729824" y="863187"/>
                  <a:pt x="940873" y="1074236"/>
                  <a:pt x="940873" y="1333623"/>
                </a:cubicBezTo>
                <a:cubicBezTo>
                  <a:pt x="940873" y="1593011"/>
                  <a:pt x="729824" y="1804060"/>
                  <a:pt x="470437" y="1804060"/>
                </a:cubicBezTo>
                <a:close/>
                <a:moveTo>
                  <a:pt x="470437" y="940873"/>
                </a:moveTo>
                <a:cubicBezTo>
                  <a:pt x="253885" y="940873"/>
                  <a:pt x="77687" y="1117071"/>
                  <a:pt x="77687" y="1333623"/>
                </a:cubicBezTo>
                <a:cubicBezTo>
                  <a:pt x="77687" y="1550175"/>
                  <a:pt x="253885" y="1726373"/>
                  <a:pt x="470437" y="1726373"/>
                </a:cubicBezTo>
                <a:cubicBezTo>
                  <a:pt x="686989" y="1726373"/>
                  <a:pt x="863187" y="1550175"/>
                  <a:pt x="863187" y="1333623"/>
                </a:cubicBezTo>
                <a:cubicBezTo>
                  <a:pt x="863187" y="1117071"/>
                  <a:pt x="686989" y="940873"/>
                  <a:pt x="470437" y="940873"/>
                </a:cubicBezTo>
                <a:close/>
                <a:moveTo>
                  <a:pt x="1657318" y="940873"/>
                </a:moveTo>
                <a:cubicBezTo>
                  <a:pt x="1397931" y="940873"/>
                  <a:pt x="1186882" y="729824"/>
                  <a:pt x="1186882" y="470437"/>
                </a:cubicBezTo>
                <a:cubicBezTo>
                  <a:pt x="1186882" y="211049"/>
                  <a:pt x="1397931" y="0"/>
                  <a:pt x="1657318" y="0"/>
                </a:cubicBezTo>
                <a:cubicBezTo>
                  <a:pt x="1916706" y="0"/>
                  <a:pt x="2127755" y="211049"/>
                  <a:pt x="2127755" y="470437"/>
                </a:cubicBezTo>
                <a:cubicBezTo>
                  <a:pt x="2127755" y="729824"/>
                  <a:pt x="1916706" y="940873"/>
                  <a:pt x="1657318" y="940873"/>
                </a:cubicBezTo>
                <a:close/>
                <a:moveTo>
                  <a:pt x="1657318" y="77687"/>
                </a:moveTo>
                <a:cubicBezTo>
                  <a:pt x="1440766" y="77687"/>
                  <a:pt x="1264568" y="253885"/>
                  <a:pt x="1264568" y="470437"/>
                </a:cubicBezTo>
                <a:cubicBezTo>
                  <a:pt x="1264568" y="686989"/>
                  <a:pt x="1440766" y="863187"/>
                  <a:pt x="1657318" y="863187"/>
                </a:cubicBezTo>
                <a:cubicBezTo>
                  <a:pt x="1873870" y="863187"/>
                  <a:pt x="2050068" y="686989"/>
                  <a:pt x="2050068" y="470437"/>
                </a:cubicBezTo>
                <a:cubicBezTo>
                  <a:pt x="2050068" y="253885"/>
                  <a:pt x="1873870" y="77687"/>
                  <a:pt x="1657318" y="77687"/>
                </a:cubicBezTo>
                <a:close/>
              </a:path>
            </a:pathLst>
          </a:custGeom>
          <a:solidFill>
            <a:srgbClr val="0F62FE"/>
          </a:solidFill>
          <a:ln w="107752" cap="flat">
            <a:noFill/>
            <a:prstDash val="solid"/>
            <a:miter/>
          </a:ln>
        </p:spPr>
        <p:txBody>
          <a:bodyPr rtlCol="0" anchor="ctr"/>
          <a:lstStyle/>
          <a:p>
            <a:endParaRPr lang="en-US"/>
          </a:p>
        </p:txBody>
      </p:sp>
      <p:sp>
        <p:nvSpPr>
          <p:cNvPr id="717" name="Chevron 4">
            <a:extLst>
              <a:ext uri="{FF2B5EF4-FFF2-40B4-BE49-F238E27FC236}">
                <a16:creationId xmlns:a16="http://schemas.microsoft.com/office/drawing/2014/main" id="{44E9DFCF-1F93-81DB-8342-DC19C91FE56F}"/>
              </a:ext>
            </a:extLst>
          </p:cNvPr>
          <p:cNvSpPr txBox="1"/>
          <p:nvPr/>
        </p:nvSpPr>
        <p:spPr>
          <a:xfrm>
            <a:off x="7176082" y="8427451"/>
            <a:ext cx="2556206" cy="4616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3992" tIns="63992" rIns="63992" bIns="63992" anchor="ctr">
            <a:spAutoFit/>
          </a:bodyPr>
          <a:lstStyle>
            <a:lvl1pPr defTabSz="2133600">
              <a:lnSpc>
                <a:spcPct val="90000"/>
              </a:lnSpc>
              <a:spcBef>
                <a:spcPts val="800"/>
              </a:spcBef>
              <a:defRPr sz="1600">
                <a:solidFill>
                  <a:srgbClr val="000000"/>
                </a:solidFill>
              </a:defRPr>
            </a:lvl1pPr>
          </a:lstStyle>
          <a:p>
            <a:pPr marL="0" marR="0" lvl="0" indent="0" algn="l" defTabSz="2132748" rtl="0" eaLnBrk="1" fontAlgn="auto" latinLnBrk="0" hangingPunct="0">
              <a:lnSpc>
                <a:spcPct val="90000"/>
              </a:lnSpc>
              <a:spcBef>
                <a:spcPts val="800"/>
              </a:spcBef>
              <a:spcAft>
                <a:spcPts val="0"/>
              </a:spcAft>
              <a:buClrTx/>
              <a:buSzTx/>
              <a:buFontTx/>
              <a:buNone/>
              <a:tabLst/>
              <a:defRPr/>
            </a:pPr>
            <a:endParaRPr kumimoji="0" sz="2400" b="0" i="0" u="none" strike="noStrike" kern="0" cap="none" spc="0" normalizeH="0" baseline="0" noProof="0" dirty="0">
              <a:ln>
                <a:noFill/>
              </a:ln>
              <a:solidFill>
                <a:srgbClr val="000000"/>
              </a:solidFill>
              <a:effectLst/>
              <a:uLnTx/>
              <a:uFillTx/>
              <a:sym typeface="IBM Plex Sans Light"/>
            </a:endParaRPr>
          </a:p>
        </p:txBody>
      </p:sp>
      <p:pic>
        <p:nvPicPr>
          <p:cNvPr id="3" name="Picture 2" descr="A person looking at her phone&#10;&#10;Description automatically generated with medium confidence">
            <a:extLst>
              <a:ext uri="{FF2B5EF4-FFF2-40B4-BE49-F238E27FC236}">
                <a16:creationId xmlns:a16="http://schemas.microsoft.com/office/drawing/2014/main" id="{C6422ADF-85E5-72C2-3AAE-07DAB3F69AAB}"/>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12196154" y="0"/>
            <a:ext cx="12191021" cy="13716000"/>
          </a:xfrm>
          <a:prstGeom prst="rect">
            <a:avLst/>
          </a:prstGeom>
        </p:spPr>
      </p:pic>
      <p:sp>
        <p:nvSpPr>
          <p:cNvPr id="32" name="Chevron 4">
            <a:extLst>
              <a:ext uri="{FF2B5EF4-FFF2-40B4-BE49-F238E27FC236}">
                <a16:creationId xmlns:a16="http://schemas.microsoft.com/office/drawing/2014/main" id="{B5C842E8-6AF6-FA87-E309-B8FA80626C7B}"/>
              </a:ext>
            </a:extLst>
          </p:cNvPr>
          <p:cNvSpPr txBox="1"/>
          <p:nvPr/>
        </p:nvSpPr>
        <p:spPr>
          <a:xfrm>
            <a:off x="298654" y="7223286"/>
            <a:ext cx="3429000" cy="13716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nchorCtr="0">
            <a:noAutofit/>
          </a:bodyPr>
          <a:lstStyle>
            <a:lvl1pPr defTabSz="2133600">
              <a:lnSpc>
                <a:spcPct val="90000"/>
              </a:lnSpc>
              <a:spcBef>
                <a:spcPts val="800"/>
              </a:spcBef>
              <a:defRPr sz="1600">
                <a:solidFill>
                  <a:srgbClr val="000000"/>
                </a:solidFill>
              </a:defRPr>
            </a:lvl1pPr>
          </a:lstStyle>
          <a:p>
            <a:pPr marL="0" marR="0" lvl="0" indent="0" algn="ctr" defTabSz="4266346" rtl="0" eaLnBrk="1" fontAlgn="auto" latinLnBrk="0" hangingPunct="0">
              <a:lnSpc>
                <a:spcPct val="100000"/>
              </a:lnSpc>
              <a:spcBef>
                <a:spcPts val="160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sym typeface="IBM Plex Sans Light"/>
              </a:rPr>
              <a:t>Upgrading </a:t>
            </a:r>
            <a:br>
              <a:rPr kumimoji="0" lang="en-US" sz="3200" b="0" i="0" u="none" strike="noStrike" kern="0" cap="none" spc="0" normalizeH="0" baseline="0" noProof="0" dirty="0">
                <a:ln>
                  <a:noFill/>
                </a:ln>
                <a:solidFill>
                  <a:srgbClr val="000000"/>
                </a:solidFill>
                <a:effectLst/>
                <a:uLnTx/>
                <a:uFillTx/>
                <a:sym typeface="IBM Plex Sans Light"/>
              </a:rPr>
            </a:br>
            <a:r>
              <a:rPr kumimoji="0" lang="en-US" sz="3200" b="0" i="0" u="none" strike="noStrike" kern="0" cap="none" spc="0" normalizeH="0" baseline="0" noProof="0" dirty="0">
                <a:ln>
                  <a:noFill/>
                </a:ln>
                <a:solidFill>
                  <a:srgbClr val="000000"/>
                </a:solidFill>
                <a:effectLst/>
                <a:uLnTx/>
                <a:uFillTx/>
                <a:sym typeface="IBM Plex Sans Light"/>
              </a:rPr>
              <a:t>to a new TV plan</a:t>
            </a:r>
            <a:endParaRPr kumimoji="0" sz="3200" b="0" i="0" u="none" strike="noStrike" kern="0" cap="none" spc="0" normalizeH="0" baseline="0" noProof="0" dirty="0">
              <a:ln>
                <a:noFill/>
              </a:ln>
              <a:solidFill>
                <a:srgbClr val="000000"/>
              </a:solidFill>
              <a:effectLst/>
              <a:uLnTx/>
              <a:uFillTx/>
              <a:sym typeface="IBM Plex Sans Light"/>
            </a:endParaRPr>
          </a:p>
        </p:txBody>
      </p:sp>
      <p:sp>
        <p:nvSpPr>
          <p:cNvPr id="35" name="Chevron 4">
            <a:extLst>
              <a:ext uri="{FF2B5EF4-FFF2-40B4-BE49-F238E27FC236}">
                <a16:creationId xmlns:a16="http://schemas.microsoft.com/office/drawing/2014/main" id="{1FD8D634-D52D-64FD-C082-C64CBF03E9DC}"/>
              </a:ext>
            </a:extLst>
          </p:cNvPr>
          <p:cNvSpPr txBox="1"/>
          <p:nvPr/>
        </p:nvSpPr>
        <p:spPr>
          <a:xfrm>
            <a:off x="8470442" y="7223286"/>
            <a:ext cx="3429000" cy="13716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nchorCtr="0">
            <a:noAutofit/>
          </a:bodyPr>
          <a:lstStyle>
            <a:lvl1pPr defTabSz="2133600">
              <a:lnSpc>
                <a:spcPct val="90000"/>
              </a:lnSpc>
              <a:spcBef>
                <a:spcPts val="800"/>
              </a:spcBef>
              <a:defRPr sz="1600">
                <a:solidFill>
                  <a:srgbClr val="000000"/>
                </a:solidFill>
              </a:defRPr>
            </a:lvl1pPr>
          </a:lstStyle>
          <a:p>
            <a:pPr marL="0" marR="0" lvl="0" indent="0" algn="ctr" defTabSz="4266346" rtl="0" eaLnBrk="1" fontAlgn="auto" latinLnBrk="0" hangingPunct="0">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sym typeface="IBM Plex Sans Light"/>
              </a:rPr>
              <a:t>Requesting </a:t>
            </a:r>
            <a:br>
              <a:rPr kumimoji="0" lang="en-US" sz="3200" b="0" i="0" u="none" strike="noStrike" kern="0" cap="none" spc="0" normalizeH="0" baseline="0" noProof="0" dirty="0">
                <a:ln>
                  <a:noFill/>
                </a:ln>
                <a:solidFill>
                  <a:srgbClr val="000000"/>
                </a:solidFill>
                <a:effectLst/>
                <a:uLnTx/>
                <a:uFillTx/>
                <a:sym typeface="IBM Plex Sans Light"/>
              </a:rPr>
            </a:br>
            <a:r>
              <a:rPr kumimoji="0" lang="en-US" sz="3200" b="0" i="0" u="none" strike="noStrike" kern="0" cap="none" spc="0" normalizeH="0" baseline="0" noProof="0" dirty="0">
                <a:ln>
                  <a:noFill/>
                </a:ln>
                <a:solidFill>
                  <a:srgbClr val="000000"/>
                </a:solidFill>
                <a:effectLst/>
                <a:uLnTx/>
                <a:uFillTx/>
                <a:sym typeface="IBM Plex Sans Light"/>
              </a:rPr>
              <a:t>an auto </a:t>
            </a:r>
            <a:br>
              <a:rPr kumimoji="0" lang="en-US" sz="3200" b="0" i="0" u="none" strike="noStrike" kern="0" cap="none" spc="0" normalizeH="0" baseline="0" noProof="0" dirty="0">
                <a:ln>
                  <a:noFill/>
                </a:ln>
                <a:solidFill>
                  <a:srgbClr val="000000"/>
                </a:solidFill>
                <a:effectLst/>
                <a:uLnTx/>
                <a:uFillTx/>
                <a:sym typeface="IBM Plex Sans Light"/>
              </a:rPr>
            </a:br>
            <a:r>
              <a:rPr kumimoji="0" lang="en-US" sz="3200" b="0" i="0" u="none" strike="noStrike" kern="0" cap="none" spc="0" normalizeH="0" baseline="0" noProof="0" dirty="0">
                <a:ln>
                  <a:noFill/>
                </a:ln>
                <a:solidFill>
                  <a:srgbClr val="000000"/>
                </a:solidFill>
                <a:effectLst/>
                <a:uLnTx/>
                <a:uFillTx/>
                <a:sym typeface="IBM Plex Sans Light"/>
              </a:rPr>
              <a:t>insurance quote</a:t>
            </a:r>
            <a:endParaRPr kumimoji="0" sz="3200" b="0" i="0" u="none" strike="noStrike" kern="0" cap="none" spc="0" normalizeH="0" baseline="0" noProof="0" dirty="0">
              <a:ln>
                <a:noFill/>
              </a:ln>
              <a:solidFill>
                <a:srgbClr val="000000"/>
              </a:solidFill>
              <a:effectLst/>
              <a:uLnTx/>
              <a:uFillTx/>
              <a:sym typeface="IBM Plex Sans Light"/>
            </a:endParaRPr>
          </a:p>
        </p:txBody>
      </p:sp>
      <p:sp>
        <p:nvSpPr>
          <p:cNvPr id="24" name="Chevron 4">
            <a:extLst>
              <a:ext uri="{FF2B5EF4-FFF2-40B4-BE49-F238E27FC236}">
                <a16:creationId xmlns:a16="http://schemas.microsoft.com/office/drawing/2014/main" id="{DFD987ED-F5C8-0768-3E2B-7E841999B25A}"/>
              </a:ext>
            </a:extLst>
          </p:cNvPr>
          <p:cNvSpPr txBox="1"/>
          <p:nvPr/>
        </p:nvSpPr>
        <p:spPr>
          <a:xfrm>
            <a:off x="6669803" y="10040534"/>
            <a:ext cx="3429000" cy="13716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nchorCtr="0">
            <a:noAutofit/>
          </a:bodyPr>
          <a:lstStyle>
            <a:lvl1pPr defTabSz="2133600">
              <a:lnSpc>
                <a:spcPct val="90000"/>
              </a:lnSpc>
              <a:spcBef>
                <a:spcPts val="800"/>
              </a:spcBef>
              <a:defRPr sz="1600">
                <a:solidFill>
                  <a:srgbClr val="000000"/>
                </a:solidFill>
              </a:defRPr>
            </a:lvl1pPr>
          </a:lstStyle>
          <a:p>
            <a:pPr marL="0" marR="0" lvl="0" indent="0" algn="ctr" defTabSz="4266346" rtl="0" eaLnBrk="1" fontAlgn="auto" latinLnBrk="0" hangingPunct="0">
              <a:lnSpc>
                <a:spcPct val="100000"/>
              </a:lnSpc>
              <a:spcBef>
                <a:spcPts val="160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sym typeface="IBM Plex Sans Light"/>
              </a:rPr>
              <a:t>Applying </a:t>
            </a:r>
            <a:br>
              <a:rPr kumimoji="0" lang="en-US" sz="3200" b="0" i="0" u="none" strike="noStrike" kern="0" cap="none" spc="0" normalizeH="0" baseline="0" noProof="0" dirty="0">
                <a:ln>
                  <a:noFill/>
                </a:ln>
                <a:solidFill>
                  <a:srgbClr val="000000"/>
                </a:solidFill>
                <a:effectLst/>
                <a:uLnTx/>
                <a:uFillTx/>
                <a:sym typeface="IBM Plex Sans Light"/>
              </a:rPr>
            </a:br>
            <a:r>
              <a:rPr kumimoji="0" lang="en-US" sz="3200" b="0" i="0" u="none" strike="noStrike" kern="0" cap="none" spc="0" normalizeH="0" baseline="0" noProof="0" dirty="0">
                <a:ln>
                  <a:noFill/>
                </a:ln>
                <a:solidFill>
                  <a:srgbClr val="000000"/>
                </a:solidFill>
                <a:effectLst/>
                <a:uLnTx/>
                <a:uFillTx/>
                <a:sym typeface="IBM Plex Sans Light"/>
              </a:rPr>
              <a:t>for a</a:t>
            </a:r>
            <a:r>
              <a:rPr lang="en-US" sz="3200" kern="0" noProof="0" dirty="0">
                <a:sym typeface="IBM Plex Sans Light"/>
              </a:rPr>
              <a:t> </a:t>
            </a:r>
            <a:r>
              <a:rPr kumimoji="0" lang="en-US" sz="3200" b="0" i="0" u="none" strike="noStrike" kern="0" cap="none" spc="0" normalizeH="0" baseline="0" noProof="0" dirty="0">
                <a:ln>
                  <a:noFill/>
                </a:ln>
                <a:solidFill>
                  <a:srgbClr val="000000"/>
                </a:solidFill>
                <a:effectLst/>
                <a:uLnTx/>
                <a:uFillTx/>
                <a:sym typeface="IBM Plex Sans Light"/>
              </a:rPr>
              <a:t>loan</a:t>
            </a:r>
            <a:endParaRPr kumimoji="0" sz="3200" b="0" i="0" u="none" strike="noStrike" kern="0" cap="none" spc="0" normalizeH="0" baseline="0" noProof="0" dirty="0">
              <a:ln>
                <a:noFill/>
              </a:ln>
              <a:solidFill>
                <a:srgbClr val="000000"/>
              </a:solidFill>
              <a:effectLst/>
              <a:uLnTx/>
              <a:uFillTx/>
              <a:sym typeface="IBM Plex Sans Light"/>
            </a:endParaRPr>
          </a:p>
        </p:txBody>
      </p:sp>
      <p:sp>
        <p:nvSpPr>
          <p:cNvPr id="38" name="Chevron 4">
            <a:extLst>
              <a:ext uri="{FF2B5EF4-FFF2-40B4-BE49-F238E27FC236}">
                <a16:creationId xmlns:a16="http://schemas.microsoft.com/office/drawing/2014/main" id="{29BA3811-9053-925A-0699-2B84B41A7E72}"/>
              </a:ext>
            </a:extLst>
          </p:cNvPr>
          <p:cNvSpPr txBox="1"/>
          <p:nvPr/>
        </p:nvSpPr>
        <p:spPr>
          <a:xfrm>
            <a:off x="2099293" y="10040534"/>
            <a:ext cx="3429000" cy="13716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nchorCtr="0">
            <a:noAutofit/>
          </a:bodyPr>
          <a:lstStyle>
            <a:lvl1pPr defTabSz="2133600">
              <a:lnSpc>
                <a:spcPct val="90000"/>
              </a:lnSpc>
              <a:spcBef>
                <a:spcPts val="800"/>
              </a:spcBef>
              <a:defRPr sz="1600">
                <a:solidFill>
                  <a:srgbClr val="000000"/>
                </a:solidFill>
              </a:defRPr>
            </a:lvl1pPr>
          </a:lstStyle>
          <a:p>
            <a:pPr marL="0" marR="0" lvl="0" indent="0" algn="ctr" defTabSz="4266346" rtl="0" eaLnBrk="1" fontAlgn="auto" latinLnBrk="0" hangingPunct="0">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sym typeface="IBM Plex Sans Light"/>
              </a:rPr>
              <a:t>Returning</a:t>
            </a:r>
            <a:br>
              <a:rPr kumimoji="0" lang="en-US" sz="3200" b="0" i="0" u="none" strike="noStrike" kern="0" cap="none" spc="0" normalizeH="0" baseline="0" noProof="0" dirty="0">
                <a:ln>
                  <a:noFill/>
                </a:ln>
                <a:solidFill>
                  <a:srgbClr val="000000"/>
                </a:solidFill>
                <a:effectLst/>
                <a:uLnTx/>
                <a:uFillTx/>
                <a:sym typeface="IBM Plex Sans Light"/>
              </a:rPr>
            </a:br>
            <a:r>
              <a:rPr lang="en-US" sz="3200" kern="0" dirty="0">
                <a:sym typeface="IBM Plex Sans Light"/>
              </a:rPr>
              <a:t>an</a:t>
            </a:r>
            <a:r>
              <a:rPr kumimoji="0" lang="en-US" sz="3200" b="0" i="0" u="none" strike="noStrike" kern="0" cap="none" spc="0" normalizeH="0" baseline="0" noProof="0" dirty="0">
                <a:ln>
                  <a:noFill/>
                </a:ln>
                <a:solidFill>
                  <a:srgbClr val="000000"/>
                </a:solidFill>
                <a:effectLst/>
                <a:uLnTx/>
                <a:uFillTx/>
                <a:sym typeface="IBM Plex Sans Light"/>
              </a:rPr>
              <a:t> order</a:t>
            </a:r>
            <a:endParaRPr kumimoji="0" sz="3200" b="0" i="0" u="none" strike="noStrike" kern="0" cap="none" spc="0" normalizeH="0" baseline="0" noProof="0" dirty="0">
              <a:ln>
                <a:noFill/>
              </a:ln>
              <a:solidFill>
                <a:srgbClr val="000000"/>
              </a:solidFill>
              <a:effectLst/>
              <a:uLnTx/>
              <a:uFillTx/>
              <a:sym typeface="IBM Plex Sans Light"/>
            </a:endParaRPr>
          </a:p>
        </p:txBody>
      </p:sp>
      <p:sp>
        <p:nvSpPr>
          <p:cNvPr id="27" name="Chevron 4">
            <a:extLst>
              <a:ext uri="{FF2B5EF4-FFF2-40B4-BE49-F238E27FC236}">
                <a16:creationId xmlns:a16="http://schemas.microsoft.com/office/drawing/2014/main" id="{EA807F86-ADBF-626E-8A4E-A703E73F7E1F}"/>
              </a:ext>
            </a:extLst>
          </p:cNvPr>
          <p:cNvSpPr txBox="1"/>
          <p:nvPr/>
        </p:nvSpPr>
        <p:spPr>
          <a:xfrm>
            <a:off x="6669803" y="4406038"/>
            <a:ext cx="3429000" cy="13716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nchorCtr="0">
            <a:noAutofit/>
          </a:bodyPr>
          <a:lstStyle>
            <a:lvl1pPr defTabSz="2133600">
              <a:lnSpc>
                <a:spcPct val="90000"/>
              </a:lnSpc>
              <a:spcBef>
                <a:spcPts val="800"/>
              </a:spcBef>
              <a:defRPr sz="1600">
                <a:solidFill>
                  <a:srgbClr val="000000"/>
                </a:solidFill>
              </a:defRPr>
            </a:lvl1pPr>
          </a:lstStyle>
          <a:p>
            <a:pPr marL="0" marR="0" lvl="0" indent="0" algn="ctr" defTabSz="4266346" rtl="0" eaLnBrk="1" fontAlgn="auto" latinLnBrk="0" hangingPunct="0">
              <a:lnSpc>
                <a:spcPct val="100000"/>
              </a:lnSpc>
              <a:spcBef>
                <a:spcPts val="160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sym typeface="IBM Plex Sans Light"/>
              </a:rPr>
              <a:t>Updating</a:t>
            </a:r>
            <a:r>
              <a:rPr kumimoji="0" lang="en-US" sz="3200" b="0" i="0" u="none" strike="noStrike" kern="0" cap="none" spc="0" normalizeH="0" noProof="0" dirty="0">
                <a:ln>
                  <a:noFill/>
                </a:ln>
                <a:solidFill>
                  <a:srgbClr val="000000"/>
                </a:solidFill>
                <a:effectLst/>
                <a:uLnTx/>
                <a:uFillTx/>
                <a:sym typeface="IBM Plex Sans Light"/>
              </a:rPr>
              <a:t> </a:t>
            </a:r>
            <a:br>
              <a:rPr kumimoji="0" lang="en-US" sz="3200" b="0" i="0" u="none" strike="noStrike" kern="0" cap="none" spc="0" normalizeH="0" noProof="0" dirty="0">
                <a:ln>
                  <a:noFill/>
                </a:ln>
                <a:solidFill>
                  <a:srgbClr val="000000"/>
                </a:solidFill>
                <a:effectLst/>
                <a:uLnTx/>
                <a:uFillTx/>
                <a:sym typeface="IBM Plex Sans Light"/>
              </a:rPr>
            </a:br>
            <a:r>
              <a:rPr kumimoji="0" lang="en-US" sz="3200" b="0" i="0" u="none" strike="noStrike" kern="0" cap="none" spc="0" normalizeH="0" noProof="0" dirty="0">
                <a:ln>
                  <a:noFill/>
                </a:ln>
                <a:solidFill>
                  <a:srgbClr val="000000"/>
                </a:solidFill>
                <a:effectLst/>
                <a:uLnTx/>
                <a:uFillTx/>
                <a:sym typeface="IBM Plex Sans Light"/>
              </a:rPr>
              <a:t>a </a:t>
            </a:r>
            <a:r>
              <a:rPr kumimoji="0" lang="en-US" sz="3200" b="0" i="0" u="none" strike="noStrike" kern="0" cap="none" spc="0" normalizeH="0" baseline="0" noProof="0" dirty="0">
                <a:ln>
                  <a:noFill/>
                </a:ln>
                <a:solidFill>
                  <a:srgbClr val="000000"/>
                </a:solidFill>
                <a:effectLst/>
                <a:uLnTx/>
                <a:uFillTx/>
                <a:sym typeface="IBM Plex Sans Light"/>
              </a:rPr>
              <a:t>home address</a:t>
            </a:r>
            <a:endParaRPr kumimoji="0" sz="3200" b="0" i="0" u="none" strike="noStrike" kern="0" cap="none" spc="0" normalizeH="0" baseline="0" noProof="0" dirty="0">
              <a:ln>
                <a:noFill/>
              </a:ln>
              <a:solidFill>
                <a:srgbClr val="000000"/>
              </a:solidFill>
              <a:effectLst/>
              <a:uLnTx/>
              <a:uFillTx/>
              <a:sym typeface="IBM Plex Sans Light"/>
            </a:endParaRPr>
          </a:p>
        </p:txBody>
      </p:sp>
      <p:sp>
        <p:nvSpPr>
          <p:cNvPr id="41" name="Chevron 4">
            <a:extLst>
              <a:ext uri="{FF2B5EF4-FFF2-40B4-BE49-F238E27FC236}">
                <a16:creationId xmlns:a16="http://schemas.microsoft.com/office/drawing/2014/main" id="{5320BA60-4267-49F8-714B-182293FFB716}"/>
              </a:ext>
            </a:extLst>
          </p:cNvPr>
          <p:cNvSpPr txBox="1"/>
          <p:nvPr/>
        </p:nvSpPr>
        <p:spPr>
          <a:xfrm>
            <a:off x="2099293" y="4406038"/>
            <a:ext cx="3429000" cy="13716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nchorCtr="0">
            <a:noAutofit/>
          </a:bodyPr>
          <a:lstStyle>
            <a:lvl1pPr defTabSz="2133600">
              <a:lnSpc>
                <a:spcPct val="90000"/>
              </a:lnSpc>
              <a:spcBef>
                <a:spcPts val="800"/>
              </a:spcBef>
              <a:defRPr sz="1600">
                <a:solidFill>
                  <a:srgbClr val="000000"/>
                </a:solidFill>
              </a:defRPr>
            </a:lvl1pPr>
          </a:lstStyle>
          <a:p>
            <a:pPr marL="0" marR="0" lvl="0" indent="0" algn="ctr" defTabSz="4266346" rtl="0" eaLnBrk="1" fontAlgn="auto" latinLnBrk="0" hangingPunct="0">
              <a:lnSpc>
                <a:spcPct val="100000"/>
              </a:lnSpc>
              <a:spcBef>
                <a:spcPts val="160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sym typeface="IBM Plex Sans Light"/>
              </a:rPr>
              <a:t>Completing</a:t>
            </a:r>
            <a:r>
              <a:rPr kumimoji="0" lang="en-US" sz="3200" b="0" i="0" u="none" strike="noStrike" kern="0" cap="none" spc="0" normalizeH="0" noProof="0" dirty="0">
                <a:ln>
                  <a:noFill/>
                </a:ln>
                <a:solidFill>
                  <a:srgbClr val="000000"/>
                </a:solidFill>
                <a:effectLst/>
                <a:uLnTx/>
                <a:uFillTx/>
                <a:sym typeface="IBM Plex Sans Light"/>
              </a:rPr>
              <a:t> </a:t>
            </a:r>
            <a:br>
              <a:rPr kumimoji="0" lang="en-US" sz="3200" b="0" i="0" u="none" strike="noStrike" kern="0" cap="none" spc="0" normalizeH="0" noProof="0" dirty="0">
                <a:ln>
                  <a:noFill/>
                </a:ln>
                <a:solidFill>
                  <a:srgbClr val="000000"/>
                </a:solidFill>
                <a:effectLst/>
                <a:uLnTx/>
                <a:uFillTx/>
                <a:sym typeface="IBM Plex Sans Light"/>
              </a:rPr>
            </a:br>
            <a:r>
              <a:rPr kumimoji="0" lang="en-US" sz="3200" b="0" i="0" u="none" strike="noStrike" kern="0" cap="none" spc="0" normalizeH="0" noProof="0" dirty="0">
                <a:ln>
                  <a:noFill/>
                </a:ln>
                <a:solidFill>
                  <a:srgbClr val="000000"/>
                </a:solidFill>
                <a:effectLst/>
                <a:uLnTx/>
                <a:uFillTx/>
                <a:sym typeface="IBM Plex Sans Light"/>
              </a:rPr>
              <a:t>a </a:t>
            </a:r>
            <a:r>
              <a:rPr kumimoji="0" lang="en-US" sz="3200" b="0" i="0" u="none" strike="noStrike" kern="0" cap="none" spc="0" normalizeH="0" baseline="0" noProof="0" dirty="0">
                <a:ln>
                  <a:noFill/>
                </a:ln>
                <a:solidFill>
                  <a:srgbClr val="000000"/>
                </a:solidFill>
                <a:effectLst/>
                <a:uLnTx/>
                <a:uFillTx/>
                <a:sym typeface="IBM Plex Sans Light"/>
              </a:rPr>
              <a:t>flight check-in</a:t>
            </a:r>
          </a:p>
        </p:txBody>
      </p:sp>
      <p:sp>
        <p:nvSpPr>
          <p:cNvPr id="11" name="Freeform 10">
            <a:extLst>
              <a:ext uri="{FF2B5EF4-FFF2-40B4-BE49-F238E27FC236}">
                <a16:creationId xmlns:a16="http://schemas.microsoft.com/office/drawing/2014/main" id="{9CB9EF90-BB65-8596-4B2E-19F9CA941DFF}"/>
              </a:ext>
            </a:extLst>
          </p:cNvPr>
          <p:cNvSpPr/>
          <p:nvPr/>
        </p:nvSpPr>
        <p:spPr>
          <a:xfrm>
            <a:off x="11230369" y="-6072169"/>
            <a:ext cx="5438739" cy="5438739"/>
          </a:xfrm>
          <a:custGeom>
            <a:avLst/>
            <a:gdLst>
              <a:gd name="connsiteX0" fmla="*/ 0 w 5438739"/>
              <a:gd name="connsiteY0" fmla="*/ 0 h 5438739"/>
              <a:gd name="connsiteX1" fmla="*/ 5438739 w 5438739"/>
              <a:gd name="connsiteY1" fmla="*/ 0 h 5438739"/>
              <a:gd name="connsiteX2" fmla="*/ 5438739 w 5438739"/>
              <a:gd name="connsiteY2" fmla="*/ 5438739 h 5438739"/>
              <a:gd name="connsiteX3" fmla="*/ 0 w 5438739"/>
              <a:gd name="connsiteY3" fmla="*/ 5438739 h 5438739"/>
            </a:gdLst>
            <a:ahLst/>
            <a:cxnLst>
              <a:cxn ang="0">
                <a:pos x="connsiteX0" y="connsiteY0"/>
              </a:cxn>
              <a:cxn ang="0">
                <a:pos x="connsiteX1" y="connsiteY1"/>
              </a:cxn>
              <a:cxn ang="0">
                <a:pos x="connsiteX2" y="connsiteY2"/>
              </a:cxn>
              <a:cxn ang="0">
                <a:pos x="connsiteX3" y="connsiteY3"/>
              </a:cxn>
            </a:cxnLst>
            <a:rect l="l" t="t" r="r" b="b"/>
            <a:pathLst>
              <a:path w="5438739" h="5438739">
                <a:moveTo>
                  <a:pt x="0" y="0"/>
                </a:moveTo>
                <a:lnTo>
                  <a:pt x="5438739" y="0"/>
                </a:lnTo>
                <a:lnTo>
                  <a:pt x="5438739" y="5438739"/>
                </a:lnTo>
                <a:lnTo>
                  <a:pt x="0" y="5438739"/>
                </a:lnTo>
                <a:close/>
              </a:path>
            </a:pathLst>
          </a:custGeom>
          <a:noFill/>
          <a:ln w="169664" cap="flat">
            <a:noFill/>
            <a:prstDash val="solid"/>
            <a:miter/>
          </a:ln>
        </p:spPr>
        <p:txBody>
          <a:bodyPr rtlCol="0" anchor="ctr"/>
          <a:lstStyle/>
          <a:p>
            <a:endParaRPr lang="en-US"/>
          </a:p>
        </p:txBody>
      </p:sp>
      <p:sp>
        <p:nvSpPr>
          <p:cNvPr id="13" name="Title 12">
            <a:extLst>
              <a:ext uri="{FF2B5EF4-FFF2-40B4-BE49-F238E27FC236}">
                <a16:creationId xmlns:a16="http://schemas.microsoft.com/office/drawing/2014/main" id="{D008DB06-9D6F-B6B5-AB2B-B35B9CD20685}"/>
              </a:ext>
            </a:extLst>
          </p:cNvPr>
          <p:cNvSpPr>
            <a:spLocks noGrp="1"/>
          </p:cNvSpPr>
          <p:nvPr>
            <p:ph type="title"/>
          </p:nvPr>
        </p:nvSpPr>
        <p:spPr>
          <a:xfrm>
            <a:off x="576072" y="385200"/>
            <a:ext cx="10694775" cy="2575190"/>
          </a:xfrm>
        </p:spPr>
        <p:txBody>
          <a:bodyPr/>
          <a:lstStyle/>
          <a:p>
            <a:r>
              <a:rPr kumimoji="0" lang="en-US" u="none" strike="noStrike" kern="0" cap="none" spc="0" normalizeH="0" baseline="0" noProof="0" dirty="0">
                <a:ln>
                  <a:noFill/>
                </a:ln>
                <a:solidFill>
                  <a:schemeClr val="accent1"/>
                </a:solidFill>
                <a:effectLst/>
                <a:uLnTx/>
                <a:uFillTx/>
                <a:latin typeface="+mn-lt"/>
                <a:ea typeface="+mn-ea"/>
                <a:cs typeface="Arial"/>
                <a:sym typeface="Arial"/>
              </a:rPr>
              <a:t>AI and automation </a:t>
            </a:r>
            <a:br>
              <a:rPr kumimoji="0" lang="en-US" u="none" strike="noStrike" kern="0" cap="none" spc="0" normalizeH="0" baseline="0" noProof="0" dirty="0">
                <a:ln>
                  <a:noFill/>
                </a:ln>
                <a:solidFill>
                  <a:schemeClr val="accent1"/>
                </a:solidFill>
                <a:effectLst/>
                <a:uLnTx/>
                <a:uFillTx/>
                <a:latin typeface="+mn-lt"/>
                <a:ea typeface="+mn-ea"/>
                <a:cs typeface="Arial"/>
                <a:sym typeface="Arial"/>
              </a:rPr>
            </a:br>
            <a:r>
              <a:rPr kumimoji="0" lang="en-US" u="none" strike="noStrike" kern="0" cap="none" spc="0" normalizeH="0" baseline="0" noProof="0" dirty="0">
                <a:ln>
                  <a:noFill/>
                </a:ln>
                <a:solidFill>
                  <a:srgbClr val="000000"/>
                </a:solidFill>
                <a:effectLst/>
                <a:uLnTx/>
                <a:uFillTx/>
                <a:latin typeface="+mn-lt"/>
                <a:ea typeface="+mn-ea"/>
                <a:cs typeface="Arial"/>
                <a:sym typeface="Arial"/>
              </a:rPr>
              <a:t>are present across </a:t>
            </a:r>
            <a:r>
              <a:rPr kumimoji="0" lang="en-US" i="1" u="none" strike="noStrike" kern="0" cap="none" spc="0" normalizeH="0" baseline="0" noProof="0" dirty="0">
                <a:ln>
                  <a:noFill/>
                </a:ln>
                <a:solidFill>
                  <a:schemeClr val="accent1"/>
                </a:solidFill>
                <a:effectLst/>
                <a:uLnTx/>
                <a:uFillTx/>
                <a:latin typeface="+mn-lt"/>
                <a:ea typeface="+mn-ea"/>
                <a:cs typeface="Arial"/>
                <a:sym typeface="Arial"/>
              </a:rPr>
              <a:t>every moment </a:t>
            </a:r>
            <a:r>
              <a:rPr kumimoji="0" lang="en-US" u="none" strike="noStrike" kern="0" cap="none" spc="0" normalizeH="0" baseline="0" noProof="0" dirty="0">
                <a:ln>
                  <a:noFill/>
                </a:ln>
                <a:solidFill>
                  <a:srgbClr val="000000"/>
                </a:solidFill>
                <a:effectLst/>
                <a:uLnTx/>
                <a:uFillTx/>
                <a:latin typeface="+mn-lt"/>
                <a:ea typeface="+mn-ea"/>
                <a:cs typeface="Arial"/>
                <a:sym typeface="Arial"/>
              </a:rPr>
              <a:t>of </a:t>
            </a:r>
            <a:r>
              <a:rPr lang="en-US" dirty="0">
                <a:solidFill>
                  <a:srgbClr val="000000"/>
                </a:solidFill>
                <a:latin typeface="+mn-lt"/>
                <a:ea typeface="+mn-ea"/>
                <a:cs typeface="Arial"/>
                <a:sym typeface="Arial"/>
              </a:rPr>
              <a:t>life</a:t>
            </a:r>
            <a:br>
              <a:rPr kumimoji="0" lang="en-US" u="none" strike="noStrike" kern="0" cap="none" spc="0" normalizeH="0" baseline="0" noProof="0" dirty="0">
                <a:ln>
                  <a:noFill/>
                </a:ln>
                <a:solidFill>
                  <a:srgbClr val="000000"/>
                </a:solidFill>
                <a:effectLst/>
                <a:uLnTx/>
                <a:uFillTx/>
                <a:latin typeface="+mn-lt"/>
                <a:ea typeface="+mn-ea"/>
                <a:cs typeface="Arial"/>
                <a:sym typeface="Arial"/>
              </a:rPr>
            </a:br>
            <a:endParaRPr lang="en-US" dirty="0">
              <a:latin typeface="+mn-lt"/>
            </a:endParaRPr>
          </a:p>
        </p:txBody>
      </p:sp>
    </p:spTree>
    <p:extLst>
      <p:ext uri="{BB962C8B-B14F-4D97-AF65-F5344CB8AC3E}">
        <p14:creationId xmlns:p14="http://schemas.microsoft.com/office/powerpoint/2010/main" val="400858965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500"/>
                                        <p:tgtEl>
                                          <p:spTgt spid="35"/>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childTnLst>
                          </p:cTn>
                        </p:par>
                        <p:par>
                          <p:cTn id="24" fill="hold">
                            <p:stCondLst>
                              <p:cond delay="3000"/>
                            </p:stCondLst>
                            <p:childTnLst>
                              <p:par>
                                <p:cTn id="25" presetID="10" presetClass="entr" presetSubtype="0" fill="hold" grpId="0" nodeType="afterEffect">
                                  <p:stCondLst>
                                    <p:cond delay="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500"/>
                                        <p:tgtEl>
                                          <p:spTgt spid="32"/>
                                        </p:tgtEl>
                                      </p:cBhvr>
                                    </p:animEffect>
                                  </p:childTnLst>
                                </p:cTn>
                              </p:par>
                            </p:childTnLst>
                          </p:cTn>
                        </p:par>
                        <p:par>
                          <p:cTn id="28" fill="hold">
                            <p:stCondLst>
                              <p:cond delay="3500"/>
                            </p:stCondLst>
                            <p:childTnLst>
                              <p:par>
                                <p:cTn id="29" presetID="10" presetClass="entr" presetSubtype="0" fill="hold" grpId="0" nodeType="after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2" grpId="0" animBg="1"/>
      <p:bldP spid="35" grpId="0" animBg="1"/>
      <p:bldP spid="24" grpId="0" animBg="1"/>
      <p:bldP spid="38" grpId="0" animBg="1"/>
      <p:bldP spid="27" grpId="0" animBg="1"/>
      <p:bldP spid="41"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descr="Vertical half slide background in blue 10">
            <a:extLst>
              <a:ext uri="{FF2B5EF4-FFF2-40B4-BE49-F238E27FC236}">
                <a16:creationId xmlns:a16="http://schemas.microsoft.com/office/drawing/2014/main" id="{6DE9CB1D-97A9-5F2D-710F-6EFE09731960}"/>
              </a:ext>
            </a:extLst>
          </p:cNvPr>
          <p:cNvSpPr/>
          <p:nvPr/>
        </p:nvSpPr>
        <p:spPr bwMode="auto">
          <a:xfrm>
            <a:off x="9457292" y="0"/>
            <a:ext cx="14929883" cy="13716000"/>
          </a:xfrm>
          <a:prstGeom prst="rect">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6" name="Content Placeholder 3">
            <a:extLst>
              <a:ext uri="{FF2B5EF4-FFF2-40B4-BE49-F238E27FC236}">
                <a16:creationId xmlns:a16="http://schemas.microsoft.com/office/drawing/2014/main" id="{B01D50DE-BFF0-A9E5-C230-019EEC3D683E}"/>
              </a:ext>
            </a:extLst>
          </p:cNvPr>
          <p:cNvSpPr txBox="1">
            <a:spLocks/>
          </p:cNvSpPr>
          <p:nvPr/>
        </p:nvSpPr>
        <p:spPr>
          <a:xfrm>
            <a:off x="579095" y="2743200"/>
            <a:ext cx="8071913" cy="9674443"/>
          </a:xfrm>
          <a:prstGeom prst="rect">
            <a:avLst/>
          </a:prstGeom>
        </p:spPr>
        <p:txBody>
          <a:bodyPr vert="horz" wrap="square" lIns="0" tIns="0" rIns="0" bIns="0" rtlCol="0">
            <a:spAutoFit/>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marL="0" marR="0" lvl="1" indent="0" defTabSz="2437884" rtl="0" eaLnBrk="1" fontAlgn="base" latinLnBrk="0" hangingPunct="1">
              <a:lnSpc>
                <a:spcPct val="100000"/>
              </a:lnSpc>
              <a:spcBef>
                <a:spcPts val="2933"/>
              </a:spcBef>
              <a:spcAft>
                <a:spcPct val="0"/>
              </a:spcAft>
              <a:buClr>
                <a:srgbClr val="001141"/>
              </a:buClr>
              <a:buSzPct val="100000"/>
              <a:buFont typeface="IBM Plex Sans Light" charset="-120"/>
              <a:buNone/>
              <a:tabLst/>
              <a:defRPr/>
            </a:pP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sym typeface="Arial"/>
              </a:rPr>
              <a:t>Serving customers is priority number one </a:t>
            </a:r>
            <a:br>
              <a:rPr lang="en-US" sz="2800" kern="0" dirty="0">
                <a:solidFill>
                  <a:srgbClr val="000000"/>
                </a:solidFill>
                <a:sym typeface="Arial"/>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sym typeface="Arial"/>
              </a:rPr>
              <a:t>for enterprises and is among the most frequent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sym typeface="Arial"/>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sym typeface="Arial"/>
              </a:rPr>
              <a:t>and costly touchpoints to maintain. Imagine a new world where service quality improves while driving down costs, empowering customers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sym typeface="Arial"/>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sym typeface="Arial"/>
              </a:rPr>
              <a:t>with technology to resolve their problems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sym typeface="Arial"/>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sym typeface="Arial"/>
              </a:rPr>
              <a:t>through automation and AI.  </a:t>
            </a:r>
          </a:p>
          <a:p>
            <a:pPr marL="0" lvl="1" indent="0" defTabSz="2437884">
              <a:spcBef>
                <a:spcPts val="2933"/>
              </a:spcBef>
              <a:buNone/>
              <a:defRPr/>
            </a:pPr>
            <a:r>
              <a:rPr kumimoji="0" lang="en-US" sz="2800" u="none" strike="noStrike" kern="0" cap="none" spc="0" normalizeH="0" baseline="0" noProof="0" dirty="0">
                <a:ln>
                  <a:noFill/>
                </a:ln>
                <a:solidFill>
                  <a:srgbClr val="000000"/>
                </a:solidFill>
                <a:effectLst/>
                <a:uLnTx/>
                <a:uFillTx/>
                <a:latin typeface="IBM Plex Sans Text" panose="020B0503050203000203" pitchFamily="34" charset="0"/>
                <a:sym typeface="Arial"/>
              </a:rPr>
              <a:t>Digital customer experience</a:t>
            </a:r>
            <a:br>
              <a:rPr lang="en-US" sz="2800" kern="0" dirty="0">
                <a:solidFill>
                  <a:srgbClr val="000000"/>
                </a:solidFill>
                <a:sym typeface="Arial"/>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sym typeface="Arial"/>
              </a:rPr>
              <a:t>Communicates with customers 24/7 across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sym typeface="Arial"/>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sym typeface="Arial"/>
              </a:rPr>
              <a:t>all digital touch points in a conversational interface using natural language.</a:t>
            </a:r>
            <a:endParaRPr kumimoji="0" lang="en-US" sz="2800" b="1" i="0" u="none" strike="noStrike" kern="0" cap="none" spc="0" normalizeH="0" baseline="0" noProof="0" dirty="0">
              <a:ln>
                <a:noFill/>
              </a:ln>
              <a:solidFill>
                <a:srgbClr val="000000"/>
              </a:solidFill>
              <a:effectLst/>
              <a:uLnTx/>
              <a:uFillTx/>
              <a:latin typeface="IBM Plex Sans Light" panose="020B0403050203000203" pitchFamily="34" charset="0"/>
              <a:sym typeface="Arial"/>
            </a:endParaRPr>
          </a:p>
          <a:p>
            <a:pPr marL="0" lvl="1" indent="0" defTabSz="2437884">
              <a:spcBef>
                <a:spcPts val="2933"/>
              </a:spcBef>
              <a:buNone/>
              <a:defRPr/>
            </a:pPr>
            <a:r>
              <a:rPr kumimoji="0" lang="en-US" sz="2800" u="none" strike="noStrike" kern="0" cap="none" spc="0" normalizeH="0" baseline="0" noProof="0" dirty="0">
                <a:ln>
                  <a:noFill/>
                </a:ln>
                <a:solidFill>
                  <a:srgbClr val="000000"/>
                </a:solidFill>
                <a:effectLst/>
                <a:uLnTx/>
                <a:uFillTx/>
                <a:latin typeface="IBM Plex Sans Text" panose="020B0503050203000203" pitchFamily="34" charset="0"/>
                <a:sym typeface="Arial"/>
              </a:rPr>
              <a:t>Modernize contact center</a:t>
            </a:r>
            <a:br>
              <a:rPr lang="en-US" sz="2800" kern="0" dirty="0">
                <a:solidFill>
                  <a:srgbClr val="000000"/>
                </a:solidFill>
                <a:sym typeface="Arial"/>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sym typeface="Arial"/>
              </a:rPr>
              <a:t>Automate resolution of customer issues across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sym typeface="Arial"/>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sym typeface="Arial"/>
              </a:rPr>
              <a:t>all support channels decreasing call volume.</a:t>
            </a:r>
            <a:endParaRPr kumimoji="0" lang="en-US" sz="2800" b="1" i="0" u="none" strike="noStrike" kern="0" cap="none" spc="0" normalizeH="0" baseline="0" noProof="0" dirty="0">
              <a:ln>
                <a:noFill/>
              </a:ln>
              <a:solidFill>
                <a:srgbClr val="000000"/>
              </a:solidFill>
              <a:effectLst/>
              <a:uLnTx/>
              <a:uFillTx/>
              <a:latin typeface="IBM Plex Sans Light" panose="020B0403050203000203" pitchFamily="34" charset="0"/>
              <a:sym typeface="Arial"/>
            </a:endParaRPr>
          </a:p>
          <a:p>
            <a:pPr marL="0" lvl="1" indent="0" defTabSz="2437884">
              <a:spcBef>
                <a:spcPts val="2933"/>
              </a:spcBef>
              <a:buNone/>
              <a:defRPr/>
            </a:pPr>
            <a:r>
              <a:rPr kumimoji="0" lang="en-US" sz="2800" u="none" strike="noStrike" kern="0" cap="none" spc="0" normalizeH="0" baseline="0" noProof="0" dirty="0">
                <a:ln>
                  <a:noFill/>
                </a:ln>
                <a:solidFill>
                  <a:srgbClr val="000000"/>
                </a:solidFill>
                <a:effectLst/>
                <a:uLnTx/>
                <a:uFillTx/>
                <a:latin typeface="IBM Plex Sans Text" panose="020B0503050203000203" pitchFamily="34" charset="0"/>
                <a:sym typeface="Arial"/>
              </a:rPr>
              <a:t>Agent assist</a:t>
            </a:r>
            <a:br>
              <a:rPr lang="en-US" sz="2800" kern="0" dirty="0">
                <a:solidFill>
                  <a:srgbClr val="000000"/>
                </a:solidFill>
                <a:sym typeface="Arial"/>
              </a:rPr>
            </a:br>
            <a:r>
              <a:rPr kumimoji="0" lang="en-US" sz="2800" i="0" u="none" strike="noStrike" kern="0" cap="none" spc="0" normalizeH="0" baseline="0" noProof="0" dirty="0">
                <a:ln>
                  <a:noFill/>
                </a:ln>
                <a:solidFill>
                  <a:srgbClr val="000000"/>
                </a:solidFill>
                <a:effectLst/>
                <a:uLnTx/>
                <a:uFillTx/>
                <a:latin typeface="IBM Plex Sans Light" panose="020B0403050203000203" pitchFamily="34" charset="0"/>
                <a:sym typeface="Arial"/>
              </a:rPr>
              <a:t>Conversational and generative</a:t>
            </a:r>
            <a:r>
              <a:rPr kumimoji="0" lang="en-US" sz="2800" b="1" i="0" u="none" strike="noStrike" kern="0" cap="none" spc="0" normalizeH="0" baseline="0" noProof="0" dirty="0">
                <a:ln>
                  <a:noFill/>
                </a:ln>
                <a:solidFill>
                  <a:srgbClr val="000000"/>
                </a:solidFill>
                <a:effectLst/>
                <a:uLnTx/>
                <a:uFillTx/>
                <a:latin typeface="IBM Plex Sans Light" panose="020B0403050203000203" pitchFamily="34" charset="0"/>
                <a:sym typeface="Arial"/>
              </a:rPr>
              <a:t> </a:t>
            </a: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sym typeface="Arial"/>
              </a:rPr>
              <a:t>AI assists customer service representatives to resolve </a:t>
            </a:r>
            <a:r>
              <a:rPr lang="en-US" sz="2800" kern="0" dirty="0">
                <a:solidFill>
                  <a:srgbClr val="000000"/>
                </a:solidFill>
                <a:sym typeface="Arial"/>
              </a:rPr>
              <a:t>advanced customer queries reducing call time.</a:t>
            </a:r>
            <a:endPar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sym typeface="Arial"/>
            </a:endParaRPr>
          </a:p>
          <a:p>
            <a:pPr marL="0" marR="0" lvl="1" indent="0" defTabSz="2437884" rtl="0" eaLnBrk="1" fontAlgn="base" latinLnBrk="0" hangingPunct="1">
              <a:lnSpc>
                <a:spcPct val="100000"/>
              </a:lnSpc>
              <a:spcBef>
                <a:spcPts val="2933"/>
              </a:spcBef>
              <a:spcAft>
                <a:spcPct val="0"/>
              </a:spcAft>
              <a:buClr>
                <a:srgbClr val="001141"/>
              </a:buClr>
              <a:buSzPct val="100000"/>
              <a:buFont typeface="IBM Plex Sans Light" charset="-120"/>
              <a:buNone/>
              <a:tabLst/>
              <a:defRPr/>
            </a:pPr>
            <a:endPar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sym typeface="Arial"/>
            </a:endParaRPr>
          </a:p>
        </p:txBody>
      </p:sp>
      <p:grpSp>
        <p:nvGrpSpPr>
          <p:cNvPr id="15" name="Group 14">
            <a:extLst>
              <a:ext uri="{FF2B5EF4-FFF2-40B4-BE49-F238E27FC236}">
                <a16:creationId xmlns:a16="http://schemas.microsoft.com/office/drawing/2014/main" id="{A7F1C258-BAFE-68D9-9508-8CAC0992F468}"/>
              </a:ext>
            </a:extLst>
          </p:cNvPr>
          <p:cNvGrpSpPr/>
          <p:nvPr/>
        </p:nvGrpSpPr>
        <p:grpSpPr>
          <a:xfrm>
            <a:off x="10013941" y="2208276"/>
            <a:ext cx="13816584" cy="9299448"/>
            <a:chOff x="10570591" y="2208276"/>
            <a:chExt cx="13816584" cy="9299448"/>
          </a:xfrm>
        </p:grpSpPr>
        <p:sp>
          <p:nvSpPr>
            <p:cNvPr id="13" name="Rectangle 12">
              <a:extLst>
                <a:ext uri="{FF2B5EF4-FFF2-40B4-BE49-F238E27FC236}">
                  <a16:creationId xmlns:a16="http://schemas.microsoft.com/office/drawing/2014/main" id="{EEBF80CF-2131-B4A9-CBD5-D3257BF54AE8}"/>
                </a:ext>
              </a:extLst>
            </p:cNvPr>
            <p:cNvSpPr>
              <a:spLocks/>
            </p:cNvSpPr>
            <p:nvPr/>
          </p:nvSpPr>
          <p:spPr bwMode="auto">
            <a:xfrm>
              <a:off x="10570591" y="2208276"/>
              <a:ext cx="13816584" cy="9299448"/>
            </a:xfrm>
            <a:prstGeom prst="rect">
              <a:avLst/>
            </a:prstGeom>
            <a:solidFill>
              <a:schemeClr val="bg1"/>
            </a:solidFill>
            <a:ln w="19050">
              <a:noFill/>
              <a:headEnd type="none" w="med" len="med"/>
              <a:tailEnd type="none" w="med" len="med"/>
            </a:ln>
            <a:effectLst>
              <a:outerShdw blurRad="1270000" algn="tr" rotWithShape="0">
                <a:prstClr val="black">
                  <a:alpha val="9609"/>
                </a:prstClr>
              </a:outerShd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pic>
          <p:nvPicPr>
            <p:cNvPr id="11" name="Picture 10">
              <a:extLst>
                <a:ext uri="{FF2B5EF4-FFF2-40B4-BE49-F238E27FC236}">
                  <a16:creationId xmlns:a16="http://schemas.microsoft.com/office/drawing/2014/main" id="{411F26A3-FAD2-007F-B5B6-2942EC01D922}"/>
                </a:ext>
              </a:extLst>
            </p:cNvPr>
            <p:cNvPicPr>
              <a:picLocks noChangeAspect="1"/>
            </p:cNvPicPr>
            <p:nvPr/>
          </p:nvPicPr>
          <p:blipFill>
            <a:blip r:embed="rId3"/>
            <a:stretch>
              <a:fillRect/>
            </a:stretch>
          </p:blipFill>
          <p:spPr>
            <a:xfrm>
              <a:off x="11051033" y="2958596"/>
              <a:ext cx="12855700" cy="7798808"/>
            </a:xfrm>
            <a:prstGeom prst="rect">
              <a:avLst/>
            </a:prstGeom>
          </p:spPr>
        </p:pic>
      </p:grpSp>
      <p:sp>
        <p:nvSpPr>
          <p:cNvPr id="5" name="Title 4">
            <a:extLst>
              <a:ext uri="{FF2B5EF4-FFF2-40B4-BE49-F238E27FC236}">
                <a16:creationId xmlns:a16="http://schemas.microsoft.com/office/drawing/2014/main" id="{7DAA8C3C-5269-12B2-378C-9B07A4321242}"/>
              </a:ext>
            </a:extLst>
          </p:cNvPr>
          <p:cNvSpPr>
            <a:spLocks noGrp="1"/>
          </p:cNvSpPr>
          <p:nvPr>
            <p:ph type="title"/>
          </p:nvPr>
        </p:nvSpPr>
        <p:spPr>
          <a:xfrm>
            <a:off x="576072" y="385200"/>
            <a:ext cx="14929883" cy="1527048"/>
          </a:xfrm>
        </p:spPr>
        <p:txBody>
          <a:bodyPr/>
          <a:lstStyle/>
          <a:p>
            <a:r>
              <a:rPr lang="en-US" kern="0" dirty="0">
                <a:solidFill>
                  <a:srgbClr val="000000"/>
                </a:solidFill>
                <a:cs typeface="Arial"/>
                <a:sym typeface="Arial"/>
              </a:rPr>
              <a:t>AI assistants in </a:t>
            </a:r>
            <a:br>
              <a:rPr lang="en-US" kern="0" dirty="0">
                <a:solidFill>
                  <a:srgbClr val="000000"/>
                </a:solidFill>
                <a:cs typeface="Arial"/>
                <a:sym typeface="Arial"/>
              </a:rPr>
            </a:br>
            <a:r>
              <a:rPr lang="en-US" kern="0" dirty="0">
                <a:solidFill>
                  <a:schemeClr val="accent1"/>
                </a:solidFill>
                <a:latin typeface="IBM Plex Sans Light" panose="020B0403050203000203" pitchFamily="34" charset="0"/>
                <a:cs typeface="Arial"/>
                <a:sym typeface="Arial"/>
              </a:rPr>
              <a:t>Customer care</a:t>
            </a:r>
            <a:br>
              <a:rPr kumimoji="0" lang="en-US" u="none" strike="noStrike" kern="0" cap="none" spc="0" normalizeH="0" baseline="0" noProof="0" dirty="0">
                <a:ln>
                  <a:noFill/>
                </a:ln>
                <a:solidFill>
                  <a:schemeClr val="accent1"/>
                </a:solidFill>
                <a:effectLst/>
                <a:uLnTx/>
                <a:uFillTx/>
                <a:latin typeface="IBM Plex Sans Light" panose="020B0403050203000203" pitchFamily="34" charset="0"/>
                <a:cs typeface="Arial"/>
                <a:sym typeface="Arial"/>
              </a:rPr>
            </a:br>
            <a:endParaRPr lang="en-US" dirty="0"/>
          </a:p>
        </p:txBody>
      </p:sp>
    </p:spTree>
    <p:extLst>
      <p:ext uri="{BB962C8B-B14F-4D97-AF65-F5344CB8AC3E}">
        <p14:creationId xmlns:p14="http://schemas.microsoft.com/office/powerpoint/2010/main" val="412225707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50000" decel="5000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1000"/>
                                        <p:tgtEl>
                                          <p:spTgt spid="6">
                                            <p:txEl>
                                              <p:pRg st="0" end="0"/>
                                            </p:txEl>
                                          </p:spTgt>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1000"/>
                                        <p:tgtEl>
                                          <p:spTgt spid="6">
                                            <p:txEl>
                                              <p:pRg st="1" end="1"/>
                                            </p:txEl>
                                          </p:spTgt>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1000"/>
                                        <p:tgtEl>
                                          <p:spTgt spid="6">
                                            <p:txEl>
                                              <p:pRg st="2" end="2"/>
                                            </p:txEl>
                                          </p:spTgt>
                                        </p:tgtEl>
                                      </p:cBhvr>
                                    </p:animEffect>
                                  </p:childTnLst>
                                </p:cTn>
                              </p:par>
                            </p:childTnLst>
                          </p:cTn>
                        </p:par>
                        <p:par>
                          <p:cTn id="20" fill="hold">
                            <p:stCondLst>
                              <p:cond delay="4000"/>
                            </p:stCondLst>
                            <p:childTnLst>
                              <p:par>
                                <p:cTn id="21" presetID="10" presetClass="entr" presetSubtype="0" fill="hold" grpId="0" nodeType="afterEffect">
                                  <p:stCondLst>
                                    <p:cond delay="0"/>
                                  </p:stCondLst>
                                  <p:childTnLst>
                                    <p:set>
                                      <p:cBhvr>
                                        <p:cTn id="22" dur="1" fill="hold">
                                          <p:stCondLst>
                                            <p:cond delay="0"/>
                                          </p:stCondLst>
                                        </p:cTn>
                                        <p:tgtEl>
                                          <p:spTgt spid="6">
                                            <p:txEl>
                                              <p:pRg st="3" end="3"/>
                                            </p:txEl>
                                          </p:spTgt>
                                        </p:tgtEl>
                                        <p:attrNameLst>
                                          <p:attrName>style.visibility</p:attrName>
                                        </p:attrNameLst>
                                      </p:cBhvr>
                                      <p:to>
                                        <p:strVal val="visible"/>
                                      </p:to>
                                    </p:set>
                                    <p:animEffect transition="in" filter="fade">
                                      <p:cBhvr>
                                        <p:cTn id="23" dur="10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descr="Vertical half slide background in blue 10">
            <a:extLst>
              <a:ext uri="{FF2B5EF4-FFF2-40B4-BE49-F238E27FC236}">
                <a16:creationId xmlns:a16="http://schemas.microsoft.com/office/drawing/2014/main" id="{A18A610E-923D-5047-F88B-CF6F7C30E598}"/>
              </a:ext>
            </a:extLst>
          </p:cNvPr>
          <p:cNvSpPr/>
          <p:nvPr/>
        </p:nvSpPr>
        <p:spPr bwMode="auto">
          <a:xfrm>
            <a:off x="9390653" y="17984"/>
            <a:ext cx="14996522" cy="13716000"/>
          </a:xfrm>
          <a:prstGeom prst="rect">
            <a:avLst/>
          </a:prstGeom>
          <a:solidFill>
            <a:srgbClr val="D9FBFB">
              <a:alpha val="5963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7" name="Content Placeholder 3">
            <a:extLst>
              <a:ext uri="{FF2B5EF4-FFF2-40B4-BE49-F238E27FC236}">
                <a16:creationId xmlns:a16="http://schemas.microsoft.com/office/drawing/2014/main" id="{A763782E-AC4C-D637-0BFD-AAC0AC2B307E}"/>
              </a:ext>
            </a:extLst>
          </p:cNvPr>
          <p:cNvSpPr txBox="1">
            <a:spLocks/>
          </p:cNvSpPr>
          <p:nvPr/>
        </p:nvSpPr>
        <p:spPr>
          <a:xfrm>
            <a:off x="579095" y="2743200"/>
            <a:ext cx="8071913" cy="6281207"/>
          </a:xfrm>
          <a:prstGeom prst="rect">
            <a:avLst/>
          </a:prstGeom>
        </p:spPr>
        <p:txBody>
          <a:bodyPr vert="horz" wrap="square" lIns="0" tIns="0" rIns="0" bIns="0" rtlCol="0">
            <a:spAutoFit/>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marL="0" lvl="1" indent="0" defTabSz="2437884">
              <a:spcBef>
                <a:spcPts val="2933"/>
              </a:spcBef>
              <a:buNone/>
              <a:defRPr/>
            </a:pPr>
            <a:r>
              <a:rPr lang="en-US" sz="3200" kern="0" dirty="0">
                <a:solidFill>
                  <a:srgbClr val="000000"/>
                </a:solidFill>
                <a:latin typeface="+mn-lt"/>
                <a:sym typeface="Arial"/>
              </a:rPr>
              <a:t>Safe to say that no one looks forward </a:t>
            </a:r>
            <a:br>
              <a:rPr lang="en-US" sz="3200" kern="0" dirty="0">
                <a:solidFill>
                  <a:srgbClr val="000000"/>
                </a:solidFill>
                <a:latin typeface="+mn-lt"/>
                <a:sym typeface="Arial"/>
              </a:rPr>
            </a:br>
            <a:r>
              <a:rPr lang="en-US" sz="3200" kern="0" dirty="0">
                <a:solidFill>
                  <a:srgbClr val="000000"/>
                </a:solidFill>
                <a:latin typeface="+mn-lt"/>
                <a:sym typeface="Arial"/>
              </a:rPr>
              <a:t>to dealing with the IT helpdesk. </a:t>
            </a:r>
            <a:br>
              <a:rPr lang="en-US" sz="3200" kern="0" dirty="0">
                <a:solidFill>
                  <a:srgbClr val="000000"/>
                </a:solidFill>
                <a:latin typeface="+mn-lt"/>
                <a:sym typeface="Arial"/>
              </a:rPr>
            </a:br>
            <a:r>
              <a:rPr lang="en-US" sz="3200" kern="0" dirty="0">
                <a:solidFill>
                  <a:srgbClr val="000000"/>
                </a:solidFill>
                <a:latin typeface="+mn-lt"/>
                <a:sym typeface="Arial"/>
              </a:rPr>
              <a:t>This perhaps more than any other </a:t>
            </a:r>
            <a:br>
              <a:rPr lang="en-US" sz="3200" kern="0" dirty="0">
                <a:solidFill>
                  <a:srgbClr val="000000"/>
                </a:solidFill>
                <a:latin typeface="+mn-lt"/>
                <a:sym typeface="Arial"/>
              </a:rPr>
            </a:br>
            <a:r>
              <a:rPr lang="en-US" sz="3200" kern="0" dirty="0">
                <a:solidFill>
                  <a:srgbClr val="000000"/>
                </a:solidFill>
                <a:latin typeface="+mn-lt"/>
                <a:sym typeface="Arial"/>
              </a:rPr>
              <a:t>high-frequency enterprise task </a:t>
            </a:r>
            <a:br>
              <a:rPr lang="en-US" sz="3200" kern="0" dirty="0">
                <a:solidFill>
                  <a:srgbClr val="000000"/>
                </a:solidFill>
                <a:latin typeface="+mn-lt"/>
                <a:sym typeface="Arial"/>
              </a:rPr>
            </a:br>
            <a:r>
              <a:rPr lang="en-US" sz="3200" kern="0" dirty="0">
                <a:solidFill>
                  <a:srgbClr val="000000"/>
                </a:solidFill>
                <a:latin typeface="+mn-lt"/>
                <a:sym typeface="Arial"/>
              </a:rPr>
              <a:t>can reap the benefits of the entire AI </a:t>
            </a:r>
            <a:br>
              <a:rPr lang="en-US" sz="3200" kern="0" dirty="0">
                <a:solidFill>
                  <a:srgbClr val="000000"/>
                </a:solidFill>
                <a:latin typeface="+mn-lt"/>
                <a:sym typeface="Arial"/>
              </a:rPr>
            </a:br>
            <a:r>
              <a:rPr lang="en-US" sz="3200" kern="0" dirty="0">
                <a:solidFill>
                  <a:srgbClr val="000000"/>
                </a:solidFill>
                <a:latin typeface="+mn-lt"/>
                <a:sym typeface="Arial"/>
              </a:rPr>
              <a:t>and automation tool kit in a large percentage </a:t>
            </a:r>
            <a:br>
              <a:rPr lang="en-US" sz="3200" kern="0" dirty="0">
                <a:solidFill>
                  <a:srgbClr val="000000"/>
                </a:solidFill>
                <a:latin typeface="+mn-lt"/>
                <a:sym typeface="Arial"/>
              </a:rPr>
            </a:br>
            <a:r>
              <a:rPr lang="en-US" sz="3200" kern="0" dirty="0">
                <a:solidFill>
                  <a:srgbClr val="000000"/>
                </a:solidFill>
                <a:latin typeface="+mn-lt"/>
                <a:sym typeface="Arial"/>
              </a:rPr>
              <a:t>of E2E use cases, leading to faster resolution times with little or no human involvement.</a:t>
            </a:r>
          </a:p>
          <a:p>
            <a:pPr marL="0" lvl="1" indent="0" defTabSz="2437884">
              <a:spcBef>
                <a:spcPts val="2933"/>
              </a:spcBef>
              <a:buNone/>
              <a:defRPr/>
            </a:pPr>
            <a:r>
              <a:rPr lang="en-US" sz="3200" kern="0" dirty="0">
                <a:solidFill>
                  <a:srgbClr val="000000"/>
                </a:solidFill>
                <a:latin typeface="+mn-lt"/>
                <a:sym typeface="Arial"/>
              </a:rPr>
              <a:t>IT self-serve </a:t>
            </a:r>
            <a:br>
              <a:rPr lang="en-US" sz="3200" kern="0" dirty="0">
                <a:solidFill>
                  <a:srgbClr val="000000"/>
                </a:solidFill>
                <a:latin typeface="+mn-lt"/>
                <a:sym typeface="Arial"/>
              </a:rPr>
            </a:br>
            <a:r>
              <a:rPr lang="en-US" sz="3200" kern="0" dirty="0">
                <a:solidFill>
                  <a:srgbClr val="000000"/>
                </a:solidFill>
                <a:latin typeface="+mn-lt"/>
                <a:sym typeface="Arial"/>
              </a:rPr>
              <a:t>Resolves IT support topics </a:t>
            </a:r>
            <a:br>
              <a:rPr lang="en-US" sz="3200" kern="0" dirty="0">
                <a:solidFill>
                  <a:srgbClr val="000000"/>
                </a:solidFill>
                <a:latin typeface="+mn-lt"/>
                <a:sym typeface="Arial"/>
              </a:rPr>
            </a:br>
            <a:r>
              <a:rPr lang="en-US" sz="3200" kern="0" dirty="0">
                <a:solidFill>
                  <a:srgbClr val="000000"/>
                </a:solidFill>
                <a:latin typeface="+mn-lt"/>
                <a:sym typeface="Arial"/>
              </a:rPr>
              <a:t>for employees 24/7 in a conversational interface using natural language.</a:t>
            </a:r>
          </a:p>
        </p:txBody>
      </p:sp>
      <p:grpSp>
        <p:nvGrpSpPr>
          <p:cNvPr id="11" name="Group 10">
            <a:extLst>
              <a:ext uri="{FF2B5EF4-FFF2-40B4-BE49-F238E27FC236}">
                <a16:creationId xmlns:a16="http://schemas.microsoft.com/office/drawing/2014/main" id="{9A4C12E1-4A11-A3E7-0778-765AC8BA5A60}"/>
              </a:ext>
            </a:extLst>
          </p:cNvPr>
          <p:cNvGrpSpPr/>
          <p:nvPr/>
        </p:nvGrpSpPr>
        <p:grpSpPr>
          <a:xfrm>
            <a:off x="9991496" y="1912248"/>
            <a:ext cx="13816584" cy="9299448"/>
            <a:chOff x="10567848" y="2971800"/>
            <a:chExt cx="13816584" cy="9299448"/>
          </a:xfrm>
        </p:grpSpPr>
        <p:sp>
          <p:nvSpPr>
            <p:cNvPr id="6" name="Rectangle 5">
              <a:extLst>
                <a:ext uri="{FF2B5EF4-FFF2-40B4-BE49-F238E27FC236}">
                  <a16:creationId xmlns:a16="http://schemas.microsoft.com/office/drawing/2014/main" id="{E536F86C-29AC-1EA8-CE91-65C80B47F6F5}"/>
                </a:ext>
              </a:extLst>
            </p:cNvPr>
            <p:cNvSpPr>
              <a:spLocks/>
            </p:cNvSpPr>
            <p:nvPr/>
          </p:nvSpPr>
          <p:spPr bwMode="auto">
            <a:xfrm>
              <a:off x="10567848" y="2971800"/>
              <a:ext cx="13816584" cy="9299448"/>
            </a:xfrm>
            <a:prstGeom prst="rect">
              <a:avLst/>
            </a:prstGeom>
            <a:solidFill>
              <a:schemeClr val="bg1"/>
            </a:solidFill>
            <a:ln w="19050">
              <a:noFill/>
              <a:headEnd type="none" w="med" len="med"/>
              <a:tailEnd type="none" w="med" len="med"/>
            </a:ln>
            <a:effectLst>
              <a:outerShdw blurRad="1270000" algn="tr" rotWithShape="0">
                <a:prstClr val="black">
                  <a:alpha val="9609"/>
                </a:prstClr>
              </a:outerShd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pic>
          <p:nvPicPr>
            <p:cNvPr id="10" name="Picture 2">
              <a:extLst>
                <a:ext uri="{FF2B5EF4-FFF2-40B4-BE49-F238E27FC236}">
                  <a16:creationId xmlns:a16="http://schemas.microsoft.com/office/drawing/2014/main" id="{8BF77270-6D26-28A1-4F4A-0B1E1DC3C90C}"/>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a:stretch/>
          </p:blipFill>
          <p:spPr bwMode="auto">
            <a:xfrm>
              <a:off x="10567848" y="2971800"/>
              <a:ext cx="13811206" cy="9299448"/>
            </a:xfrm>
            <a:prstGeom prst="rect">
              <a:avLst/>
            </a:prstGeom>
            <a:noFill/>
            <a:effectLst/>
            <a:extLst>
              <a:ext uri="{909E8E84-426E-40DD-AFC4-6F175D3DCCD1}">
                <a14:hiddenFill xmlns:a14="http://schemas.microsoft.com/office/drawing/2010/main">
                  <a:solidFill>
                    <a:srgbClr val="FFFFFF"/>
                  </a:solidFill>
                </a14:hiddenFill>
              </a:ext>
            </a:extLst>
          </p:spPr>
        </p:pic>
      </p:grpSp>
      <p:sp>
        <p:nvSpPr>
          <p:cNvPr id="5" name="Title 4">
            <a:extLst>
              <a:ext uri="{FF2B5EF4-FFF2-40B4-BE49-F238E27FC236}">
                <a16:creationId xmlns:a16="http://schemas.microsoft.com/office/drawing/2014/main" id="{0345C628-E404-C9CC-782D-0AE7CF87FCE4}"/>
              </a:ext>
            </a:extLst>
          </p:cNvPr>
          <p:cNvSpPr>
            <a:spLocks noGrp="1"/>
          </p:cNvSpPr>
          <p:nvPr>
            <p:ph type="title"/>
          </p:nvPr>
        </p:nvSpPr>
        <p:spPr>
          <a:xfrm>
            <a:off x="576072" y="385200"/>
            <a:ext cx="9601291" cy="1527048"/>
          </a:xfrm>
        </p:spPr>
        <p:txBody>
          <a:bodyPr/>
          <a:lstStyle/>
          <a:p>
            <a:r>
              <a:rPr lang="en-US" kern="0" dirty="0">
                <a:solidFill>
                  <a:srgbClr val="000000"/>
                </a:solidFill>
                <a:cs typeface="Arial"/>
                <a:sym typeface="Arial"/>
              </a:rPr>
              <a:t>AI assistants in </a:t>
            </a:r>
            <a:r>
              <a:rPr lang="en-US" kern="0" dirty="0">
                <a:solidFill>
                  <a:schemeClr val="accent1"/>
                </a:solidFill>
                <a:latin typeface="IBM Plex Sans Light" panose="020B0403050203000203" pitchFamily="34" charset="0"/>
                <a:cs typeface="Arial"/>
                <a:sym typeface="Arial"/>
              </a:rPr>
              <a:t>IT</a:t>
            </a:r>
            <a:endParaRPr lang="en-US" dirty="0"/>
          </a:p>
        </p:txBody>
      </p:sp>
    </p:spTree>
    <p:extLst>
      <p:ext uri="{BB962C8B-B14F-4D97-AF65-F5344CB8AC3E}">
        <p14:creationId xmlns:p14="http://schemas.microsoft.com/office/powerpoint/2010/main" val="3460423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50000" decel="5000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2000" fill="hold"/>
                                        <p:tgtEl>
                                          <p:spTgt spid="11"/>
                                        </p:tgtEl>
                                        <p:attrNameLst>
                                          <p:attrName>ppt_x</p:attrName>
                                        </p:attrNameLst>
                                      </p:cBhvr>
                                      <p:tavLst>
                                        <p:tav tm="0">
                                          <p:val>
                                            <p:strVal val="1+#ppt_w/2"/>
                                          </p:val>
                                        </p:tav>
                                        <p:tav tm="100000">
                                          <p:val>
                                            <p:strVal val="#ppt_x"/>
                                          </p:val>
                                        </p:tav>
                                      </p:tavLst>
                                    </p:anim>
                                    <p:anim calcmode="lin" valueType="num">
                                      <p:cBhvr additive="base">
                                        <p:cTn id="8" dur="2000" fill="hold"/>
                                        <p:tgtEl>
                                          <p:spTgt spid="11"/>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1000"/>
                                        <p:tgtEl>
                                          <p:spTgt spid="7">
                                            <p:txEl>
                                              <p:pRg st="0" end="0"/>
                                            </p:txEl>
                                          </p:spTgt>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10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62050445-574D-37DE-1EC1-63E97C6B717B}"/>
              </a:ext>
            </a:extLst>
          </p:cNvPr>
          <p:cNvSpPr txBox="1">
            <a:spLocks/>
          </p:cNvSpPr>
          <p:nvPr/>
        </p:nvSpPr>
        <p:spPr>
          <a:xfrm>
            <a:off x="18900066" y="12801604"/>
            <a:ext cx="4877254" cy="444499"/>
          </a:xfrm>
          <a:prstGeom prst="rect">
            <a:avLst/>
          </a:prstGeom>
        </p:spPr>
        <p:txBody>
          <a:bodyPr/>
          <a:lstStyle>
            <a:defPPr>
              <a:defRPr lang="en-US"/>
            </a:defPPr>
            <a:lvl1pPr marL="0" algn="l" defTabSz="1829379" rtl="0" eaLnBrk="1" latinLnBrk="0" hangingPunct="1">
              <a:defRPr sz="36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r" defTabSz="1371982" rtl="0" eaLnBrk="1" fontAlgn="auto" latinLnBrk="0" hangingPunct="1">
              <a:lnSpc>
                <a:spcPct val="100000"/>
              </a:lnSpc>
              <a:spcBef>
                <a:spcPts val="0"/>
              </a:spcBef>
              <a:spcAft>
                <a:spcPts val="0"/>
              </a:spcAft>
              <a:buClr>
                <a:srgbClr val="000000"/>
              </a:buClr>
              <a:buSzTx/>
              <a:buFontTx/>
              <a:buNone/>
              <a:tabLst/>
              <a:defRPr/>
            </a:pPr>
            <a:fld id="{81B13A8B-8D95-BC44-A2FE-339DD532D912}" type="slidenum">
              <a:rPr kumimoji="0" lang="en-US" sz="1600" u="none" strike="noStrike" kern="0" cap="none" spc="0" normalizeH="0" baseline="0" noProof="0" smtClean="0">
                <a:ln>
                  <a:noFill/>
                </a:ln>
                <a:solidFill>
                  <a:srgbClr val="000000"/>
                </a:solidFill>
                <a:effectLst/>
                <a:uLnTx/>
                <a:uFillTx/>
                <a:latin typeface="IBM Plex Sans" panose="020B0503050203000203" pitchFamily="34" charset="0"/>
                <a:cs typeface="Arial"/>
                <a:sym typeface="Arial"/>
              </a:rPr>
              <a:pPr marL="0" marR="0" lvl="0" indent="0" algn="r" defTabSz="1371982" rtl="0" eaLnBrk="1" fontAlgn="auto" latinLnBrk="0" hangingPunct="1">
                <a:lnSpc>
                  <a:spcPct val="100000"/>
                </a:lnSpc>
                <a:spcBef>
                  <a:spcPts val="0"/>
                </a:spcBef>
                <a:spcAft>
                  <a:spcPts val="0"/>
                </a:spcAft>
                <a:buClr>
                  <a:srgbClr val="000000"/>
                </a:buClr>
                <a:buSzTx/>
                <a:buFontTx/>
                <a:buNone/>
                <a:tabLst/>
                <a:defRPr/>
              </a:pPr>
              <a:t>32</a:t>
            </a:fld>
            <a:endParaRPr kumimoji="0" lang="en-US" sz="1600" u="none" strike="noStrike" kern="0" cap="none" spc="0" normalizeH="0" baseline="0" noProof="0" dirty="0">
              <a:ln>
                <a:noFill/>
              </a:ln>
              <a:solidFill>
                <a:srgbClr val="000000"/>
              </a:solidFill>
              <a:effectLst/>
              <a:uLnTx/>
              <a:uFillTx/>
              <a:latin typeface="IBM Plex Sans" panose="020B0503050203000203" pitchFamily="34" charset="0"/>
              <a:cs typeface="Arial"/>
              <a:sym typeface="Arial"/>
            </a:endParaRPr>
          </a:p>
        </p:txBody>
      </p:sp>
      <p:sp>
        <p:nvSpPr>
          <p:cNvPr id="4" name="Footer Placeholder 6">
            <a:extLst>
              <a:ext uri="{FF2B5EF4-FFF2-40B4-BE49-F238E27FC236}">
                <a16:creationId xmlns:a16="http://schemas.microsoft.com/office/drawing/2014/main" id="{2EFC98EC-491A-0AB0-C837-91740B2988DB}"/>
              </a:ext>
            </a:extLst>
          </p:cNvPr>
          <p:cNvSpPr txBox="1">
            <a:spLocks/>
          </p:cNvSpPr>
          <p:nvPr/>
        </p:nvSpPr>
        <p:spPr>
          <a:xfrm>
            <a:off x="576187" y="13061143"/>
            <a:ext cx="4876165" cy="444440"/>
          </a:xfrm>
          <a:prstGeom prst="rect">
            <a:avLst/>
          </a:prstGeom>
        </p:spPr>
        <p:txBody>
          <a:bodyPr vert="horz" lIns="0" tIns="0" rIns="0" bIns="0" rtlCol="0" anchor="ctr"/>
          <a:lstStyle>
            <a:defPPr>
              <a:defRPr lang="en-US"/>
            </a:defPPr>
            <a:lvl1pPr marL="0" marR="0" indent="0" algn="l" defTabSz="685992" rtl="0" eaLnBrk="1" fontAlgn="auto" latinLnBrk="0" hangingPunct="1">
              <a:lnSpc>
                <a:spcPct val="100000"/>
              </a:lnSpc>
              <a:spcBef>
                <a:spcPts val="0"/>
              </a:spcBef>
              <a:spcAft>
                <a:spcPts val="0"/>
              </a:spcAft>
              <a:buClrTx/>
              <a:buSzTx/>
              <a:buFontTx/>
              <a:buNone/>
              <a:tabLst/>
              <a:defRPr sz="600" b="0" i="0" kern="1200">
                <a:solidFill>
                  <a:schemeClr val="tx1"/>
                </a:solidFill>
                <a:latin typeface="IBM Plex Sans" panose="020B0503050203000203"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marL="0" marR="0" lvl="0" indent="0" algn="l" defTabSz="182929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IBM Plex Sans"/>
                <a:ea typeface="+mn-ea"/>
                <a:cs typeface="+mn-cs"/>
                <a:sym typeface="Arial"/>
              </a:rPr>
              <a:t>© 2023 IBM Corporation</a:t>
            </a:r>
          </a:p>
        </p:txBody>
      </p:sp>
      <p:sp>
        <p:nvSpPr>
          <p:cNvPr id="3" name="Rectangle 2" descr="Vertical half slide background in blue 10">
            <a:extLst>
              <a:ext uri="{FF2B5EF4-FFF2-40B4-BE49-F238E27FC236}">
                <a16:creationId xmlns:a16="http://schemas.microsoft.com/office/drawing/2014/main" id="{2A609413-0F9C-B78F-B3DA-EFD35C8C17C9}"/>
              </a:ext>
            </a:extLst>
          </p:cNvPr>
          <p:cNvSpPr/>
          <p:nvPr/>
        </p:nvSpPr>
        <p:spPr bwMode="auto">
          <a:xfrm>
            <a:off x="9385275" y="0"/>
            <a:ext cx="15001900" cy="137160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7" name="Content Placeholder 3">
            <a:extLst>
              <a:ext uri="{FF2B5EF4-FFF2-40B4-BE49-F238E27FC236}">
                <a16:creationId xmlns:a16="http://schemas.microsoft.com/office/drawing/2014/main" id="{178B8619-5532-39A1-F641-29C9F03C6E7D}"/>
              </a:ext>
            </a:extLst>
          </p:cNvPr>
          <p:cNvSpPr txBox="1">
            <a:spLocks/>
          </p:cNvSpPr>
          <p:nvPr/>
        </p:nvSpPr>
        <p:spPr>
          <a:xfrm>
            <a:off x="579095" y="2743200"/>
            <a:ext cx="8071913" cy="8622873"/>
          </a:xfrm>
          <a:prstGeom prst="rect">
            <a:avLst/>
          </a:prstGeom>
        </p:spPr>
        <p:txBody>
          <a:bodyPr vert="horz" wrap="square" lIns="0" tIns="0" rIns="0" bIns="0" rtlCol="0">
            <a:spAutoFit/>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marL="0" lvl="1" indent="0" defTabSz="2437884">
              <a:spcBef>
                <a:spcPts val="2933"/>
              </a:spcBef>
              <a:buNone/>
              <a:defRPr/>
            </a:pPr>
            <a:r>
              <a:rPr lang="en-US" sz="3200" kern="0" dirty="0">
                <a:solidFill>
                  <a:srgbClr val="000000"/>
                </a:solidFill>
                <a:latin typeface="+mn-lt"/>
                <a:sym typeface="Arial"/>
              </a:rPr>
              <a:t>Empowering employees to spend less time getting the information they need to manage critical aspects of their job, as well </a:t>
            </a:r>
            <a:br>
              <a:rPr lang="en-US" sz="3200" kern="0" dirty="0">
                <a:solidFill>
                  <a:srgbClr val="000000"/>
                </a:solidFill>
                <a:latin typeface="+mn-lt"/>
                <a:sym typeface="Arial"/>
              </a:rPr>
            </a:br>
            <a:r>
              <a:rPr lang="en-US" sz="3200" kern="0" dirty="0">
                <a:solidFill>
                  <a:srgbClr val="000000"/>
                </a:solidFill>
                <a:latin typeface="+mn-lt"/>
                <a:sym typeface="Arial"/>
              </a:rPr>
              <a:t>as automating resolution processes </a:t>
            </a:r>
            <a:br>
              <a:rPr lang="en-US" sz="3200" kern="0" dirty="0">
                <a:solidFill>
                  <a:srgbClr val="000000"/>
                </a:solidFill>
                <a:latin typeface="+mn-lt"/>
                <a:sym typeface="Arial"/>
              </a:rPr>
            </a:br>
            <a:r>
              <a:rPr lang="en-US" sz="3200" kern="0" dirty="0">
                <a:solidFill>
                  <a:srgbClr val="000000"/>
                </a:solidFill>
                <a:latin typeface="+mn-lt"/>
                <a:sym typeface="Arial"/>
              </a:rPr>
              <a:t>is a boon for productivity. </a:t>
            </a:r>
            <a:br>
              <a:rPr lang="en-US" sz="3200" kern="0" dirty="0">
                <a:solidFill>
                  <a:srgbClr val="000000"/>
                </a:solidFill>
                <a:latin typeface="+mn-lt"/>
                <a:sym typeface="Arial"/>
              </a:rPr>
            </a:br>
            <a:r>
              <a:rPr lang="en-US" sz="3200" kern="0" dirty="0">
                <a:solidFill>
                  <a:srgbClr val="000000"/>
                </a:solidFill>
                <a:latin typeface="+mn-lt"/>
                <a:sym typeface="Arial"/>
              </a:rPr>
              <a:t>It can add up to days per month saved </a:t>
            </a:r>
            <a:br>
              <a:rPr lang="en-US" sz="3200" kern="0" dirty="0">
                <a:solidFill>
                  <a:srgbClr val="000000"/>
                </a:solidFill>
                <a:latin typeface="+mn-lt"/>
                <a:sym typeface="Arial"/>
              </a:rPr>
            </a:br>
            <a:r>
              <a:rPr lang="en-US" sz="3200" kern="0" dirty="0">
                <a:solidFill>
                  <a:srgbClr val="000000"/>
                </a:solidFill>
                <a:latin typeface="+mn-lt"/>
                <a:sym typeface="Arial"/>
              </a:rPr>
              <a:t>and turn this into a truly background task. </a:t>
            </a:r>
          </a:p>
          <a:p>
            <a:pPr marL="0" lvl="1" indent="0" defTabSz="2437884">
              <a:spcBef>
                <a:spcPts val="2933"/>
              </a:spcBef>
              <a:buNone/>
              <a:defRPr/>
            </a:pPr>
            <a:r>
              <a:rPr lang="en-US" sz="3200" kern="0" dirty="0">
                <a:solidFill>
                  <a:srgbClr val="000000"/>
                </a:solidFill>
                <a:latin typeface="+mn-lt"/>
                <a:sym typeface="Arial"/>
              </a:rPr>
              <a:t>Employee self-serve</a:t>
            </a:r>
            <a:br>
              <a:rPr lang="en-US" sz="3200" kern="0" dirty="0">
                <a:solidFill>
                  <a:srgbClr val="000000"/>
                </a:solidFill>
                <a:latin typeface="+mn-lt"/>
                <a:sym typeface="Arial"/>
              </a:rPr>
            </a:br>
            <a:r>
              <a:rPr lang="en-US" sz="3200" kern="0" dirty="0">
                <a:solidFill>
                  <a:srgbClr val="000000"/>
                </a:solidFill>
                <a:latin typeface="+mn-lt"/>
                <a:sym typeface="Arial"/>
              </a:rPr>
              <a:t>Resolves HR topics (travel, compensation, etc.) for employees 24/7 in a conversational interface using natural language.</a:t>
            </a:r>
          </a:p>
          <a:p>
            <a:pPr marL="0" lvl="1" indent="0" defTabSz="2437884">
              <a:spcBef>
                <a:spcPts val="2933"/>
              </a:spcBef>
              <a:buNone/>
              <a:defRPr/>
            </a:pPr>
            <a:r>
              <a:rPr lang="en-US" sz="3200" kern="0" dirty="0">
                <a:solidFill>
                  <a:srgbClr val="000000"/>
                </a:solidFill>
                <a:latin typeface="+mn-lt"/>
                <a:sym typeface="Arial"/>
              </a:rPr>
              <a:t>Talent recruitment</a:t>
            </a:r>
            <a:br>
              <a:rPr lang="en-US" sz="3200" kern="0" dirty="0">
                <a:solidFill>
                  <a:srgbClr val="000000"/>
                </a:solidFill>
                <a:latin typeface="+mn-lt"/>
                <a:sym typeface="Arial"/>
              </a:rPr>
            </a:br>
            <a:r>
              <a:rPr lang="en-US" sz="3200" kern="0" dirty="0">
                <a:solidFill>
                  <a:srgbClr val="000000"/>
                </a:solidFill>
                <a:latin typeface="+mn-lt"/>
                <a:sym typeface="Arial"/>
              </a:rPr>
              <a:t>Streamline all HR tasks from talent recruitment to payroll and compensation by letting HR experts self serve via natural language.</a:t>
            </a:r>
          </a:p>
        </p:txBody>
      </p:sp>
      <p:sp>
        <p:nvSpPr>
          <p:cNvPr id="5" name="Title 4">
            <a:extLst>
              <a:ext uri="{FF2B5EF4-FFF2-40B4-BE49-F238E27FC236}">
                <a16:creationId xmlns:a16="http://schemas.microsoft.com/office/drawing/2014/main" id="{7BEEFA44-B014-E94D-6B92-839CEF15158D}"/>
              </a:ext>
            </a:extLst>
          </p:cNvPr>
          <p:cNvSpPr>
            <a:spLocks noGrp="1"/>
          </p:cNvSpPr>
          <p:nvPr>
            <p:ph type="title"/>
          </p:nvPr>
        </p:nvSpPr>
        <p:spPr>
          <a:xfrm>
            <a:off x="576072" y="385200"/>
            <a:ext cx="11615928" cy="1527048"/>
          </a:xfrm>
        </p:spPr>
        <p:txBody>
          <a:bodyPr/>
          <a:lstStyle/>
          <a:p>
            <a:r>
              <a:rPr lang="en-US" kern="0" dirty="0">
                <a:solidFill>
                  <a:srgbClr val="000000"/>
                </a:solidFill>
                <a:cs typeface="Arial"/>
                <a:sym typeface="Arial"/>
              </a:rPr>
              <a:t>AI assistants in </a:t>
            </a:r>
            <a:r>
              <a:rPr lang="en-US" kern="0" dirty="0">
                <a:solidFill>
                  <a:schemeClr val="accent1"/>
                </a:solidFill>
                <a:latin typeface="IBM Plex Sans Light" panose="020B0403050203000203" pitchFamily="34" charset="0"/>
                <a:cs typeface="Arial"/>
                <a:sym typeface="Arial"/>
              </a:rPr>
              <a:t>HR</a:t>
            </a:r>
            <a:br>
              <a:rPr kumimoji="0" lang="en-US" u="none" strike="noStrike" kern="0" cap="none" spc="0" normalizeH="0" baseline="0" noProof="0" dirty="0">
                <a:ln>
                  <a:noFill/>
                </a:ln>
                <a:solidFill>
                  <a:schemeClr val="accent1"/>
                </a:solidFill>
                <a:effectLst/>
                <a:uLnTx/>
                <a:uFillTx/>
                <a:latin typeface="IBM Plex Sans Light" panose="020B0403050203000203" pitchFamily="34" charset="0"/>
                <a:cs typeface="Arial"/>
                <a:sym typeface="Arial"/>
              </a:rPr>
            </a:br>
            <a:endParaRPr lang="en-US" dirty="0"/>
          </a:p>
        </p:txBody>
      </p:sp>
      <p:pic>
        <p:nvPicPr>
          <p:cNvPr id="8" name="Picture 7">
            <a:extLst>
              <a:ext uri="{FF2B5EF4-FFF2-40B4-BE49-F238E27FC236}">
                <a16:creationId xmlns:a16="http://schemas.microsoft.com/office/drawing/2014/main" id="{DCBF263C-94EA-A788-F42A-6A581B7B57CD}"/>
              </a:ext>
            </a:extLst>
          </p:cNvPr>
          <p:cNvPicPr>
            <a:picLocks noChangeAspect="1"/>
          </p:cNvPicPr>
          <p:nvPr/>
        </p:nvPicPr>
        <p:blipFill>
          <a:blip r:embed="rId3"/>
          <a:stretch>
            <a:fillRect/>
          </a:stretch>
        </p:blipFill>
        <p:spPr>
          <a:xfrm>
            <a:off x="10371467" y="2704549"/>
            <a:ext cx="13386752" cy="8749511"/>
          </a:xfrm>
          <a:prstGeom prst="rect">
            <a:avLst/>
          </a:prstGeom>
        </p:spPr>
      </p:pic>
    </p:spTree>
    <p:extLst>
      <p:ext uri="{BB962C8B-B14F-4D97-AF65-F5344CB8AC3E}">
        <p14:creationId xmlns:p14="http://schemas.microsoft.com/office/powerpoint/2010/main" val="159893824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1000"/>
                                        <p:tgtEl>
                                          <p:spTgt spid="7">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animEffect transition="in" filter="fade">
                                      <p:cBhvr>
                                        <p:cTn id="11" dur="1000"/>
                                        <p:tgtEl>
                                          <p:spTgt spid="7">
                                            <p:txEl>
                                              <p:pRg st="1" end="1"/>
                                            </p:txEl>
                                          </p:spTgt>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animEffect transition="in" filter="fade">
                                      <p:cBhvr>
                                        <p:cTn id="15" dur="10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62050445-574D-37DE-1EC1-63E97C6B717B}"/>
              </a:ext>
            </a:extLst>
          </p:cNvPr>
          <p:cNvSpPr txBox="1">
            <a:spLocks/>
          </p:cNvSpPr>
          <p:nvPr/>
        </p:nvSpPr>
        <p:spPr>
          <a:xfrm>
            <a:off x="18900066" y="12801604"/>
            <a:ext cx="4877254" cy="444499"/>
          </a:xfrm>
          <a:prstGeom prst="rect">
            <a:avLst/>
          </a:prstGeom>
        </p:spPr>
        <p:txBody>
          <a:bodyPr/>
          <a:lstStyle>
            <a:defPPr>
              <a:defRPr lang="en-US"/>
            </a:defPPr>
            <a:lvl1pPr marL="0" algn="l" defTabSz="1829379" rtl="0" eaLnBrk="1" latinLnBrk="0" hangingPunct="1">
              <a:defRPr sz="36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r" defTabSz="1371982" rtl="0" eaLnBrk="1" fontAlgn="auto" latinLnBrk="0" hangingPunct="1">
              <a:lnSpc>
                <a:spcPct val="100000"/>
              </a:lnSpc>
              <a:spcBef>
                <a:spcPts val="0"/>
              </a:spcBef>
              <a:spcAft>
                <a:spcPts val="0"/>
              </a:spcAft>
              <a:buClr>
                <a:srgbClr val="000000"/>
              </a:buClr>
              <a:buSzTx/>
              <a:buFontTx/>
              <a:buNone/>
              <a:tabLst/>
              <a:defRPr/>
            </a:pPr>
            <a:fld id="{81B13A8B-8D95-BC44-A2FE-339DD532D912}" type="slidenum">
              <a:rPr kumimoji="0" lang="en-US" sz="1600" u="none" strike="noStrike" kern="0" cap="none" spc="0" normalizeH="0" baseline="0" noProof="0" smtClean="0">
                <a:ln>
                  <a:noFill/>
                </a:ln>
                <a:solidFill>
                  <a:srgbClr val="000000"/>
                </a:solidFill>
                <a:effectLst/>
                <a:uLnTx/>
                <a:uFillTx/>
                <a:latin typeface="IBM Plex Sans" panose="020B0503050203000203" pitchFamily="34" charset="0"/>
                <a:cs typeface="Arial"/>
                <a:sym typeface="Arial"/>
              </a:rPr>
              <a:pPr marL="0" marR="0" lvl="0" indent="0" algn="r" defTabSz="1371982" rtl="0" eaLnBrk="1" fontAlgn="auto" latinLnBrk="0" hangingPunct="1">
                <a:lnSpc>
                  <a:spcPct val="100000"/>
                </a:lnSpc>
                <a:spcBef>
                  <a:spcPts val="0"/>
                </a:spcBef>
                <a:spcAft>
                  <a:spcPts val="0"/>
                </a:spcAft>
                <a:buClr>
                  <a:srgbClr val="000000"/>
                </a:buClr>
                <a:buSzTx/>
                <a:buFontTx/>
                <a:buNone/>
                <a:tabLst/>
                <a:defRPr/>
              </a:pPr>
              <a:t>33</a:t>
            </a:fld>
            <a:endParaRPr kumimoji="0" lang="en-US" sz="1600" u="none" strike="noStrike" kern="0" cap="none" spc="0" normalizeH="0" baseline="0" noProof="0" dirty="0">
              <a:ln>
                <a:noFill/>
              </a:ln>
              <a:solidFill>
                <a:srgbClr val="000000"/>
              </a:solidFill>
              <a:effectLst/>
              <a:uLnTx/>
              <a:uFillTx/>
              <a:latin typeface="IBM Plex Sans" panose="020B0503050203000203" pitchFamily="34" charset="0"/>
              <a:cs typeface="Arial"/>
              <a:sym typeface="Arial"/>
            </a:endParaRPr>
          </a:p>
        </p:txBody>
      </p:sp>
      <p:sp>
        <p:nvSpPr>
          <p:cNvPr id="3" name="Rectangle 2" descr="Vertical half slide background in blue 10">
            <a:extLst>
              <a:ext uri="{FF2B5EF4-FFF2-40B4-BE49-F238E27FC236}">
                <a16:creationId xmlns:a16="http://schemas.microsoft.com/office/drawing/2014/main" id="{0743D263-611B-0436-2509-0AC4ADCB8B64}"/>
              </a:ext>
            </a:extLst>
          </p:cNvPr>
          <p:cNvSpPr/>
          <p:nvPr/>
        </p:nvSpPr>
        <p:spPr bwMode="auto">
          <a:xfrm>
            <a:off x="9405216" y="-17240"/>
            <a:ext cx="15001900" cy="13716000"/>
          </a:xfrm>
          <a:prstGeom prst="rect">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7" name="Content Placeholder 3">
            <a:extLst>
              <a:ext uri="{FF2B5EF4-FFF2-40B4-BE49-F238E27FC236}">
                <a16:creationId xmlns:a16="http://schemas.microsoft.com/office/drawing/2014/main" id="{9BF94411-40AB-4EC6-1021-7E435B1A59A1}"/>
              </a:ext>
            </a:extLst>
          </p:cNvPr>
          <p:cNvSpPr txBox="1">
            <a:spLocks/>
          </p:cNvSpPr>
          <p:nvPr/>
        </p:nvSpPr>
        <p:spPr>
          <a:xfrm>
            <a:off x="579095" y="2743200"/>
            <a:ext cx="8071913" cy="8622873"/>
          </a:xfrm>
          <a:prstGeom prst="rect">
            <a:avLst/>
          </a:prstGeom>
        </p:spPr>
        <p:txBody>
          <a:bodyPr vert="horz" wrap="square" lIns="0" tIns="0" rIns="0" bIns="0" rtlCol="0">
            <a:spAutoFit/>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marL="0" marR="0" lvl="1" indent="0" defTabSz="2437884" rtl="0" eaLnBrk="1" fontAlgn="base" latinLnBrk="0" hangingPunct="1">
              <a:lnSpc>
                <a:spcPct val="100000"/>
              </a:lnSpc>
              <a:spcBef>
                <a:spcPts val="2933"/>
              </a:spcBef>
              <a:spcAft>
                <a:spcPct val="0"/>
              </a:spcAft>
              <a:buClr>
                <a:srgbClr val="001141"/>
              </a:buClr>
              <a:buSzPct val="100000"/>
              <a:buFont typeface="IBM Plex Sans Light" charset="-120"/>
              <a:buNone/>
              <a:tabLst/>
              <a:defRPr/>
            </a:pPr>
            <a:r>
              <a:rPr kumimoji="0" lang="en-US" sz="3200" b="0" i="0" u="none" strike="noStrike" kern="0" cap="none" spc="0" normalizeH="0" baseline="0" noProof="0" dirty="0">
                <a:ln>
                  <a:noFill/>
                </a:ln>
                <a:solidFill>
                  <a:srgbClr val="000000"/>
                </a:solidFill>
                <a:effectLst/>
                <a:uLnTx/>
                <a:uFillTx/>
                <a:latin typeface="+mn-lt"/>
                <a:sym typeface="Arial"/>
              </a:rPr>
              <a:t>Procurement and Sales are dynamic, </a:t>
            </a:r>
            <a:br>
              <a:rPr kumimoji="0" lang="en-US" sz="3200" b="0" i="0" u="none" strike="noStrike" kern="0" cap="none" spc="0" normalizeH="0" baseline="0" noProof="0" dirty="0">
                <a:ln>
                  <a:noFill/>
                </a:ln>
                <a:solidFill>
                  <a:srgbClr val="000000"/>
                </a:solidFill>
                <a:effectLst/>
                <a:uLnTx/>
                <a:uFillTx/>
                <a:latin typeface="+mn-lt"/>
                <a:sym typeface="Arial"/>
              </a:rPr>
            </a:br>
            <a:r>
              <a:rPr kumimoji="0" lang="en-US" sz="3200" b="0" i="0" u="none" strike="noStrike" kern="0" cap="none" spc="0" normalizeH="0" baseline="0" noProof="0" dirty="0">
                <a:ln>
                  <a:noFill/>
                </a:ln>
                <a:solidFill>
                  <a:srgbClr val="000000"/>
                </a:solidFill>
                <a:effectLst/>
                <a:uLnTx/>
                <a:uFillTx/>
                <a:latin typeface="+mn-lt"/>
                <a:sym typeface="Arial"/>
              </a:rPr>
              <a:t>labor-intensive enterprise function </a:t>
            </a:r>
            <a:br>
              <a:rPr kumimoji="0" lang="en-US" sz="3200" b="0" i="0" u="none" strike="noStrike" kern="0" cap="none" spc="0" normalizeH="0" baseline="0" noProof="0" dirty="0">
                <a:ln>
                  <a:noFill/>
                </a:ln>
                <a:solidFill>
                  <a:srgbClr val="000000"/>
                </a:solidFill>
                <a:effectLst/>
                <a:uLnTx/>
                <a:uFillTx/>
                <a:latin typeface="+mn-lt"/>
                <a:sym typeface="Arial"/>
              </a:rPr>
            </a:br>
            <a:r>
              <a:rPr kumimoji="0" lang="en-US" sz="3200" b="0" i="0" u="none" strike="noStrike" kern="0" cap="none" spc="0" normalizeH="0" baseline="0" noProof="0" dirty="0">
                <a:ln>
                  <a:noFill/>
                </a:ln>
                <a:solidFill>
                  <a:srgbClr val="000000"/>
                </a:solidFill>
                <a:effectLst/>
                <a:uLnTx/>
                <a:uFillTx/>
                <a:latin typeface="+mn-lt"/>
                <a:sym typeface="Arial"/>
              </a:rPr>
              <a:t>that eat up hundreds of hours per day. </a:t>
            </a:r>
            <a:br>
              <a:rPr kumimoji="0" lang="en-US" sz="3200" b="0" i="0" u="none" strike="noStrike" kern="0" cap="none" spc="0" normalizeH="0" baseline="0" noProof="0" dirty="0">
                <a:ln>
                  <a:noFill/>
                </a:ln>
                <a:solidFill>
                  <a:srgbClr val="000000"/>
                </a:solidFill>
                <a:effectLst/>
                <a:uLnTx/>
                <a:uFillTx/>
                <a:latin typeface="+mn-lt"/>
                <a:sym typeface="Arial"/>
              </a:rPr>
            </a:br>
            <a:r>
              <a:rPr kumimoji="0" lang="en-US" sz="3200" b="0" i="0" u="none" strike="noStrike" kern="0" cap="none" spc="0" normalizeH="0" baseline="0" noProof="0" dirty="0">
                <a:ln>
                  <a:noFill/>
                </a:ln>
                <a:solidFill>
                  <a:srgbClr val="000000"/>
                </a:solidFill>
                <a:effectLst/>
                <a:uLnTx/>
                <a:uFillTx/>
                <a:latin typeface="+mn-lt"/>
                <a:sym typeface="Arial"/>
              </a:rPr>
              <a:t>From writing job descriptions, onboarding vendors, managing pipelines, automation </a:t>
            </a:r>
            <a:br>
              <a:rPr kumimoji="0" lang="en-US" sz="3200" b="0" i="0" u="none" strike="noStrike" kern="0" cap="none" spc="0" normalizeH="0" baseline="0" noProof="0" dirty="0">
                <a:ln>
                  <a:noFill/>
                </a:ln>
                <a:solidFill>
                  <a:srgbClr val="000000"/>
                </a:solidFill>
                <a:effectLst/>
                <a:uLnTx/>
                <a:uFillTx/>
                <a:latin typeface="+mn-lt"/>
                <a:sym typeface="Arial"/>
              </a:rPr>
            </a:br>
            <a:r>
              <a:rPr kumimoji="0" lang="en-US" sz="3200" b="0" i="0" u="none" strike="noStrike" kern="0" cap="none" spc="0" normalizeH="0" baseline="0" noProof="0" dirty="0">
                <a:ln>
                  <a:noFill/>
                </a:ln>
                <a:solidFill>
                  <a:srgbClr val="000000"/>
                </a:solidFill>
                <a:effectLst/>
                <a:uLnTx/>
                <a:uFillTx/>
                <a:latin typeface="+mn-lt"/>
                <a:sym typeface="Arial"/>
              </a:rPr>
              <a:t>is here to streamline processes </a:t>
            </a:r>
            <a:br>
              <a:rPr kumimoji="0" lang="en-US" sz="3200" b="0" i="0" u="none" strike="noStrike" kern="0" cap="none" spc="0" normalizeH="0" baseline="0" noProof="0" dirty="0">
                <a:ln>
                  <a:noFill/>
                </a:ln>
                <a:solidFill>
                  <a:srgbClr val="000000"/>
                </a:solidFill>
                <a:effectLst/>
                <a:uLnTx/>
                <a:uFillTx/>
                <a:latin typeface="+mn-lt"/>
                <a:sym typeface="Arial"/>
              </a:rPr>
            </a:br>
            <a:r>
              <a:rPr kumimoji="0" lang="en-US" sz="3200" b="0" i="0" u="none" strike="noStrike" kern="0" cap="none" spc="0" normalizeH="0" baseline="0" noProof="0" dirty="0">
                <a:ln>
                  <a:noFill/>
                </a:ln>
                <a:solidFill>
                  <a:srgbClr val="000000"/>
                </a:solidFill>
                <a:effectLst/>
                <a:uLnTx/>
                <a:uFillTx/>
                <a:latin typeface="+mn-lt"/>
                <a:sym typeface="Arial"/>
              </a:rPr>
              <a:t>with a solid foundation in AI.  </a:t>
            </a:r>
          </a:p>
          <a:p>
            <a:pPr marL="0" marR="0" lvl="1" indent="0" defTabSz="2437884" rtl="0" eaLnBrk="1" fontAlgn="base" latinLnBrk="0" hangingPunct="1">
              <a:lnSpc>
                <a:spcPct val="100000"/>
              </a:lnSpc>
              <a:spcBef>
                <a:spcPts val="2933"/>
              </a:spcBef>
              <a:spcAft>
                <a:spcPct val="0"/>
              </a:spcAft>
              <a:buClr>
                <a:srgbClr val="001141"/>
              </a:buClr>
              <a:buSzPct val="100000"/>
              <a:buFont typeface="IBM Plex Sans Light" charset="-120"/>
              <a:buNone/>
              <a:tabLst/>
              <a:defRPr/>
            </a:pPr>
            <a:r>
              <a:rPr kumimoji="0" lang="en-US" sz="3200" u="none" strike="noStrike" kern="0" cap="none" spc="0" normalizeH="0" baseline="0" noProof="0" dirty="0">
                <a:ln>
                  <a:noFill/>
                </a:ln>
                <a:solidFill>
                  <a:srgbClr val="000000"/>
                </a:solidFill>
                <a:effectLst/>
                <a:uLnTx/>
                <a:uFillTx/>
                <a:latin typeface="+mn-lt"/>
                <a:sym typeface="Arial"/>
              </a:rPr>
              <a:t>Contractor sourcing</a:t>
            </a:r>
            <a:br>
              <a:rPr kumimoji="0" lang="en-US" sz="3200" u="none" strike="noStrike" kern="0" cap="none" spc="0" normalizeH="0" baseline="0" noProof="0" dirty="0">
                <a:ln>
                  <a:noFill/>
                </a:ln>
                <a:solidFill>
                  <a:srgbClr val="000000"/>
                </a:solidFill>
                <a:effectLst/>
                <a:uLnTx/>
                <a:uFillTx/>
                <a:latin typeface="+mn-lt"/>
                <a:sym typeface="Arial"/>
              </a:rPr>
            </a:br>
            <a:r>
              <a:rPr kumimoji="0" lang="en-US" sz="3200" b="0" i="0" u="none" strike="noStrike" kern="0" cap="none" spc="0" normalizeH="0" baseline="0" noProof="0" dirty="0">
                <a:ln>
                  <a:noFill/>
                </a:ln>
                <a:solidFill>
                  <a:srgbClr val="000000"/>
                </a:solidFill>
                <a:effectLst/>
                <a:uLnTx/>
                <a:uFillTx/>
                <a:latin typeface="+mn-lt"/>
                <a:sym typeface="Arial"/>
              </a:rPr>
              <a:t>Automate the hiring, onboarding </a:t>
            </a:r>
            <a:br>
              <a:rPr kumimoji="0" lang="en-US" sz="3200" b="0" i="0" u="none" strike="noStrike" kern="0" cap="none" spc="0" normalizeH="0" baseline="0" noProof="0" dirty="0">
                <a:ln>
                  <a:noFill/>
                </a:ln>
                <a:solidFill>
                  <a:srgbClr val="000000"/>
                </a:solidFill>
                <a:effectLst/>
                <a:uLnTx/>
                <a:uFillTx/>
                <a:latin typeface="+mn-lt"/>
                <a:sym typeface="Arial"/>
              </a:rPr>
            </a:br>
            <a:r>
              <a:rPr kumimoji="0" lang="en-US" sz="3200" b="0" i="0" u="none" strike="noStrike" kern="0" cap="none" spc="0" normalizeH="0" baseline="0" noProof="0" dirty="0">
                <a:ln>
                  <a:noFill/>
                </a:ln>
                <a:solidFill>
                  <a:srgbClr val="000000"/>
                </a:solidFill>
                <a:effectLst/>
                <a:uLnTx/>
                <a:uFillTx/>
                <a:latin typeface="+mn-lt"/>
                <a:sym typeface="Arial"/>
              </a:rPr>
              <a:t>and management of new contractors. Leverage AI to identify insight for contract support as well. </a:t>
            </a:r>
          </a:p>
          <a:p>
            <a:pPr marL="0" marR="0" lvl="1" indent="0" defTabSz="2437884" rtl="0" eaLnBrk="1" fontAlgn="base" latinLnBrk="0" hangingPunct="1">
              <a:lnSpc>
                <a:spcPct val="100000"/>
              </a:lnSpc>
              <a:spcBef>
                <a:spcPts val="2933"/>
              </a:spcBef>
              <a:spcAft>
                <a:spcPct val="0"/>
              </a:spcAft>
              <a:buClr>
                <a:srgbClr val="001141"/>
              </a:buClr>
              <a:buSzPct val="100000"/>
              <a:buFont typeface="IBM Plex Sans Light" charset="-120"/>
              <a:buNone/>
              <a:tabLst/>
              <a:defRPr/>
            </a:pPr>
            <a:r>
              <a:rPr kumimoji="0" lang="en-US" sz="3200" u="none" strike="noStrike" kern="0" cap="none" spc="0" normalizeH="0" baseline="0" noProof="0" dirty="0">
                <a:ln>
                  <a:noFill/>
                </a:ln>
                <a:solidFill>
                  <a:srgbClr val="000000"/>
                </a:solidFill>
                <a:effectLst/>
                <a:uLnTx/>
                <a:uFillTx/>
                <a:latin typeface="+mn-lt"/>
                <a:sym typeface="Arial"/>
              </a:rPr>
              <a:t>Sales pipeline management</a:t>
            </a:r>
            <a:br>
              <a:rPr kumimoji="0" lang="en-US" sz="3200" u="none" strike="noStrike" kern="0" cap="none" spc="0" normalizeH="0" baseline="0" noProof="0" dirty="0">
                <a:ln>
                  <a:noFill/>
                </a:ln>
                <a:solidFill>
                  <a:srgbClr val="000000"/>
                </a:solidFill>
                <a:effectLst/>
                <a:uLnTx/>
                <a:uFillTx/>
                <a:latin typeface="+mn-lt"/>
                <a:sym typeface="Arial"/>
              </a:rPr>
            </a:br>
            <a:r>
              <a:rPr kumimoji="0" lang="en-US" sz="3200" b="0" i="0" u="none" strike="noStrike" kern="0" cap="none" spc="0" normalizeH="0" baseline="0" noProof="0" dirty="0">
                <a:ln>
                  <a:noFill/>
                </a:ln>
                <a:solidFill>
                  <a:srgbClr val="000000"/>
                </a:solidFill>
                <a:effectLst/>
                <a:uLnTx/>
                <a:uFillTx/>
                <a:latin typeface="+mn-lt"/>
                <a:sym typeface="Arial"/>
              </a:rPr>
              <a:t>Reduce burden on sales operations </a:t>
            </a:r>
            <a:br>
              <a:rPr kumimoji="0" lang="en-US" sz="3200" b="0" i="0" u="none" strike="noStrike" kern="0" cap="none" spc="0" normalizeH="0" baseline="0" noProof="0" dirty="0">
                <a:ln>
                  <a:noFill/>
                </a:ln>
                <a:solidFill>
                  <a:srgbClr val="000000"/>
                </a:solidFill>
                <a:effectLst/>
                <a:uLnTx/>
                <a:uFillTx/>
                <a:latin typeface="+mn-lt"/>
                <a:sym typeface="Arial"/>
              </a:rPr>
            </a:br>
            <a:r>
              <a:rPr kumimoji="0" lang="en-US" sz="3200" b="0" i="0" u="none" strike="noStrike" kern="0" cap="none" spc="0" normalizeH="0" baseline="0" noProof="0" dirty="0">
                <a:ln>
                  <a:noFill/>
                </a:ln>
                <a:solidFill>
                  <a:srgbClr val="000000"/>
                </a:solidFill>
                <a:effectLst/>
                <a:uLnTx/>
                <a:uFillTx/>
                <a:latin typeface="+mn-lt"/>
                <a:sym typeface="Arial"/>
              </a:rPr>
              <a:t>by automating the management of pipeline and surfacing insight to sales leaders.</a:t>
            </a:r>
          </a:p>
        </p:txBody>
      </p:sp>
      <p:grpSp>
        <p:nvGrpSpPr>
          <p:cNvPr id="33" name="Group 32">
            <a:extLst>
              <a:ext uri="{FF2B5EF4-FFF2-40B4-BE49-F238E27FC236}">
                <a16:creationId xmlns:a16="http://schemas.microsoft.com/office/drawing/2014/main" id="{E6A971B4-8515-8B35-5B01-9D6E566C1AA1}"/>
              </a:ext>
            </a:extLst>
          </p:cNvPr>
          <p:cNvGrpSpPr/>
          <p:nvPr/>
        </p:nvGrpSpPr>
        <p:grpSpPr>
          <a:xfrm>
            <a:off x="9997874" y="2251251"/>
            <a:ext cx="13816584" cy="9299448"/>
            <a:chOff x="10570591" y="2208276"/>
            <a:chExt cx="13816584" cy="9299448"/>
          </a:xfrm>
        </p:grpSpPr>
        <p:sp>
          <p:nvSpPr>
            <p:cNvPr id="30" name="Rectangle 29">
              <a:extLst>
                <a:ext uri="{FF2B5EF4-FFF2-40B4-BE49-F238E27FC236}">
                  <a16:creationId xmlns:a16="http://schemas.microsoft.com/office/drawing/2014/main" id="{58FE1B5E-6E4F-5341-9BC1-D48B83297C76}"/>
                </a:ext>
              </a:extLst>
            </p:cNvPr>
            <p:cNvSpPr>
              <a:spLocks/>
            </p:cNvSpPr>
            <p:nvPr/>
          </p:nvSpPr>
          <p:spPr bwMode="auto">
            <a:xfrm>
              <a:off x="10570591" y="2208276"/>
              <a:ext cx="13816584" cy="9299448"/>
            </a:xfrm>
            <a:prstGeom prst="rect">
              <a:avLst/>
            </a:prstGeom>
            <a:solidFill>
              <a:schemeClr val="bg1"/>
            </a:solidFill>
            <a:ln w="19050">
              <a:noFill/>
              <a:headEnd type="none" w="med" len="med"/>
              <a:tailEnd type="none" w="med" len="med"/>
            </a:ln>
            <a:effectLst>
              <a:outerShdw blurRad="1270000" algn="tr" rotWithShape="0">
                <a:prstClr val="black">
                  <a:alpha val="10000"/>
                </a:prstClr>
              </a:outerShd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grpSp>
          <p:nvGrpSpPr>
            <p:cNvPr id="32" name="Group 31">
              <a:extLst>
                <a:ext uri="{FF2B5EF4-FFF2-40B4-BE49-F238E27FC236}">
                  <a16:creationId xmlns:a16="http://schemas.microsoft.com/office/drawing/2014/main" id="{5023EB33-7685-2945-5697-AEF20ED5523C}"/>
                </a:ext>
              </a:extLst>
            </p:cNvPr>
            <p:cNvGrpSpPr>
              <a:grpSpLocks noChangeAspect="1"/>
            </p:cNvGrpSpPr>
            <p:nvPr/>
          </p:nvGrpSpPr>
          <p:grpSpPr>
            <a:xfrm>
              <a:off x="10570591" y="2208276"/>
              <a:ext cx="13816584" cy="9299448"/>
              <a:chOff x="18291175" y="2208276"/>
              <a:chExt cx="13993197" cy="9413758"/>
            </a:xfrm>
          </p:grpSpPr>
          <p:pic>
            <p:nvPicPr>
              <p:cNvPr id="26" name="Picture 25" descr="Graphical user interface, application&#10;&#10;Description automatically generated">
                <a:extLst>
                  <a:ext uri="{FF2B5EF4-FFF2-40B4-BE49-F238E27FC236}">
                    <a16:creationId xmlns:a16="http://schemas.microsoft.com/office/drawing/2014/main" id="{67CDA11E-EC3F-025C-29D4-CBB968596FE1}"/>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18291175" y="2208276"/>
                <a:ext cx="13993197" cy="9413758"/>
              </a:xfrm>
              <a:prstGeom prst="rect">
                <a:avLst/>
              </a:prstGeom>
              <a:effectLst/>
            </p:spPr>
          </p:pic>
          <p:pic>
            <p:nvPicPr>
              <p:cNvPr id="27" name="Picture 26" descr="Graphical user interface, application&#10;&#10;Description automatically generated">
                <a:extLst>
                  <a:ext uri="{FF2B5EF4-FFF2-40B4-BE49-F238E27FC236}">
                    <a16:creationId xmlns:a16="http://schemas.microsoft.com/office/drawing/2014/main" id="{552A6D82-AAA5-9AED-1A25-617370209023}"/>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18862015" y="6264382"/>
                <a:ext cx="13422357" cy="5099238"/>
              </a:xfrm>
              <a:prstGeom prst="rect">
                <a:avLst/>
              </a:prstGeom>
            </p:spPr>
          </p:pic>
          <p:pic>
            <p:nvPicPr>
              <p:cNvPr id="28" name="Picture 27">
                <a:extLst>
                  <a:ext uri="{FF2B5EF4-FFF2-40B4-BE49-F238E27FC236}">
                    <a16:creationId xmlns:a16="http://schemas.microsoft.com/office/drawing/2014/main" id="{9A40DCB0-FB62-35C0-1522-0D5B0BE72B9F}"/>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19109898" y="4443170"/>
                <a:ext cx="6908291" cy="4897134"/>
              </a:xfrm>
              <a:prstGeom prst="rect">
                <a:avLst/>
              </a:prstGeom>
            </p:spPr>
          </p:pic>
        </p:grpSp>
      </p:grpSp>
      <p:sp>
        <p:nvSpPr>
          <p:cNvPr id="5" name="Title 4">
            <a:extLst>
              <a:ext uri="{FF2B5EF4-FFF2-40B4-BE49-F238E27FC236}">
                <a16:creationId xmlns:a16="http://schemas.microsoft.com/office/drawing/2014/main" id="{C0F8F941-E075-E9A9-565A-3034197F7EAD}"/>
              </a:ext>
            </a:extLst>
          </p:cNvPr>
          <p:cNvSpPr>
            <a:spLocks noGrp="1"/>
          </p:cNvSpPr>
          <p:nvPr>
            <p:ph type="title"/>
          </p:nvPr>
        </p:nvSpPr>
        <p:spPr>
          <a:xfrm>
            <a:off x="576072" y="385200"/>
            <a:ext cx="8071913" cy="1527048"/>
          </a:xfrm>
        </p:spPr>
        <p:txBody>
          <a:bodyPr/>
          <a:lstStyle/>
          <a:p>
            <a:r>
              <a:rPr lang="en-US" kern="0" dirty="0">
                <a:solidFill>
                  <a:srgbClr val="000000"/>
                </a:solidFill>
                <a:cs typeface="Arial"/>
                <a:sym typeface="Arial"/>
              </a:rPr>
              <a:t>AI assistants in </a:t>
            </a:r>
            <a:r>
              <a:rPr lang="en-US" kern="0" dirty="0">
                <a:solidFill>
                  <a:schemeClr val="accent1"/>
                </a:solidFill>
                <a:latin typeface="IBM Plex Sans Light" panose="020B0403050203000203" pitchFamily="34" charset="0"/>
                <a:cs typeface="Arial"/>
                <a:sym typeface="Arial"/>
              </a:rPr>
              <a:t>Procurement &amp; sales</a:t>
            </a:r>
            <a:br>
              <a:rPr kumimoji="0" lang="en-US" u="none" strike="noStrike" kern="0" cap="none" spc="0" normalizeH="0" baseline="0" noProof="0" dirty="0">
                <a:ln>
                  <a:noFill/>
                </a:ln>
                <a:solidFill>
                  <a:schemeClr val="accent1"/>
                </a:solidFill>
                <a:effectLst/>
                <a:uLnTx/>
                <a:uFillTx/>
                <a:latin typeface="IBM Plex Sans Light" panose="020B0403050203000203" pitchFamily="34" charset="0"/>
                <a:cs typeface="Arial"/>
                <a:sym typeface="Arial"/>
              </a:rPr>
            </a:br>
            <a:endParaRPr lang="en-US" dirty="0"/>
          </a:p>
        </p:txBody>
      </p:sp>
    </p:spTree>
    <p:extLst>
      <p:ext uri="{BB962C8B-B14F-4D97-AF65-F5344CB8AC3E}">
        <p14:creationId xmlns:p14="http://schemas.microsoft.com/office/powerpoint/2010/main" val="362289522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50000" decel="5000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2000" fill="hold"/>
                                        <p:tgtEl>
                                          <p:spTgt spid="33"/>
                                        </p:tgtEl>
                                        <p:attrNameLst>
                                          <p:attrName>ppt_x</p:attrName>
                                        </p:attrNameLst>
                                      </p:cBhvr>
                                      <p:tavLst>
                                        <p:tav tm="0">
                                          <p:val>
                                            <p:strVal val="1+#ppt_w/2"/>
                                          </p:val>
                                        </p:tav>
                                        <p:tav tm="100000">
                                          <p:val>
                                            <p:strVal val="#ppt_x"/>
                                          </p:val>
                                        </p:tav>
                                      </p:tavLst>
                                    </p:anim>
                                    <p:anim calcmode="lin" valueType="num">
                                      <p:cBhvr additive="base">
                                        <p:cTn id="8" dur="2000" fill="hold"/>
                                        <p:tgtEl>
                                          <p:spTgt spid="3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1000"/>
                                        <p:tgtEl>
                                          <p:spTgt spid="7">
                                            <p:txEl>
                                              <p:pRg st="0" end="0"/>
                                            </p:txEl>
                                          </p:spTgt>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1000"/>
                                        <p:tgtEl>
                                          <p:spTgt spid="7">
                                            <p:txEl>
                                              <p:pRg st="1" end="1"/>
                                            </p:txEl>
                                          </p:spTgt>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10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Hexagon 16">
            <a:extLst>
              <a:ext uri="{FF2B5EF4-FFF2-40B4-BE49-F238E27FC236}">
                <a16:creationId xmlns:a16="http://schemas.microsoft.com/office/drawing/2014/main" id="{FDD04BC2-EBB2-7B5C-6A3B-D51641B83093}"/>
              </a:ext>
            </a:extLst>
          </p:cNvPr>
          <p:cNvSpPr>
            <a:spLocks noChangeAspect="1"/>
          </p:cNvSpPr>
          <p:nvPr/>
        </p:nvSpPr>
        <p:spPr bwMode="auto">
          <a:xfrm rot="16200000">
            <a:off x="8961896" y="8811930"/>
            <a:ext cx="4454703" cy="3840480"/>
          </a:xfrm>
          <a:prstGeom prst="hexagon">
            <a:avLst/>
          </a:prstGeom>
          <a:solidFill>
            <a:srgbClr val="9EF1F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800" b="0" i="0" u="none" strike="noStrike" cap="none" normalizeH="0" baseline="0" dirty="0">
                <a:ln>
                  <a:noFill/>
                </a:ln>
                <a:solidFill>
                  <a:schemeClr val="tx1"/>
                </a:solidFill>
                <a:effectLst/>
              </a:rPr>
              <a:t>Guided</a:t>
            </a:r>
          </a:p>
        </p:txBody>
      </p:sp>
      <p:sp>
        <p:nvSpPr>
          <p:cNvPr id="13" name="Hexagon 12">
            <a:extLst>
              <a:ext uri="{FF2B5EF4-FFF2-40B4-BE49-F238E27FC236}">
                <a16:creationId xmlns:a16="http://schemas.microsoft.com/office/drawing/2014/main" id="{4EB6C05C-327B-BBC8-33B6-2801F9D9D54D}"/>
              </a:ext>
            </a:extLst>
          </p:cNvPr>
          <p:cNvSpPr>
            <a:spLocks noChangeAspect="1"/>
          </p:cNvSpPr>
          <p:nvPr/>
        </p:nvSpPr>
        <p:spPr bwMode="auto">
          <a:xfrm rot="16200000">
            <a:off x="13197014" y="8811930"/>
            <a:ext cx="4454703" cy="3840480"/>
          </a:xfrm>
          <a:prstGeom prst="hexagon">
            <a:avLst/>
          </a:prstGeom>
          <a:solidFill>
            <a:srgbClr val="BAE8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800" b="0" i="0" u="none" strike="noStrike" cap="none" normalizeH="0" baseline="0" dirty="0">
                <a:ln>
                  <a:noFill/>
                </a:ln>
                <a:solidFill>
                  <a:schemeClr val="tx1"/>
                </a:solidFill>
                <a:effectLst/>
              </a:rPr>
              <a:t>Connected</a:t>
            </a:r>
          </a:p>
        </p:txBody>
      </p:sp>
      <p:sp>
        <p:nvSpPr>
          <p:cNvPr id="16" name="Hexagon 15">
            <a:extLst>
              <a:ext uri="{FF2B5EF4-FFF2-40B4-BE49-F238E27FC236}">
                <a16:creationId xmlns:a16="http://schemas.microsoft.com/office/drawing/2014/main" id="{304F88FC-1EAA-58BF-150F-C798BE4F7967}"/>
              </a:ext>
            </a:extLst>
          </p:cNvPr>
          <p:cNvSpPr>
            <a:spLocks noChangeAspect="1"/>
          </p:cNvSpPr>
          <p:nvPr/>
        </p:nvSpPr>
        <p:spPr bwMode="auto">
          <a:xfrm rot="16200000">
            <a:off x="11079455" y="4937760"/>
            <a:ext cx="4454703" cy="3840480"/>
          </a:xfrm>
          <a:prstGeom prst="hexagon">
            <a:avLst/>
          </a:prstGeom>
          <a:solidFill>
            <a:srgbClr val="F6F2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800" b="0" i="0" u="none" strike="noStrike" cap="none" normalizeH="0" baseline="0" dirty="0">
                <a:ln>
                  <a:noFill/>
                </a:ln>
                <a:solidFill>
                  <a:schemeClr val="tx1"/>
                </a:solidFill>
                <a:effectLst/>
              </a:rPr>
              <a:t>Personalized</a:t>
            </a:r>
          </a:p>
        </p:txBody>
      </p:sp>
      <p:sp>
        <p:nvSpPr>
          <p:cNvPr id="18" name="Hexagon 17">
            <a:extLst>
              <a:ext uri="{FF2B5EF4-FFF2-40B4-BE49-F238E27FC236}">
                <a16:creationId xmlns:a16="http://schemas.microsoft.com/office/drawing/2014/main" id="{B3B9A8F2-725D-14D9-E2A0-60F63083C9CE}"/>
              </a:ext>
            </a:extLst>
          </p:cNvPr>
          <p:cNvSpPr>
            <a:spLocks noChangeAspect="1"/>
          </p:cNvSpPr>
          <p:nvPr/>
        </p:nvSpPr>
        <p:spPr bwMode="auto">
          <a:xfrm rot="16200000">
            <a:off x="17432130" y="8811930"/>
            <a:ext cx="4454703" cy="3840480"/>
          </a:xfrm>
          <a:prstGeom prst="hexagon">
            <a:avLst/>
          </a:prstGeom>
          <a:solidFill>
            <a:srgbClr val="E8DA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800" b="0" i="0" u="none" strike="noStrike" cap="none" normalizeH="0" baseline="0" dirty="0">
                <a:ln>
                  <a:noFill/>
                </a:ln>
                <a:solidFill>
                  <a:schemeClr val="tx1"/>
                </a:solidFill>
                <a:effectLst/>
              </a:rPr>
              <a:t>Informational</a:t>
            </a:r>
          </a:p>
        </p:txBody>
      </p:sp>
      <p:sp>
        <p:nvSpPr>
          <p:cNvPr id="19" name="Hexagon 18">
            <a:extLst>
              <a:ext uri="{FF2B5EF4-FFF2-40B4-BE49-F238E27FC236}">
                <a16:creationId xmlns:a16="http://schemas.microsoft.com/office/drawing/2014/main" id="{C082A8C3-F9EE-40D4-630E-933142D3B05C}"/>
              </a:ext>
            </a:extLst>
          </p:cNvPr>
          <p:cNvSpPr>
            <a:spLocks noChangeAspect="1"/>
          </p:cNvSpPr>
          <p:nvPr/>
        </p:nvSpPr>
        <p:spPr bwMode="auto">
          <a:xfrm rot="16200000">
            <a:off x="13197014" y="884819"/>
            <a:ext cx="4454703" cy="3840480"/>
          </a:xfrm>
          <a:prstGeom prst="hexagon">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800" b="0" i="0" u="none" strike="noStrike" cap="none" normalizeH="0" baseline="0" dirty="0">
                <a:ln>
                  <a:noFill/>
                </a:ln>
                <a:solidFill>
                  <a:schemeClr val="tx1"/>
                </a:solidFill>
                <a:effectLst/>
              </a:rPr>
              <a:t>Omni-present</a:t>
            </a:r>
          </a:p>
        </p:txBody>
      </p:sp>
      <p:sp>
        <p:nvSpPr>
          <p:cNvPr id="20" name="Hexagon 19">
            <a:extLst>
              <a:ext uri="{FF2B5EF4-FFF2-40B4-BE49-F238E27FC236}">
                <a16:creationId xmlns:a16="http://schemas.microsoft.com/office/drawing/2014/main" id="{7E5798F5-F578-7EB0-60ED-E54E66F7B0ED}"/>
              </a:ext>
            </a:extLst>
          </p:cNvPr>
          <p:cNvSpPr>
            <a:spLocks noChangeAspect="1"/>
          </p:cNvSpPr>
          <p:nvPr/>
        </p:nvSpPr>
        <p:spPr bwMode="auto">
          <a:xfrm rot="16200000">
            <a:off x="13197014" y="884819"/>
            <a:ext cx="4454703" cy="3840480"/>
          </a:xfrm>
          <a:prstGeom prst="hexagon">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lang="en-US" sz="2800" dirty="0">
              <a:solidFill>
                <a:schemeClr val="tx1"/>
              </a:solidFill>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lang="en-US" sz="2800" dirty="0">
              <a:solidFill>
                <a:schemeClr val="tx1"/>
              </a:solidFill>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800" u="none" strike="noStrike" cap="none" normalizeH="0" baseline="0" dirty="0">
                <a:ln>
                  <a:noFill/>
                </a:ln>
                <a:solidFill>
                  <a:schemeClr val="tx1"/>
                </a:solidFill>
                <a:effectLst/>
              </a:rPr>
              <a:t>AI Assistants</a:t>
            </a:r>
          </a:p>
        </p:txBody>
      </p:sp>
      <p:sp>
        <p:nvSpPr>
          <p:cNvPr id="21" name="Hexagon 20">
            <a:extLst>
              <a:ext uri="{FF2B5EF4-FFF2-40B4-BE49-F238E27FC236}">
                <a16:creationId xmlns:a16="http://schemas.microsoft.com/office/drawing/2014/main" id="{BF433B3C-665C-F291-AC69-0B11397F3BA1}"/>
              </a:ext>
            </a:extLst>
          </p:cNvPr>
          <p:cNvSpPr>
            <a:spLocks noChangeAspect="1"/>
          </p:cNvSpPr>
          <p:nvPr/>
        </p:nvSpPr>
        <p:spPr bwMode="auto">
          <a:xfrm rot="16200000">
            <a:off x="15314572" y="4937761"/>
            <a:ext cx="4454703" cy="3840480"/>
          </a:xfrm>
          <a:prstGeom prst="hexagon">
            <a:avLst/>
          </a:prstGeom>
          <a:solidFill>
            <a:srgbClr val="D9FBFB"/>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800" b="0" i="0" u="none" strike="noStrike" cap="none" normalizeH="0" baseline="0" dirty="0">
                <a:ln>
                  <a:noFill/>
                </a:ln>
                <a:solidFill>
                  <a:schemeClr val="tx1"/>
                </a:solidFill>
                <a:effectLst/>
              </a:rPr>
              <a:t>Outcome-driven</a:t>
            </a:r>
          </a:p>
        </p:txBody>
      </p:sp>
      <p:pic>
        <p:nvPicPr>
          <p:cNvPr id="29" name="Picture 2" descr="IBM Watson Health | AI Healthcare Solutions | IBM">
            <a:extLst>
              <a:ext uri="{FF2B5EF4-FFF2-40B4-BE49-F238E27FC236}">
                <a16:creationId xmlns:a16="http://schemas.microsoft.com/office/drawing/2014/main" id="{9EB58EBC-7628-4D20-C5D9-56113493D9FD}"/>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r="63599" b="38785"/>
          <a:stretch/>
        </p:blipFill>
        <p:spPr bwMode="auto">
          <a:xfrm>
            <a:off x="14547634" y="1436645"/>
            <a:ext cx="1753463" cy="1658682"/>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8A86FC84-77A9-BBA3-053B-3FB9231A385A}"/>
              </a:ext>
            </a:extLst>
          </p:cNvPr>
          <p:cNvSpPr>
            <a:spLocks noGrp="1"/>
          </p:cNvSpPr>
          <p:nvPr>
            <p:ph type="title"/>
          </p:nvPr>
        </p:nvSpPr>
        <p:spPr>
          <a:xfrm>
            <a:off x="576072" y="385200"/>
            <a:ext cx="9763961" cy="8119618"/>
          </a:xfrm>
        </p:spPr>
        <p:txBody>
          <a:bodyPr/>
          <a:lstStyle/>
          <a:p>
            <a:r>
              <a:rPr kumimoji="0" lang="en-US" u="none" strike="noStrike" kern="0" cap="none" spc="0" normalizeH="0" baseline="0" noProof="0" dirty="0">
                <a:ln>
                  <a:noFill/>
                </a:ln>
                <a:solidFill>
                  <a:srgbClr val="000000"/>
                </a:solidFill>
                <a:effectLst/>
                <a:uLnTx/>
                <a:uFillTx/>
                <a:latin typeface="+mn-lt"/>
                <a:ea typeface="+mn-ea"/>
                <a:cs typeface="Arial"/>
                <a:sym typeface="Arial"/>
              </a:rPr>
              <a:t>Advent of generative AI </a:t>
            </a:r>
            <a:br>
              <a:rPr kumimoji="0" lang="en-US" u="none" strike="noStrike" kern="0" cap="none" spc="0" normalizeH="0" baseline="0" noProof="0" dirty="0">
                <a:ln>
                  <a:noFill/>
                </a:ln>
                <a:solidFill>
                  <a:srgbClr val="000000"/>
                </a:solidFill>
                <a:effectLst/>
                <a:uLnTx/>
                <a:uFillTx/>
                <a:latin typeface="+mn-lt"/>
                <a:ea typeface="+mn-ea"/>
                <a:cs typeface="Arial"/>
                <a:sym typeface="Arial"/>
              </a:rPr>
            </a:br>
            <a:r>
              <a:rPr kumimoji="0" lang="en-US" u="none" strike="noStrike" kern="0" cap="none" spc="0" normalizeH="0" baseline="0" noProof="0" dirty="0">
                <a:ln>
                  <a:noFill/>
                </a:ln>
                <a:solidFill>
                  <a:srgbClr val="000000"/>
                </a:solidFill>
                <a:effectLst/>
                <a:uLnTx/>
                <a:uFillTx/>
                <a:latin typeface="+mn-lt"/>
                <a:ea typeface="+mn-ea"/>
                <a:cs typeface="Arial"/>
                <a:sym typeface="Arial"/>
              </a:rPr>
              <a:t>and the evolution </a:t>
            </a:r>
            <a:br>
              <a:rPr kumimoji="0" lang="en-US" u="none" strike="noStrike" kern="0" cap="none" spc="0" normalizeH="0" baseline="0" noProof="0" dirty="0">
                <a:ln>
                  <a:noFill/>
                </a:ln>
                <a:solidFill>
                  <a:srgbClr val="000000"/>
                </a:solidFill>
                <a:effectLst/>
                <a:uLnTx/>
                <a:uFillTx/>
                <a:latin typeface="+mn-lt"/>
                <a:ea typeface="+mn-ea"/>
                <a:cs typeface="Arial"/>
                <a:sym typeface="Arial"/>
              </a:rPr>
            </a:br>
            <a:r>
              <a:rPr kumimoji="0" lang="en-US" u="none" strike="noStrike" kern="0" cap="none" spc="0" normalizeH="0" baseline="0" noProof="0" dirty="0">
                <a:ln>
                  <a:noFill/>
                </a:ln>
                <a:solidFill>
                  <a:srgbClr val="000000"/>
                </a:solidFill>
                <a:effectLst/>
                <a:uLnTx/>
                <a:uFillTx/>
                <a:latin typeface="+mn-lt"/>
                <a:ea typeface="+mn-ea"/>
                <a:cs typeface="Arial"/>
                <a:sym typeface="Arial"/>
              </a:rPr>
              <a:t>of automation has ushered </a:t>
            </a:r>
            <a:br>
              <a:rPr kumimoji="0" lang="en-US" u="none" strike="noStrike" kern="0" cap="none" spc="0" normalizeH="0" baseline="0" noProof="0" dirty="0">
                <a:ln>
                  <a:noFill/>
                </a:ln>
                <a:solidFill>
                  <a:srgbClr val="000000"/>
                </a:solidFill>
                <a:effectLst/>
                <a:uLnTx/>
                <a:uFillTx/>
                <a:latin typeface="+mn-lt"/>
                <a:ea typeface="+mn-ea"/>
                <a:cs typeface="Arial"/>
                <a:sym typeface="Arial"/>
              </a:rPr>
            </a:br>
            <a:r>
              <a:rPr kumimoji="0" lang="en-US" u="none" strike="noStrike" kern="0" cap="none" spc="0" normalizeH="0" baseline="0" noProof="0" dirty="0">
                <a:ln>
                  <a:noFill/>
                </a:ln>
                <a:solidFill>
                  <a:srgbClr val="000000"/>
                </a:solidFill>
                <a:effectLst/>
                <a:uLnTx/>
                <a:uFillTx/>
                <a:latin typeface="+mn-lt"/>
                <a:ea typeface="+mn-ea"/>
                <a:cs typeface="Arial"/>
                <a:sym typeface="Arial"/>
              </a:rPr>
              <a:t>in an era of </a:t>
            </a:r>
            <a:r>
              <a:rPr kumimoji="0" lang="en-US" u="none" strike="noStrike" kern="0" cap="none" spc="0" normalizeH="0" baseline="0" noProof="0" dirty="0">
                <a:ln>
                  <a:noFill/>
                </a:ln>
                <a:solidFill>
                  <a:srgbClr val="0F62FF"/>
                </a:solidFill>
                <a:effectLst/>
                <a:uLnTx/>
                <a:uFillTx/>
                <a:latin typeface="+mn-lt"/>
                <a:ea typeface="+mn-ea"/>
                <a:cs typeface="Arial"/>
                <a:sym typeface="Arial"/>
              </a:rPr>
              <a:t>AI Assistants </a:t>
            </a:r>
            <a:br>
              <a:rPr kumimoji="0" lang="en-US" u="none" strike="noStrike" kern="0" cap="none" spc="0" normalizeH="0" baseline="0" noProof="0" dirty="0">
                <a:ln>
                  <a:noFill/>
                </a:ln>
                <a:solidFill>
                  <a:srgbClr val="0F62FF"/>
                </a:solidFill>
                <a:effectLst/>
                <a:uLnTx/>
                <a:uFillTx/>
                <a:latin typeface="+mn-lt"/>
                <a:ea typeface="+mn-ea"/>
                <a:cs typeface="Arial"/>
                <a:sym typeface="Arial"/>
              </a:rPr>
            </a:br>
            <a:r>
              <a:rPr kumimoji="0" lang="en-US" u="none" strike="noStrike" kern="0" cap="none" spc="0" normalizeH="0" baseline="0" noProof="0" dirty="0">
                <a:ln>
                  <a:noFill/>
                </a:ln>
                <a:solidFill>
                  <a:srgbClr val="000000"/>
                </a:solidFill>
                <a:effectLst/>
                <a:uLnTx/>
                <a:uFillTx/>
                <a:latin typeface="+mn-lt"/>
                <a:ea typeface="+mn-ea"/>
                <a:cs typeface="Arial"/>
                <a:sym typeface="Arial"/>
              </a:rPr>
              <a:t>that are here to </a:t>
            </a:r>
            <a:r>
              <a:rPr kumimoji="0" lang="en-US" i="1" u="none" strike="noStrike" kern="0" cap="none" spc="0" normalizeH="0" baseline="0" noProof="0" dirty="0">
                <a:ln>
                  <a:noFill/>
                </a:ln>
                <a:solidFill>
                  <a:schemeClr val="accent1"/>
                </a:solidFill>
                <a:effectLst/>
                <a:uLnTx/>
                <a:uFillTx/>
                <a:latin typeface="+mn-lt"/>
                <a:ea typeface="+mn-ea"/>
                <a:cs typeface="Arial"/>
                <a:sym typeface="Arial"/>
              </a:rPr>
              <a:t>drive </a:t>
            </a:r>
            <a:br>
              <a:rPr kumimoji="0" lang="en-US" i="1" u="none" strike="noStrike" kern="0" cap="none" spc="0" normalizeH="0" baseline="0" noProof="0" dirty="0">
                <a:ln>
                  <a:noFill/>
                </a:ln>
                <a:solidFill>
                  <a:schemeClr val="accent1"/>
                </a:solidFill>
                <a:effectLst/>
                <a:uLnTx/>
                <a:uFillTx/>
                <a:latin typeface="+mn-lt"/>
                <a:ea typeface="+mn-ea"/>
                <a:cs typeface="Arial"/>
                <a:sym typeface="Arial"/>
              </a:rPr>
            </a:br>
            <a:r>
              <a:rPr kumimoji="0" lang="en-US" i="1" u="none" strike="noStrike" kern="0" cap="none" spc="0" normalizeH="0" baseline="0" noProof="0" dirty="0">
                <a:ln>
                  <a:noFill/>
                </a:ln>
                <a:solidFill>
                  <a:schemeClr val="accent1"/>
                </a:solidFill>
                <a:effectLst/>
                <a:uLnTx/>
                <a:uFillTx/>
                <a:latin typeface="+mn-lt"/>
                <a:ea typeface="+mn-ea"/>
                <a:cs typeface="Arial"/>
                <a:sym typeface="Arial"/>
              </a:rPr>
              <a:t>productive customer </a:t>
            </a:r>
            <a:br>
              <a:rPr kumimoji="0" lang="en-US" i="1" u="none" strike="noStrike" kern="0" cap="none" spc="0" normalizeH="0" baseline="0" noProof="0" dirty="0">
                <a:ln>
                  <a:noFill/>
                </a:ln>
                <a:solidFill>
                  <a:schemeClr val="accent1"/>
                </a:solidFill>
                <a:effectLst/>
                <a:uLnTx/>
                <a:uFillTx/>
                <a:latin typeface="+mn-lt"/>
                <a:ea typeface="+mn-ea"/>
                <a:cs typeface="Arial"/>
                <a:sym typeface="Arial"/>
              </a:rPr>
            </a:br>
            <a:r>
              <a:rPr lang="en-US" i="1" dirty="0">
                <a:solidFill>
                  <a:schemeClr val="accent1"/>
                </a:solidFill>
                <a:latin typeface="+mn-lt"/>
                <a:ea typeface="+mn-ea"/>
                <a:cs typeface="Arial"/>
                <a:sym typeface="Arial"/>
              </a:rPr>
              <a:t>and</a:t>
            </a:r>
            <a:r>
              <a:rPr kumimoji="0" lang="en-US" i="1" u="none" strike="noStrike" kern="0" cap="none" spc="0" normalizeH="0" baseline="0" noProof="0" dirty="0">
                <a:ln>
                  <a:noFill/>
                </a:ln>
                <a:solidFill>
                  <a:schemeClr val="accent1"/>
                </a:solidFill>
                <a:effectLst/>
                <a:uLnTx/>
                <a:uFillTx/>
                <a:latin typeface="+mn-lt"/>
                <a:ea typeface="+mn-ea"/>
                <a:cs typeface="Arial"/>
                <a:sym typeface="Arial"/>
              </a:rPr>
              <a:t> employee experiences</a:t>
            </a:r>
            <a:br>
              <a:rPr kumimoji="0" lang="en-US" i="1" u="none" strike="noStrike" kern="0" cap="none" spc="0" normalizeH="0" baseline="0" noProof="0" dirty="0">
                <a:ln>
                  <a:noFill/>
                </a:ln>
                <a:solidFill>
                  <a:schemeClr val="accent1"/>
                </a:solidFill>
                <a:effectLst/>
                <a:uLnTx/>
                <a:uFillTx/>
                <a:latin typeface="+mn-lt"/>
                <a:ea typeface="+mn-ea"/>
                <a:cs typeface="Arial"/>
                <a:sym typeface="Arial"/>
              </a:rPr>
            </a:br>
            <a:endParaRPr lang="en-US" dirty="0">
              <a:latin typeface="+mn-lt"/>
            </a:endParaRPr>
          </a:p>
        </p:txBody>
      </p:sp>
    </p:spTree>
    <p:extLst>
      <p:ext uri="{BB962C8B-B14F-4D97-AF65-F5344CB8AC3E}">
        <p14:creationId xmlns:p14="http://schemas.microsoft.com/office/powerpoint/2010/main" val="380184992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par>
                          <p:cTn id="28" fill="hold">
                            <p:stCondLst>
                              <p:cond delay="3000"/>
                            </p:stCondLst>
                            <p:childTnLst>
                              <p:par>
                                <p:cTn id="29" presetID="2" presetClass="entr" presetSubtype="1" fill="hold" grpId="0" nodeType="afterEffect">
                                  <p:stCondLst>
                                    <p:cond delay="100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500" fill="hold"/>
                                        <p:tgtEl>
                                          <p:spTgt spid="20"/>
                                        </p:tgtEl>
                                        <p:attrNameLst>
                                          <p:attrName>ppt_x</p:attrName>
                                        </p:attrNameLst>
                                      </p:cBhvr>
                                      <p:tavLst>
                                        <p:tav tm="0">
                                          <p:val>
                                            <p:strVal val="#ppt_x"/>
                                          </p:val>
                                        </p:tav>
                                        <p:tav tm="100000">
                                          <p:val>
                                            <p:strVal val="#ppt_x"/>
                                          </p:val>
                                        </p:tav>
                                      </p:tavLst>
                                    </p:anim>
                                    <p:anim calcmode="lin" valueType="num">
                                      <p:cBhvr additive="base">
                                        <p:cTn id="32" dur="500" fill="hold"/>
                                        <p:tgtEl>
                                          <p:spTgt spid="20"/>
                                        </p:tgtEl>
                                        <p:attrNameLst>
                                          <p:attrName>ppt_y</p:attrName>
                                        </p:attrNameLst>
                                      </p:cBhvr>
                                      <p:tavLst>
                                        <p:tav tm="0">
                                          <p:val>
                                            <p:strVal val="0-#ppt_h/2"/>
                                          </p:val>
                                        </p:tav>
                                        <p:tav tm="100000">
                                          <p:val>
                                            <p:strVal val="#ppt_y"/>
                                          </p:val>
                                        </p:tav>
                                      </p:tavLst>
                                    </p:anim>
                                  </p:childTnLst>
                                </p:cTn>
                              </p:par>
                            </p:childTnLst>
                          </p:cTn>
                        </p:par>
                        <p:par>
                          <p:cTn id="33" fill="hold">
                            <p:stCondLst>
                              <p:cond delay="4500"/>
                            </p:stCondLst>
                            <p:childTnLst>
                              <p:par>
                                <p:cTn id="34" presetID="19" presetClass="entr" presetSubtype="10" repeatCount="0" fill="hold" nodeType="afterEffect">
                                  <p:stCondLst>
                                    <p:cond delay="0"/>
                                  </p:stCondLst>
                                  <p:childTnLst>
                                    <p:set>
                                      <p:cBhvr>
                                        <p:cTn id="35" dur="1" fill="hold">
                                          <p:stCondLst>
                                            <p:cond delay="0"/>
                                          </p:stCondLst>
                                        </p:cTn>
                                        <p:tgtEl>
                                          <p:spTgt spid="29"/>
                                        </p:tgtEl>
                                        <p:attrNameLst>
                                          <p:attrName>style.visibility</p:attrName>
                                        </p:attrNameLst>
                                      </p:cBhvr>
                                      <p:to>
                                        <p:strVal val="visible"/>
                                      </p:to>
                                    </p:set>
                                    <p:anim calcmode="lin" valueType="num">
                                      <p:cBhvr>
                                        <p:cTn id="36" dur="500" fill="hold"/>
                                        <p:tgtEl>
                                          <p:spTgt spid="29"/>
                                        </p:tgtEl>
                                        <p:attrNameLst>
                                          <p:attrName>ppt_w</p:attrName>
                                        </p:attrNameLst>
                                      </p:cBhvr>
                                      <p:tavLst>
                                        <p:tav tm="0" fmla="#ppt_w*sin(2.5*pi*$)">
                                          <p:val>
                                            <p:fltVal val="0"/>
                                          </p:val>
                                        </p:tav>
                                        <p:tav tm="100000">
                                          <p:val>
                                            <p:fltVal val="1"/>
                                          </p:val>
                                        </p:tav>
                                      </p:tavLst>
                                    </p:anim>
                                    <p:anim calcmode="lin" valueType="num">
                                      <p:cBhvr>
                                        <p:cTn id="37" dur="500" fill="hold"/>
                                        <p:tgtEl>
                                          <p:spTgt spid="29"/>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3" grpId="0" animBg="1"/>
      <p:bldP spid="16" grpId="0" animBg="1"/>
      <p:bldP spid="18" grpId="0" animBg="1"/>
      <p:bldP spid="19" grpId="0" animBg="1"/>
      <p:bldP spid="20" grpId="0" animBg="1"/>
      <p:bldP spid="2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19D9C4E5-8FB6-4FE0-3E1D-796F95BC42B5}"/>
              </a:ext>
            </a:extLst>
          </p:cNvPr>
          <p:cNvGrpSpPr/>
          <p:nvPr/>
        </p:nvGrpSpPr>
        <p:grpSpPr>
          <a:xfrm>
            <a:off x="8155789" y="6567734"/>
            <a:ext cx="3840480" cy="4454703"/>
            <a:chOff x="8155789" y="6567734"/>
            <a:chExt cx="3840480" cy="4454703"/>
          </a:xfrm>
        </p:grpSpPr>
        <p:sp>
          <p:nvSpPr>
            <p:cNvPr id="19" name="Hexagon 18">
              <a:extLst>
                <a:ext uri="{FF2B5EF4-FFF2-40B4-BE49-F238E27FC236}">
                  <a16:creationId xmlns:a16="http://schemas.microsoft.com/office/drawing/2014/main" id="{C082A8C3-F9EE-40D4-630E-933142D3B05C}"/>
                </a:ext>
              </a:extLst>
            </p:cNvPr>
            <p:cNvSpPr>
              <a:spLocks noChangeAspect="1"/>
            </p:cNvSpPr>
            <p:nvPr/>
          </p:nvSpPr>
          <p:spPr bwMode="auto">
            <a:xfrm rot="16200000">
              <a:off x="7848677" y="6874846"/>
              <a:ext cx="4454703" cy="3840480"/>
            </a:xfrm>
            <a:prstGeom prst="hexagon">
              <a:avLst/>
            </a:prstGeom>
            <a:solidFill>
              <a:srgbClr val="DAFBF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algn="ctr" defTabSz="914400" fontAlgn="base">
                <a:spcBef>
                  <a:spcPct val="0"/>
                </a:spcBef>
                <a:spcAft>
                  <a:spcPct val="0"/>
                </a:spcAft>
              </a:pPr>
              <a:endParaRPr lang="en-US" sz="2800" dirty="0">
                <a:solidFill>
                  <a:schemeClr val="tx1"/>
                </a:solidFill>
              </a:endParaRPr>
            </a:p>
            <a:p>
              <a:pPr algn="ctr" defTabSz="914400" fontAlgn="base">
                <a:spcBef>
                  <a:spcPct val="0"/>
                </a:spcBef>
                <a:spcAft>
                  <a:spcPct val="0"/>
                </a:spcAft>
              </a:pPr>
              <a:endParaRPr lang="en-US" sz="2800" dirty="0">
                <a:solidFill>
                  <a:schemeClr val="tx1"/>
                </a:solidFill>
              </a:endParaRPr>
            </a:p>
            <a:p>
              <a:pPr algn="ctr" defTabSz="914400" fontAlgn="base">
                <a:spcBef>
                  <a:spcPct val="0"/>
                </a:spcBef>
                <a:spcAft>
                  <a:spcPct val="0"/>
                </a:spcAft>
              </a:pPr>
              <a:endParaRPr lang="en-US" sz="2800" dirty="0">
                <a:solidFill>
                  <a:schemeClr val="tx1"/>
                </a:solidFill>
              </a:endParaRPr>
            </a:p>
            <a:p>
              <a:pPr algn="ctr" defTabSz="914400" fontAlgn="base">
                <a:spcBef>
                  <a:spcPct val="0"/>
                </a:spcBef>
                <a:spcAft>
                  <a:spcPct val="0"/>
                </a:spcAft>
              </a:pPr>
              <a:r>
                <a:rPr lang="en-US" sz="2800" dirty="0">
                  <a:solidFill>
                    <a:schemeClr val="tx1"/>
                  </a:solidFill>
                </a:rPr>
                <a:t>average time</a:t>
              </a:r>
              <a:br>
                <a:rPr lang="en-US" sz="2800" dirty="0">
                  <a:solidFill>
                    <a:schemeClr val="tx1"/>
                  </a:solidFill>
                </a:rPr>
              </a:br>
              <a:r>
                <a:rPr lang="en-US" sz="2800" dirty="0">
                  <a:solidFill>
                    <a:schemeClr val="tx1"/>
                  </a:solidFill>
                </a:rPr>
                <a:t>an employee is productive</a:t>
              </a:r>
            </a:p>
          </p:txBody>
        </p:sp>
        <p:sp>
          <p:nvSpPr>
            <p:cNvPr id="9" name="TextBox 8">
              <a:extLst>
                <a:ext uri="{FF2B5EF4-FFF2-40B4-BE49-F238E27FC236}">
                  <a16:creationId xmlns:a16="http://schemas.microsoft.com/office/drawing/2014/main" id="{0782DC04-0F86-1502-73A7-3BE6A04CFE3D}"/>
                </a:ext>
              </a:extLst>
            </p:cNvPr>
            <p:cNvSpPr txBox="1"/>
            <p:nvPr/>
          </p:nvSpPr>
          <p:spPr>
            <a:xfrm>
              <a:off x="9070177" y="7598523"/>
              <a:ext cx="2011702" cy="830997"/>
            </a:xfrm>
            <a:prstGeom prst="rect">
              <a:avLst/>
            </a:prstGeom>
            <a:noFill/>
          </p:spPr>
          <p:txBody>
            <a:bodyPr wrap="square" lIns="0" tIns="0" rIns="0" bIns="0" anchor="t">
              <a:spAutoFit/>
            </a:bodyPr>
            <a:lstStyle/>
            <a:p>
              <a:pPr marL="0" marR="0" lvl="0" indent="0" algn="ctr" defTabSz="2438398" rtl="0" eaLnBrk="1" fontAlgn="auto" latinLnBrk="0" hangingPunct="1">
                <a:lnSpc>
                  <a:spcPct val="100000"/>
                </a:lnSpc>
                <a:spcBef>
                  <a:spcPts val="0"/>
                </a:spcBef>
                <a:spcAft>
                  <a:spcPts val="0"/>
                </a:spcAft>
                <a:buClr>
                  <a:srgbClr val="000000"/>
                </a:buClr>
                <a:buSzTx/>
                <a:buFontTx/>
                <a:buNone/>
                <a:tabLst/>
                <a:defRPr/>
              </a:pPr>
              <a:r>
                <a:rPr kumimoji="0" lang="en-US" sz="5400" u="none" strike="noStrike" kern="0" cap="none" spc="0" normalizeH="0" baseline="0" noProof="0" dirty="0">
                  <a:ln>
                    <a:noFill/>
                  </a:ln>
                  <a:solidFill>
                    <a:schemeClr val="accent1"/>
                  </a:solidFill>
                  <a:effectLst/>
                  <a:uLnTx/>
                  <a:uFillTx/>
                  <a:ea typeface="+mn-ea"/>
                  <a:cs typeface="Arial"/>
                  <a:sym typeface="Arial"/>
                </a:rPr>
                <a:t>~3 hrs</a:t>
              </a:r>
            </a:p>
          </p:txBody>
        </p:sp>
      </p:grpSp>
      <p:grpSp>
        <p:nvGrpSpPr>
          <p:cNvPr id="38" name="Group 37">
            <a:extLst>
              <a:ext uri="{FF2B5EF4-FFF2-40B4-BE49-F238E27FC236}">
                <a16:creationId xmlns:a16="http://schemas.microsoft.com/office/drawing/2014/main" id="{09D1D729-06CF-3D72-6F08-1BB71DF97C35}"/>
              </a:ext>
            </a:extLst>
          </p:cNvPr>
          <p:cNvGrpSpPr/>
          <p:nvPr/>
        </p:nvGrpSpPr>
        <p:grpSpPr>
          <a:xfrm>
            <a:off x="12390905" y="6567734"/>
            <a:ext cx="3840480" cy="4454703"/>
            <a:chOff x="8155789" y="6567734"/>
            <a:chExt cx="3840480" cy="4454703"/>
          </a:xfrm>
        </p:grpSpPr>
        <p:sp>
          <p:nvSpPr>
            <p:cNvPr id="39" name="Hexagon 38">
              <a:extLst>
                <a:ext uri="{FF2B5EF4-FFF2-40B4-BE49-F238E27FC236}">
                  <a16:creationId xmlns:a16="http://schemas.microsoft.com/office/drawing/2014/main" id="{C2BDC368-CA4D-8A2A-15F7-F83B919A62F1}"/>
                </a:ext>
              </a:extLst>
            </p:cNvPr>
            <p:cNvSpPr>
              <a:spLocks noChangeAspect="1"/>
            </p:cNvSpPr>
            <p:nvPr/>
          </p:nvSpPr>
          <p:spPr bwMode="auto">
            <a:xfrm rot="16200000">
              <a:off x="7848677" y="6874846"/>
              <a:ext cx="4454703" cy="3840480"/>
            </a:xfrm>
            <a:prstGeom prst="hexagon">
              <a:avLst/>
            </a:prstGeom>
            <a:solidFill>
              <a:srgbClr val="E8DB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algn="ctr" defTabSz="914400" fontAlgn="base">
                <a:spcBef>
                  <a:spcPct val="0"/>
                </a:spcBef>
                <a:spcAft>
                  <a:spcPct val="0"/>
                </a:spcAft>
              </a:pPr>
              <a:endParaRPr lang="en-US" sz="2800" dirty="0">
                <a:solidFill>
                  <a:schemeClr val="tx1"/>
                </a:solidFill>
              </a:endParaRPr>
            </a:p>
            <a:p>
              <a:pPr algn="ctr" defTabSz="914400" fontAlgn="base">
                <a:spcBef>
                  <a:spcPct val="0"/>
                </a:spcBef>
                <a:spcAft>
                  <a:spcPct val="0"/>
                </a:spcAft>
              </a:pPr>
              <a:endParaRPr lang="en-US" sz="2800" dirty="0">
                <a:solidFill>
                  <a:schemeClr val="tx1"/>
                </a:solidFill>
              </a:endParaRPr>
            </a:p>
            <a:p>
              <a:pPr algn="ctr" defTabSz="914400" fontAlgn="base">
                <a:spcBef>
                  <a:spcPct val="0"/>
                </a:spcBef>
                <a:spcAft>
                  <a:spcPct val="0"/>
                </a:spcAft>
              </a:pPr>
              <a:endParaRPr lang="en-US" sz="2800" dirty="0">
                <a:solidFill>
                  <a:schemeClr val="tx1"/>
                </a:solidFill>
              </a:endParaRPr>
            </a:p>
            <a:p>
              <a:pPr algn="ctr" defTabSz="914400" fontAlgn="base">
                <a:spcBef>
                  <a:spcPct val="0"/>
                </a:spcBef>
                <a:spcAft>
                  <a:spcPct val="0"/>
                </a:spcAft>
              </a:pPr>
              <a:r>
                <a:rPr lang="en-US" sz="2800" dirty="0">
                  <a:solidFill>
                    <a:schemeClr val="tx1"/>
                  </a:solidFill>
                </a:rPr>
                <a:t>employees satisfied with their experience</a:t>
              </a:r>
            </a:p>
          </p:txBody>
        </p:sp>
        <p:sp>
          <p:nvSpPr>
            <p:cNvPr id="40" name="TextBox 39">
              <a:extLst>
                <a:ext uri="{FF2B5EF4-FFF2-40B4-BE49-F238E27FC236}">
                  <a16:creationId xmlns:a16="http://schemas.microsoft.com/office/drawing/2014/main" id="{6DEBA78B-A8E5-B84D-3C58-91BC8EC0801B}"/>
                </a:ext>
              </a:extLst>
            </p:cNvPr>
            <p:cNvSpPr txBox="1"/>
            <p:nvPr/>
          </p:nvSpPr>
          <p:spPr>
            <a:xfrm>
              <a:off x="9070177" y="7598523"/>
              <a:ext cx="2011702" cy="830997"/>
            </a:xfrm>
            <a:prstGeom prst="rect">
              <a:avLst/>
            </a:prstGeom>
            <a:noFill/>
          </p:spPr>
          <p:txBody>
            <a:bodyPr wrap="square" lIns="0" tIns="0" rIns="0" bIns="0" anchor="t">
              <a:spAutoFit/>
            </a:bodyPr>
            <a:lstStyle/>
            <a:p>
              <a:pPr marL="0" marR="0" lvl="0" indent="0" algn="ctr" defTabSz="2438398" rtl="0" eaLnBrk="1" fontAlgn="auto" latinLnBrk="0" hangingPunct="1">
                <a:lnSpc>
                  <a:spcPct val="100000"/>
                </a:lnSpc>
                <a:spcBef>
                  <a:spcPts val="0"/>
                </a:spcBef>
                <a:spcAft>
                  <a:spcPts val="0"/>
                </a:spcAft>
                <a:buClr>
                  <a:srgbClr val="000000"/>
                </a:buClr>
                <a:buSzTx/>
                <a:buFontTx/>
                <a:buNone/>
                <a:tabLst/>
                <a:defRPr/>
              </a:pPr>
              <a:r>
                <a:rPr kumimoji="0" lang="en-US" sz="5400" u="none" strike="noStrike" kern="0" cap="none" spc="0" normalizeH="0" baseline="0" noProof="0" dirty="0">
                  <a:ln>
                    <a:noFill/>
                  </a:ln>
                  <a:solidFill>
                    <a:schemeClr val="accent1"/>
                  </a:solidFill>
                  <a:effectLst/>
                  <a:uLnTx/>
                  <a:uFillTx/>
                  <a:ea typeface="+mn-ea"/>
                  <a:cs typeface="Arial"/>
                  <a:sym typeface="Arial"/>
                </a:rPr>
                <a:t>13%</a:t>
              </a:r>
            </a:p>
          </p:txBody>
        </p:sp>
      </p:grpSp>
      <p:grpSp>
        <p:nvGrpSpPr>
          <p:cNvPr id="33" name="Group 32">
            <a:extLst>
              <a:ext uri="{FF2B5EF4-FFF2-40B4-BE49-F238E27FC236}">
                <a16:creationId xmlns:a16="http://schemas.microsoft.com/office/drawing/2014/main" id="{D157D8DF-24C6-5AAF-E50B-9B0DB4777B0D}"/>
              </a:ext>
            </a:extLst>
          </p:cNvPr>
          <p:cNvGrpSpPr/>
          <p:nvPr/>
        </p:nvGrpSpPr>
        <p:grpSpPr>
          <a:xfrm>
            <a:off x="10273348" y="2693563"/>
            <a:ext cx="3840480" cy="4454703"/>
            <a:chOff x="10273348" y="2693563"/>
            <a:chExt cx="3840480" cy="4454703"/>
          </a:xfrm>
        </p:grpSpPr>
        <p:sp>
          <p:nvSpPr>
            <p:cNvPr id="20" name="Hexagon 19">
              <a:extLst>
                <a:ext uri="{FF2B5EF4-FFF2-40B4-BE49-F238E27FC236}">
                  <a16:creationId xmlns:a16="http://schemas.microsoft.com/office/drawing/2014/main" id="{7E5798F5-F578-7EB0-60ED-E54E66F7B0ED}"/>
                </a:ext>
              </a:extLst>
            </p:cNvPr>
            <p:cNvSpPr>
              <a:spLocks noChangeAspect="1"/>
            </p:cNvSpPr>
            <p:nvPr/>
          </p:nvSpPr>
          <p:spPr bwMode="auto">
            <a:xfrm rot="16200000">
              <a:off x="9966236" y="3000675"/>
              <a:ext cx="4454703" cy="3840480"/>
            </a:xfrm>
            <a:prstGeom prst="hexagon">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lang="en-US" sz="2800" dirty="0">
                <a:solidFill>
                  <a:schemeClr val="tx1"/>
                </a:solidFill>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lang="en-US" sz="2800" dirty="0">
                <a:solidFill>
                  <a:schemeClr val="tx1"/>
                </a:solidFill>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800" u="none" strike="noStrike" cap="none" normalizeH="0" baseline="0" dirty="0">
                  <a:ln>
                    <a:noFill/>
                  </a:ln>
                  <a:solidFill>
                    <a:schemeClr val="tx1"/>
                  </a:solidFill>
                  <a:effectLst/>
                </a:rPr>
                <a:t>Employees</a:t>
              </a:r>
            </a:p>
          </p:txBody>
        </p:sp>
        <p:sp>
          <p:nvSpPr>
            <p:cNvPr id="31" name="Freeform 30">
              <a:extLst>
                <a:ext uri="{FF2B5EF4-FFF2-40B4-BE49-F238E27FC236}">
                  <a16:creationId xmlns:a16="http://schemas.microsoft.com/office/drawing/2014/main" id="{A9379014-ACC2-990E-3A12-3653326052F8}"/>
                </a:ext>
              </a:extLst>
            </p:cNvPr>
            <p:cNvSpPr/>
            <p:nvPr/>
          </p:nvSpPr>
          <p:spPr>
            <a:xfrm>
              <a:off x="11270328" y="3565886"/>
              <a:ext cx="1846580" cy="1951893"/>
            </a:xfrm>
            <a:custGeom>
              <a:avLst/>
              <a:gdLst>
                <a:gd name="connsiteX0" fmla="*/ 1460754 w 1846580"/>
                <a:gd name="connsiteY0" fmla="*/ 1951894 h 1951893"/>
                <a:gd name="connsiteX1" fmla="*/ 1414463 w 1846580"/>
                <a:gd name="connsiteY1" fmla="*/ 1951894 h 1951893"/>
                <a:gd name="connsiteX2" fmla="*/ 1414463 w 1846580"/>
                <a:gd name="connsiteY2" fmla="*/ 1469691 h 1951893"/>
                <a:gd name="connsiteX3" fmla="*/ 1036930 w 1846580"/>
                <a:gd name="connsiteY3" fmla="*/ 992374 h 1951893"/>
                <a:gd name="connsiteX4" fmla="*/ 1019249 w 1846580"/>
                <a:gd name="connsiteY4" fmla="*/ 972057 h 1951893"/>
                <a:gd name="connsiteX5" fmla="*/ 1032879 w 1846580"/>
                <a:gd name="connsiteY5" fmla="*/ 948719 h 1951893"/>
                <a:gd name="connsiteX6" fmla="*/ 1193356 w 1846580"/>
                <a:gd name="connsiteY6" fmla="*/ 702088 h 1951893"/>
                <a:gd name="connsiteX7" fmla="*/ 923323 w 1846580"/>
                <a:gd name="connsiteY7" fmla="*/ 431990 h 1951893"/>
                <a:gd name="connsiteX8" fmla="*/ 653225 w 1846580"/>
                <a:gd name="connsiteY8" fmla="*/ 702088 h 1951893"/>
                <a:gd name="connsiteX9" fmla="*/ 813702 w 1846580"/>
                <a:gd name="connsiteY9" fmla="*/ 948719 h 1951893"/>
                <a:gd name="connsiteX10" fmla="*/ 827332 w 1846580"/>
                <a:gd name="connsiteY10" fmla="*/ 972057 h 1951893"/>
                <a:gd name="connsiteX11" fmla="*/ 809651 w 1846580"/>
                <a:gd name="connsiteY11" fmla="*/ 992374 h 1951893"/>
                <a:gd name="connsiteX12" fmla="*/ 432118 w 1846580"/>
                <a:gd name="connsiteY12" fmla="*/ 1469691 h 1951893"/>
                <a:gd name="connsiteX13" fmla="*/ 432118 w 1846580"/>
                <a:gd name="connsiteY13" fmla="*/ 1951894 h 1951893"/>
                <a:gd name="connsiteX14" fmla="*/ 385763 w 1846580"/>
                <a:gd name="connsiteY14" fmla="*/ 1951894 h 1951893"/>
                <a:gd name="connsiteX15" fmla="*/ 385763 w 1846580"/>
                <a:gd name="connsiteY15" fmla="*/ 1469691 h 1951893"/>
                <a:gd name="connsiteX16" fmla="*/ 744843 w 1846580"/>
                <a:gd name="connsiteY16" fmla="*/ 963120 h 1951893"/>
                <a:gd name="connsiteX17" fmla="*/ 606869 w 1846580"/>
                <a:gd name="connsiteY17" fmla="*/ 702024 h 1951893"/>
                <a:gd name="connsiteX18" fmla="*/ 788563 w 1846580"/>
                <a:gd name="connsiteY18" fmla="*/ 415788 h 1951893"/>
                <a:gd name="connsiteX19" fmla="*/ 807530 w 1846580"/>
                <a:gd name="connsiteY19" fmla="*/ 316325 h 1951893"/>
                <a:gd name="connsiteX20" fmla="*/ 537496 w 1846580"/>
                <a:gd name="connsiteY20" fmla="*/ 46227 h 1951893"/>
                <a:gd name="connsiteX21" fmla="*/ 267398 w 1846580"/>
                <a:gd name="connsiteY21" fmla="*/ 316325 h 1951893"/>
                <a:gd name="connsiteX22" fmla="*/ 427875 w 1846580"/>
                <a:gd name="connsiteY22" fmla="*/ 562956 h 1951893"/>
                <a:gd name="connsiteX23" fmla="*/ 441505 w 1846580"/>
                <a:gd name="connsiteY23" fmla="*/ 586295 h 1951893"/>
                <a:gd name="connsiteX24" fmla="*/ 423824 w 1846580"/>
                <a:gd name="connsiteY24" fmla="*/ 606612 h 1951893"/>
                <a:gd name="connsiteX25" fmla="*/ 46291 w 1846580"/>
                <a:gd name="connsiteY25" fmla="*/ 1083928 h 1951893"/>
                <a:gd name="connsiteX26" fmla="*/ 46291 w 1846580"/>
                <a:gd name="connsiteY26" fmla="*/ 1566132 h 1951893"/>
                <a:gd name="connsiteX27" fmla="*/ 0 w 1846580"/>
                <a:gd name="connsiteY27" fmla="*/ 1566132 h 1951893"/>
                <a:gd name="connsiteX28" fmla="*/ 0 w 1846580"/>
                <a:gd name="connsiteY28" fmla="*/ 1083928 h 1951893"/>
                <a:gd name="connsiteX29" fmla="*/ 359081 w 1846580"/>
                <a:gd name="connsiteY29" fmla="*/ 577358 h 1951893"/>
                <a:gd name="connsiteX30" fmla="*/ 221171 w 1846580"/>
                <a:gd name="connsiteY30" fmla="*/ 316325 h 1951893"/>
                <a:gd name="connsiteX31" fmla="*/ 537496 w 1846580"/>
                <a:gd name="connsiteY31" fmla="*/ 0 h 1951893"/>
                <a:gd name="connsiteX32" fmla="*/ 853821 w 1846580"/>
                <a:gd name="connsiteY32" fmla="*/ 316325 h 1951893"/>
                <a:gd name="connsiteX33" fmla="*/ 843727 w 1846580"/>
                <a:gd name="connsiteY33" fmla="*/ 395857 h 1951893"/>
                <a:gd name="connsiteX34" fmla="*/ 1002725 w 1846580"/>
                <a:gd name="connsiteY34" fmla="*/ 395857 h 1951893"/>
                <a:gd name="connsiteX35" fmla="*/ 992631 w 1846580"/>
                <a:gd name="connsiteY35" fmla="*/ 316325 h 1951893"/>
                <a:gd name="connsiteX36" fmla="*/ 1309021 w 1846580"/>
                <a:gd name="connsiteY36" fmla="*/ 0 h 1951893"/>
                <a:gd name="connsiteX37" fmla="*/ 1625410 w 1846580"/>
                <a:gd name="connsiteY37" fmla="*/ 316325 h 1951893"/>
                <a:gd name="connsiteX38" fmla="*/ 1487436 w 1846580"/>
                <a:gd name="connsiteY38" fmla="*/ 577422 h 1951893"/>
                <a:gd name="connsiteX39" fmla="*/ 1846581 w 1846580"/>
                <a:gd name="connsiteY39" fmla="*/ 1083993 h 1951893"/>
                <a:gd name="connsiteX40" fmla="*/ 1846581 w 1846580"/>
                <a:gd name="connsiteY40" fmla="*/ 1566132 h 1951893"/>
                <a:gd name="connsiteX41" fmla="*/ 1800225 w 1846580"/>
                <a:gd name="connsiteY41" fmla="*/ 1566132 h 1951893"/>
                <a:gd name="connsiteX42" fmla="*/ 1800225 w 1846580"/>
                <a:gd name="connsiteY42" fmla="*/ 1083928 h 1951893"/>
                <a:gd name="connsiteX43" fmla="*/ 1422692 w 1846580"/>
                <a:gd name="connsiteY43" fmla="*/ 606612 h 1951893"/>
                <a:gd name="connsiteX44" fmla="*/ 1405011 w 1846580"/>
                <a:gd name="connsiteY44" fmla="*/ 586295 h 1951893"/>
                <a:gd name="connsiteX45" fmla="*/ 1418642 w 1846580"/>
                <a:gd name="connsiteY45" fmla="*/ 562956 h 1951893"/>
                <a:gd name="connsiteX46" fmla="*/ 1579055 w 1846580"/>
                <a:gd name="connsiteY46" fmla="*/ 316325 h 1951893"/>
                <a:gd name="connsiteX47" fmla="*/ 1309021 w 1846580"/>
                <a:gd name="connsiteY47" fmla="*/ 46227 h 1951893"/>
                <a:gd name="connsiteX48" fmla="*/ 1038987 w 1846580"/>
                <a:gd name="connsiteY48" fmla="*/ 316325 h 1951893"/>
                <a:gd name="connsiteX49" fmla="*/ 1057954 w 1846580"/>
                <a:gd name="connsiteY49" fmla="*/ 415852 h 1951893"/>
                <a:gd name="connsiteX50" fmla="*/ 1239648 w 1846580"/>
                <a:gd name="connsiteY50" fmla="*/ 702088 h 1951893"/>
                <a:gd name="connsiteX51" fmla="*/ 1101673 w 1846580"/>
                <a:gd name="connsiteY51" fmla="*/ 963185 h 1951893"/>
                <a:gd name="connsiteX52" fmla="*/ 1460818 w 1846580"/>
                <a:gd name="connsiteY52" fmla="*/ 1469755 h 1951893"/>
                <a:gd name="connsiteX53" fmla="*/ 1460754 w 1846580"/>
                <a:gd name="connsiteY53" fmla="*/ 1951894 h 1951893"/>
                <a:gd name="connsiteX54" fmla="*/ 1460754 w 1846580"/>
                <a:gd name="connsiteY54" fmla="*/ 1951894 h 195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580" h="1951893">
                  <a:moveTo>
                    <a:pt x="1460754" y="1951894"/>
                  </a:moveTo>
                  <a:lnTo>
                    <a:pt x="1414463" y="1951894"/>
                  </a:lnTo>
                  <a:lnTo>
                    <a:pt x="1414463" y="1469691"/>
                  </a:lnTo>
                  <a:cubicBezTo>
                    <a:pt x="1414463" y="1241319"/>
                    <a:pt x="1259257" y="1045095"/>
                    <a:pt x="1036930" y="992374"/>
                  </a:cubicBezTo>
                  <a:cubicBezTo>
                    <a:pt x="1027286" y="990060"/>
                    <a:pt x="1020149" y="981894"/>
                    <a:pt x="1019249" y="972057"/>
                  </a:cubicBezTo>
                  <a:cubicBezTo>
                    <a:pt x="1018284" y="962156"/>
                    <a:pt x="1023814" y="952769"/>
                    <a:pt x="1032879" y="948719"/>
                  </a:cubicBezTo>
                  <a:cubicBezTo>
                    <a:pt x="1130413" y="905320"/>
                    <a:pt x="1193356" y="808494"/>
                    <a:pt x="1193356" y="702088"/>
                  </a:cubicBezTo>
                  <a:cubicBezTo>
                    <a:pt x="1193356" y="553183"/>
                    <a:pt x="1072227" y="431990"/>
                    <a:pt x="923323" y="431990"/>
                  </a:cubicBezTo>
                  <a:cubicBezTo>
                    <a:pt x="774418" y="431990"/>
                    <a:pt x="653225" y="553119"/>
                    <a:pt x="653225" y="702088"/>
                  </a:cubicBezTo>
                  <a:cubicBezTo>
                    <a:pt x="653225" y="808494"/>
                    <a:pt x="716232" y="905385"/>
                    <a:pt x="813702" y="948719"/>
                  </a:cubicBezTo>
                  <a:cubicBezTo>
                    <a:pt x="822767" y="952769"/>
                    <a:pt x="828296" y="962156"/>
                    <a:pt x="827332" y="972057"/>
                  </a:cubicBezTo>
                  <a:cubicBezTo>
                    <a:pt x="826432" y="981894"/>
                    <a:pt x="819295" y="990124"/>
                    <a:pt x="809651" y="992374"/>
                  </a:cubicBezTo>
                  <a:cubicBezTo>
                    <a:pt x="587323" y="1045095"/>
                    <a:pt x="432118" y="1241319"/>
                    <a:pt x="432118" y="1469691"/>
                  </a:cubicBezTo>
                  <a:lnTo>
                    <a:pt x="432118" y="1951894"/>
                  </a:lnTo>
                  <a:lnTo>
                    <a:pt x="385763" y="1951894"/>
                  </a:lnTo>
                  <a:lnTo>
                    <a:pt x="385763" y="1469691"/>
                  </a:lnTo>
                  <a:cubicBezTo>
                    <a:pt x="385763" y="1238748"/>
                    <a:pt x="530874" y="1037765"/>
                    <a:pt x="744843" y="963120"/>
                  </a:cubicBezTo>
                  <a:cubicBezTo>
                    <a:pt x="659590" y="904806"/>
                    <a:pt x="606869" y="807465"/>
                    <a:pt x="606869" y="702024"/>
                  </a:cubicBezTo>
                  <a:cubicBezTo>
                    <a:pt x="606869" y="575751"/>
                    <a:pt x="681257" y="466451"/>
                    <a:pt x="788563" y="415788"/>
                  </a:cubicBezTo>
                  <a:cubicBezTo>
                    <a:pt x="801164" y="384219"/>
                    <a:pt x="807530" y="350787"/>
                    <a:pt x="807530" y="316325"/>
                  </a:cubicBezTo>
                  <a:cubicBezTo>
                    <a:pt x="807530" y="167421"/>
                    <a:pt x="686400" y="46227"/>
                    <a:pt x="537496" y="46227"/>
                  </a:cubicBezTo>
                  <a:cubicBezTo>
                    <a:pt x="388591" y="46227"/>
                    <a:pt x="267398" y="167357"/>
                    <a:pt x="267398" y="316325"/>
                  </a:cubicBezTo>
                  <a:cubicBezTo>
                    <a:pt x="267398" y="422796"/>
                    <a:pt x="330406" y="519622"/>
                    <a:pt x="427875" y="562956"/>
                  </a:cubicBezTo>
                  <a:cubicBezTo>
                    <a:pt x="437005" y="567007"/>
                    <a:pt x="442405" y="576393"/>
                    <a:pt x="441505" y="586295"/>
                  </a:cubicBezTo>
                  <a:cubicBezTo>
                    <a:pt x="440605" y="596132"/>
                    <a:pt x="433468" y="604361"/>
                    <a:pt x="423824" y="606612"/>
                  </a:cubicBezTo>
                  <a:cubicBezTo>
                    <a:pt x="201497" y="659332"/>
                    <a:pt x="46291" y="855557"/>
                    <a:pt x="46291" y="1083928"/>
                  </a:cubicBezTo>
                  <a:lnTo>
                    <a:pt x="46291" y="1566132"/>
                  </a:lnTo>
                  <a:lnTo>
                    <a:pt x="0" y="1566132"/>
                  </a:lnTo>
                  <a:lnTo>
                    <a:pt x="0" y="1083928"/>
                  </a:lnTo>
                  <a:cubicBezTo>
                    <a:pt x="0" y="852985"/>
                    <a:pt x="145111" y="652003"/>
                    <a:pt x="359081" y="577358"/>
                  </a:cubicBezTo>
                  <a:cubicBezTo>
                    <a:pt x="273827" y="519043"/>
                    <a:pt x="221171" y="421703"/>
                    <a:pt x="221171" y="316325"/>
                  </a:cubicBezTo>
                  <a:cubicBezTo>
                    <a:pt x="221171" y="141896"/>
                    <a:pt x="363067" y="0"/>
                    <a:pt x="537496" y="0"/>
                  </a:cubicBezTo>
                  <a:cubicBezTo>
                    <a:pt x="711925" y="0"/>
                    <a:pt x="853821" y="141896"/>
                    <a:pt x="853821" y="316325"/>
                  </a:cubicBezTo>
                  <a:cubicBezTo>
                    <a:pt x="853821" y="343457"/>
                    <a:pt x="850478" y="370075"/>
                    <a:pt x="843727" y="395857"/>
                  </a:cubicBezTo>
                  <a:cubicBezTo>
                    <a:pt x="894583" y="382676"/>
                    <a:pt x="951933" y="382676"/>
                    <a:pt x="1002725" y="395857"/>
                  </a:cubicBezTo>
                  <a:cubicBezTo>
                    <a:pt x="996039" y="370075"/>
                    <a:pt x="992631" y="343457"/>
                    <a:pt x="992631" y="316325"/>
                  </a:cubicBezTo>
                  <a:cubicBezTo>
                    <a:pt x="992631" y="141896"/>
                    <a:pt x="1134592" y="0"/>
                    <a:pt x="1309021" y="0"/>
                  </a:cubicBezTo>
                  <a:cubicBezTo>
                    <a:pt x="1483450" y="0"/>
                    <a:pt x="1625410" y="141896"/>
                    <a:pt x="1625410" y="316325"/>
                  </a:cubicBezTo>
                  <a:cubicBezTo>
                    <a:pt x="1625410" y="421767"/>
                    <a:pt x="1572689" y="519108"/>
                    <a:pt x="1487436" y="577422"/>
                  </a:cubicBezTo>
                  <a:cubicBezTo>
                    <a:pt x="1701470" y="652067"/>
                    <a:pt x="1846581" y="853050"/>
                    <a:pt x="1846581" y="1083993"/>
                  </a:cubicBezTo>
                  <a:lnTo>
                    <a:pt x="1846581" y="1566132"/>
                  </a:lnTo>
                  <a:lnTo>
                    <a:pt x="1800225" y="1566132"/>
                  </a:lnTo>
                  <a:lnTo>
                    <a:pt x="1800225" y="1083928"/>
                  </a:lnTo>
                  <a:cubicBezTo>
                    <a:pt x="1800225" y="855557"/>
                    <a:pt x="1645020" y="659332"/>
                    <a:pt x="1422692" y="606612"/>
                  </a:cubicBezTo>
                  <a:cubicBezTo>
                    <a:pt x="1413048" y="604297"/>
                    <a:pt x="1405911" y="596132"/>
                    <a:pt x="1405011" y="586295"/>
                  </a:cubicBezTo>
                  <a:cubicBezTo>
                    <a:pt x="1404047" y="576393"/>
                    <a:pt x="1409576" y="567007"/>
                    <a:pt x="1418642" y="562956"/>
                  </a:cubicBezTo>
                  <a:cubicBezTo>
                    <a:pt x="1516111" y="519558"/>
                    <a:pt x="1579055" y="422731"/>
                    <a:pt x="1579055" y="316325"/>
                  </a:cubicBezTo>
                  <a:cubicBezTo>
                    <a:pt x="1579055" y="167421"/>
                    <a:pt x="1457925" y="46227"/>
                    <a:pt x="1309021" y="46227"/>
                  </a:cubicBezTo>
                  <a:cubicBezTo>
                    <a:pt x="1160116" y="46227"/>
                    <a:pt x="1038987" y="167357"/>
                    <a:pt x="1038987" y="316325"/>
                  </a:cubicBezTo>
                  <a:cubicBezTo>
                    <a:pt x="1038987" y="350787"/>
                    <a:pt x="1045352" y="384219"/>
                    <a:pt x="1057954" y="415852"/>
                  </a:cubicBezTo>
                  <a:cubicBezTo>
                    <a:pt x="1165260" y="466580"/>
                    <a:pt x="1239648" y="575815"/>
                    <a:pt x="1239648" y="702088"/>
                  </a:cubicBezTo>
                  <a:cubicBezTo>
                    <a:pt x="1239648" y="807530"/>
                    <a:pt x="1186927" y="904870"/>
                    <a:pt x="1101673" y="963185"/>
                  </a:cubicBezTo>
                  <a:cubicBezTo>
                    <a:pt x="1315707" y="1037830"/>
                    <a:pt x="1460818" y="1238812"/>
                    <a:pt x="1460818" y="1469755"/>
                  </a:cubicBezTo>
                  <a:lnTo>
                    <a:pt x="1460754" y="1951894"/>
                  </a:lnTo>
                  <a:lnTo>
                    <a:pt x="1460754" y="1951894"/>
                  </a:lnTo>
                  <a:close/>
                </a:path>
              </a:pathLst>
            </a:custGeom>
            <a:solidFill>
              <a:srgbClr val="0F62FE"/>
            </a:solidFill>
            <a:ln w="64294" cap="flat">
              <a:noFill/>
              <a:prstDash val="solid"/>
              <a:miter/>
            </a:ln>
          </p:spPr>
          <p:txBody>
            <a:bodyPr rtlCol="0" anchor="ctr"/>
            <a:lstStyle/>
            <a:p>
              <a:endParaRPr lang="en-US"/>
            </a:p>
          </p:txBody>
        </p:sp>
      </p:grpSp>
      <p:sp>
        <p:nvSpPr>
          <p:cNvPr id="3" name="Title 2">
            <a:extLst>
              <a:ext uri="{FF2B5EF4-FFF2-40B4-BE49-F238E27FC236}">
                <a16:creationId xmlns:a16="http://schemas.microsoft.com/office/drawing/2014/main" id="{91EE16BD-106E-CDFF-DB08-8DAB0818633E}"/>
              </a:ext>
            </a:extLst>
          </p:cNvPr>
          <p:cNvSpPr>
            <a:spLocks noGrp="1"/>
          </p:cNvSpPr>
          <p:nvPr>
            <p:ph type="title"/>
          </p:nvPr>
        </p:nvSpPr>
        <p:spPr>
          <a:xfrm>
            <a:off x="576072" y="385199"/>
            <a:ext cx="8330988" cy="5132579"/>
          </a:xfrm>
        </p:spPr>
        <p:txBody>
          <a:bodyPr/>
          <a:lstStyle/>
          <a:p>
            <a:r>
              <a:rPr kumimoji="0" lang="en-US" u="none" strike="noStrike" kern="0" cap="none" spc="0" normalizeH="0" baseline="0" noProof="0" dirty="0">
                <a:ln>
                  <a:noFill/>
                </a:ln>
                <a:solidFill>
                  <a:srgbClr val="000000"/>
                </a:solidFill>
                <a:effectLst/>
                <a:uLnTx/>
                <a:uFillTx/>
                <a:latin typeface="+mn-lt"/>
                <a:ea typeface="+mn-ea"/>
                <a:cs typeface="Arial"/>
                <a:sym typeface="Arial"/>
              </a:rPr>
              <a:t>After years </a:t>
            </a:r>
            <a:br>
              <a:rPr kumimoji="0" lang="en-US" u="none" strike="noStrike" kern="0" cap="none" spc="0" normalizeH="0" baseline="0" noProof="0" dirty="0">
                <a:ln>
                  <a:noFill/>
                </a:ln>
                <a:solidFill>
                  <a:srgbClr val="000000"/>
                </a:solidFill>
                <a:effectLst/>
                <a:uLnTx/>
                <a:uFillTx/>
                <a:latin typeface="+mn-lt"/>
                <a:ea typeface="+mn-ea"/>
                <a:cs typeface="Arial"/>
                <a:sym typeface="Arial"/>
              </a:rPr>
            </a:br>
            <a:r>
              <a:rPr kumimoji="0" lang="en-US" u="none" strike="noStrike" kern="0" cap="none" spc="0" normalizeH="0" baseline="0" noProof="0" dirty="0">
                <a:ln>
                  <a:noFill/>
                </a:ln>
                <a:solidFill>
                  <a:srgbClr val="000000"/>
                </a:solidFill>
                <a:effectLst/>
                <a:uLnTx/>
                <a:uFillTx/>
                <a:latin typeface="+mn-lt"/>
                <a:ea typeface="+mn-ea"/>
                <a:cs typeface="Arial"/>
                <a:sym typeface="Arial"/>
              </a:rPr>
              <a:t>of investments </a:t>
            </a:r>
            <a:br>
              <a:rPr kumimoji="0" lang="en-US" u="none" strike="noStrike" kern="0" cap="none" spc="0" normalizeH="0" baseline="0" noProof="0" dirty="0">
                <a:ln>
                  <a:noFill/>
                </a:ln>
                <a:solidFill>
                  <a:srgbClr val="000000"/>
                </a:solidFill>
                <a:effectLst/>
                <a:uLnTx/>
                <a:uFillTx/>
                <a:latin typeface="+mn-lt"/>
                <a:ea typeface="+mn-ea"/>
                <a:cs typeface="Arial"/>
                <a:sym typeface="Arial"/>
              </a:rPr>
            </a:br>
            <a:r>
              <a:rPr kumimoji="0" lang="en-US" u="none" strike="noStrike" kern="0" cap="none" spc="0" normalizeH="0" baseline="0" noProof="0" dirty="0">
                <a:ln>
                  <a:noFill/>
                </a:ln>
                <a:solidFill>
                  <a:srgbClr val="000000"/>
                </a:solidFill>
                <a:effectLst/>
                <a:uLnTx/>
                <a:uFillTx/>
                <a:latin typeface="+mn-lt"/>
                <a:ea typeface="+mn-ea"/>
                <a:cs typeface="Arial"/>
                <a:sym typeface="Arial"/>
              </a:rPr>
              <a:t>in automation, employee productivity </a:t>
            </a:r>
            <a:r>
              <a:rPr lang="en-US" kern="0" dirty="0">
                <a:solidFill>
                  <a:srgbClr val="000000"/>
                </a:solidFill>
                <a:latin typeface="+mn-lt"/>
                <a:cs typeface="Arial"/>
                <a:sym typeface="Arial"/>
              </a:rPr>
              <a:t>is still </a:t>
            </a:r>
            <a:r>
              <a:rPr kumimoji="0" lang="en-US" i="1" u="none" strike="noStrike" kern="0" cap="none" spc="0" normalizeH="0" baseline="0" noProof="0" dirty="0">
                <a:ln>
                  <a:noFill/>
                </a:ln>
                <a:solidFill>
                  <a:schemeClr val="accent1"/>
                </a:solidFill>
                <a:effectLst/>
                <a:uLnTx/>
                <a:uFillTx/>
                <a:latin typeface="+mn-lt"/>
                <a:ea typeface="+mn-ea"/>
                <a:cs typeface="Arial"/>
                <a:sym typeface="Arial"/>
              </a:rPr>
              <a:t>declining</a:t>
            </a:r>
            <a:br>
              <a:rPr kumimoji="0" lang="en-US" i="1" u="none" strike="noStrike" kern="0" cap="none" spc="0" normalizeH="0" baseline="0" noProof="0" dirty="0">
                <a:ln>
                  <a:noFill/>
                </a:ln>
                <a:solidFill>
                  <a:schemeClr val="accent1"/>
                </a:solidFill>
                <a:effectLst/>
                <a:uLnTx/>
                <a:uFillTx/>
                <a:latin typeface="+mn-lt"/>
                <a:cs typeface="Arial"/>
                <a:sym typeface="Arial"/>
              </a:rPr>
            </a:br>
            <a:endParaRPr lang="en-US" dirty="0">
              <a:latin typeface="+mn-lt"/>
            </a:endParaRPr>
          </a:p>
        </p:txBody>
      </p:sp>
    </p:spTree>
    <p:extLst>
      <p:ext uri="{BB962C8B-B14F-4D97-AF65-F5344CB8AC3E}">
        <p14:creationId xmlns:p14="http://schemas.microsoft.com/office/powerpoint/2010/main" val="54908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fade">
                                      <p:cBhvr>
                                        <p:cTn id="11"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rc 9">
            <a:extLst>
              <a:ext uri="{FF2B5EF4-FFF2-40B4-BE49-F238E27FC236}">
                <a16:creationId xmlns:a16="http://schemas.microsoft.com/office/drawing/2014/main" id="{6080B2E5-633F-16E9-40F4-CC2D2F23CFE0}"/>
              </a:ext>
            </a:extLst>
          </p:cNvPr>
          <p:cNvSpPr/>
          <p:nvPr/>
        </p:nvSpPr>
        <p:spPr bwMode="auto">
          <a:xfrm rot="18900000">
            <a:off x="-979823" y="7338215"/>
            <a:ext cx="6812678" cy="6812679"/>
          </a:xfrm>
          <a:prstGeom prst="arc">
            <a:avLst/>
          </a:prstGeom>
          <a:ln w="50800" cap="rnd">
            <a:solidFill>
              <a:srgbClr val="82CFFF"/>
            </a:solidFill>
            <a:prstDash val="sysDot"/>
            <a:headEnd type="none" w="med" len="med"/>
            <a:tailEnd type="arrow"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37" name="Group 136">
            <a:extLst>
              <a:ext uri="{FF2B5EF4-FFF2-40B4-BE49-F238E27FC236}">
                <a16:creationId xmlns:a16="http://schemas.microsoft.com/office/drawing/2014/main" id="{7B8582CE-62F1-142E-459F-DF891C87F734}"/>
              </a:ext>
            </a:extLst>
          </p:cNvPr>
          <p:cNvGrpSpPr/>
          <p:nvPr/>
        </p:nvGrpSpPr>
        <p:grpSpPr>
          <a:xfrm>
            <a:off x="1196696" y="5927263"/>
            <a:ext cx="2364962" cy="2743200"/>
            <a:chOff x="1196696" y="5927263"/>
            <a:chExt cx="2364962" cy="2743200"/>
          </a:xfrm>
        </p:grpSpPr>
        <p:sp>
          <p:nvSpPr>
            <p:cNvPr id="46" name="Hexagon 45">
              <a:extLst>
                <a:ext uri="{FF2B5EF4-FFF2-40B4-BE49-F238E27FC236}">
                  <a16:creationId xmlns:a16="http://schemas.microsoft.com/office/drawing/2014/main" id="{C8B7C3E7-1A57-57FA-B0F5-3A0E31BBFE02}"/>
                </a:ext>
              </a:extLst>
            </p:cNvPr>
            <p:cNvSpPr>
              <a:spLocks noChangeAspect="1"/>
            </p:cNvSpPr>
            <p:nvPr/>
          </p:nvSpPr>
          <p:spPr bwMode="auto">
            <a:xfrm rot="16200000">
              <a:off x="1007577" y="6116382"/>
              <a:ext cx="2743200" cy="2364962"/>
            </a:xfrm>
            <a:prstGeom prst="hexagon">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47" name="Freeform 46">
              <a:extLst>
                <a:ext uri="{FF2B5EF4-FFF2-40B4-BE49-F238E27FC236}">
                  <a16:creationId xmlns:a16="http://schemas.microsoft.com/office/drawing/2014/main" id="{ABBD719F-D91F-D8AB-AFC2-8E5E24D688B1}"/>
                </a:ext>
              </a:extLst>
            </p:cNvPr>
            <p:cNvSpPr/>
            <p:nvPr/>
          </p:nvSpPr>
          <p:spPr>
            <a:xfrm>
              <a:off x="1810616" y="6697876"/>
              <a:ext cx="1137121" cy="1201974"/>
            </a:xfrm>
            <a:custGeom>
              <a:avLst/>
              <a:gdLst>
                <a:gd name="connsiteX0" fmla="*/ 1460754 w 1846580"/>
                <a:gd name="connsiteY0" fmla="*/ 1951894 h 1951893"/>
                <a:gd name="connsiteX1" fmla="*/ 1414463 w 1846580"/>
                <a:gd name="connsiteY1" fmla="*/ 1951894 h 1951893"/>
                <a:gd name="connsiteX2" fmla="*/ 1414463 w 1846580"/>
                <a:gd name="connsiteY2" fmla="*/ 1469691 h 1951893"/>
                <a:gd name="connsiteX3" fmla="*/ 1036930 w 1846580"/>
                <a:gd name="connsiteY3" fmla="*/ 992374 h 1951893"/>
                <a:gd name="connsiteX4" fmla="*/ 1019249 w 1846580"/>
                <a:gd name="connsiteY4" fmla="*/ 972057 h 1951893"/>
                <a:gd name="connsiteX5" fmla="*/ 1032879 w 1846580"/>
                <a:gd name="connsiteY5" fmla="*/ 948719 h 1951893"/>
                <a:gd name="connsiteX6" fmla="*/ 1193356 w 1846580"/>
                <a:gd name="connsiteY6" fmla="*/ 702088 h 1951893"/>
                <a:gd name="connsiteX7" fmla="*/ 923323 w 1846580"/>
                <a:gd name="connsiteY7" fmla="*/ 431990 h 1951893"/>
                <a:gd name="connsiteX8" fmla="*/ 653225 w 1846580"/>
                <a:gd name="connsiteY8" fmla="*/ 702088 h 1951893"/>
                <a:gd name="connsiteX9" fmla="*/ 813702 w 1846580"/>
                <a:gd name="connsiteY9" fmla="*/ 948719 h 1951893"/>
                <a:gd name="connsiteX10" fmla="*/ 827332 w 1846580"/>
                <a:gd name="connsiteY10" fmla="*/ 972057 h 1951893"/>
                <a:gd name="connsiteX11" fmla="*/ 809651 w 1846580"/>
                <a:gd name="connsiteY11" fmla="*/ 992374 h 1951893"/>
                <a:gd name="connsiteX12" fmla="*/ 432118 w 1846580"/>
                <a:gd name="connsiteY12" fmla="*/ 1469691 h 1951893"/>
                <a:gd name="connsiteX13" fmla="*/ 432118 w 1846580"/>
                <a:gd name="connsiteY13" fmla="*/ 1951894 h 1951893"/>
                <a:gd name="connsiteX14" fmla="*/ 385763 w 1846580"/>
                <a:gd name="connsiteY14" fmla="*/ 1951894 h 1951893"/>
                <a:gd name="connsiteX15" fmla="*/ 385763 w 1846580"/>
                <a:gd name="connsiteY15" fmla="*/ 1469691 h 1951893"/>
                <a:gd name="connsiteX16" fmla="*/ 744843 w 1846580"/>
                <a:gd name="connsiteY16" fmla="*/ 963120 h 1951893"/>
                <a:gd name="connsiteX17" fmla="*/ 606869 w 1846580"/>
                <a:gd name="connsiteY17" fmla="*/ 702024 h 1951893"/>
                <a:gd name="connsiteX18" fmla="*/ 788563 w 1846580"/>
                <a:gd name="connsiteY18" fmla="*/ 415788 h 1951893"/>
                <a:gd name="connsiteX19" fmla="*/ 807530 w 1846580"/>
                <a:gd name="connsiteY19" fmla="*/ 316325 h 1951893"/>
                <a:gd name="connsiteX20" fmla="*/ 537496 w 1846580"/>
                <a:gd name="connsiteY20" fmla="*/ 46227 h 1951893"/>
                <a:gd name="connsiteX21" fmla="*/ 267398 w 1846580"/>
                <a:gd name="connsiteY21" fmla="*/ 316325 h 1951893"/>
                <a:gd name="connsiteX22" fmla="*/ 427875 w 1846580"/>
                <a:gd name="connsiteY22" fmla="*/ 562956 h 1951893"/>
                <a:gd name="connsiteX23" fmla="*/ 441505 w 1846580"/>
                <a:gd name="connsiteY23" fmla="*/ 586295 h 1951893"/>
                <a:gd name="connsiteX24" fmla="*/ 423824 w 1846580"/>
                <a:gd name="connsiteY24" fmla="*/ 606612 h 1951893"/>
                <a:gd name="connsiteX25" fmla="*/ 46291 w 1846580"/>
                <a:gd name="connsiteY25" fmla="*/ 1083928 h 1951893"/>
                <a:gd name="connsiteX26" fmla="*/ 46291 w 1846580"/>
                <a:gd name="connsiteY26" fmla="*/ 1566132 h 1951893"/>
                <a:gd name="connsiteX27" fmla="*/ 0 w 1846580"/>
                <a:gd name="connsiteY27" fmla="*/ 1566132 h 1951893"/>
                <a:gd name="connsiteX28" fmla="*/ 0 w 1846580"/>
                <a:gd name="connsiteY28" fmla="*/ 1083928 h 1951893"/>
                <a:gd name="connsiteX29" fmla="*/ 359081 w 1846580"/>
                <a:gd name="connsiteY29" fmla="*/ 577358 h 1951893"/>
                <a:gd name="connsiteX30" fmla="*/ 221171 w 1846580"/>
                <a:gd name="connsiteY30" fmla="*/ 316325 h 1951893"/>
                <a:gd name="connsiteX31" fmla="*/ 537496 w 1846580"/>
                <a:gd name="connsiteY31" fmla="*/ 0 h 1951893"/>
                <a:gd name="connsiteX32" fmla="*/ 853821 w 1846580"/>
                <a:gd name="connsiteY32" fmla="*/ 316325 h 1951893"/>
                <a:gd name="connsiteX33" fmla="*/ 843727 w 1846580"/>
                <a:gd name="connsiteY33" fmla="*/ 395857 h 1951893"/>
                <a:gd name="connsiteX34" fmla="*/ 1002725 w 1846580"/>
                <a:gd name="connsiteY34" fmla="*/ 395857 h 1951893"/>
                <a:gd name="connsiteX35" fmla="*/ 992631 w 1846580"/>
                <a:gd name="connsiteY35" fmla="*/ 316325 h 1951893"/>
                <a:gd name="connsiteX36" fmla="*/ 1309021 w 1846580"/>
                <a:gd name="connsiteY36" fmla="*/ 0 h 1951893"/>
                <a:gd name="connsiteX37" fmla="*/ 1625410 w 1846580"/>
                <a:gd name="connsiteY37" fmla="*/ 316325 h 1951893"/>
                <a:gd name="connsiteX38" fmla="*/ 1487436 w 1846580"/>
                <a:gd name="connsiteY38" fmla="*/ 577422 h 1951893"/>
                <a:gd name="connsiteX39" fmla="*/ 1846581 w 1846580"/>
                <a:gd name="connsiteY39" fmla="*/ 1083993 h 1951893"/>
                <a:gd name="connsiteX40" fmla="*/ 1846581 w 1846580"/>
                <a:gd name="connsiteY40" fmla="*/ 1566132 h 1951893"/>
                <a:gd name="connsiteX41" fmla="*/ 1800225 w 1846580"/>
                <a:gd name="connsiteY41" fmla="*/ 1566132 h 1951893"/>
                <a:gd name="connsiteX42" fmla="*/ 1800225 w 1846580"/>
                <a:gd name="connsiteY42" fmla="*/ 1083928 h 1951893"/>
                <a:gd name="connsiteX43" fmla="*/ 1422692 w 1846580"/>
                <a:gd name="connsiteY43" fmla="*/ 606612 h 1951893"/>
                <a:gd name="connsiteX44" fmla="*/ 1405011 w 1846580"/>
                <a:gd name="connsiteY44" fmla="*/ 586295 h 1951893"/>
                <a:gd name="connsiteX45" fmla="*/ 1418642 w 1846580"/>
                <a:gd name="connsiteY45" fmla="*/ 562956 h 1951893"/>
                <a:gd name="connsiteX46" fmla="*/ 1579055 w 1846580"/>
                <a:gd name="connsiteY46" fmla="*/ 316325 h 1951893"/>
                <a:gd name="connsiteX47" fmla="*/ 1309021 w 1846580"/>
                <a:gd name="connsiteY47" fmla="*/ 46227 h 1951893"/>
                <a:gd name="connsiteX48" fmla="*/ 1038987 w 1846580"/>
                <a:gd name="connsiteY48" fmla="*/ 316325 h 1951893"/>
                <a:gd name="connsiteX49" fmla="*/ 1057954 w 1846580"/>
                <a:gd name="connsiteY49" fmla="*/ 415852 h 1951893"/>
                <a:gd name="connsiteX50" fmla="*/ 1239648 w 1846580"/>
                <a:gd name="connsiteY50" fmla="*/ 702088 h 1951893"/>
                <a:gd name="connsiteX51" fmla="*/ 1101673 w 1846580"/>
                <a:gd name="connsiteY51" fmla="*/ 963185 h 1951893"/>
                <a:gd name="connsiteX52" fmla="*/ 1460818 w 1846580"/>
                <a:gd name="connsiteY52" fmla="*/ 1469755 h 1951893"/>
                <a:gd name="connsiteX53" fmla="*/ 1460754 w 1846580"/>
                <a:gd name="connsiteY53" fmla="*/ 1951894 h 1951893"/>
                <a:gd name="connsiteX54" fmla="*/ 1460754 w 1846580"/>
                <a:gd name="connsiteY54" fmla="*/ 1951894 h 195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580" h="1951893">
                  <a:moveTo>
                    <a:pt x="1460754" y="1951894"/>
                  </a:moveTo>
                  <a:lnTo>
                    <a:pt x="1414463" y="1951894"/>
                  </a:lnTo>
                  <a:lnTo>
                    <a:pt x="1414463" y="1469691"/>
                  </a:lnTo>
                  <a:cubicBezTo>
                    <a:pt x="1414463" y="1241319"/>
                    <a:pt x="1259257" y="1045095"/>
                    <a:pt x="1036930" y="992374"/>
                  </a:cubicBezTo>
                  <a:cubicBezTo>
                    <a:pt x="1027286" y="990060"/>
                    <a:pt x="1020149" y="981894"/>
                    <a:pt x="1019249" y="972057"/>
                  </a:cubicBezTo>
                  <a:cubicBezTo>
                    <a:pt x="1018284" y="962156"/>
                    <a:pt x="1023814" y="952769"/>
                    <a:pt x="1032879" y="948719"/>
                  </a:cubicBezTo>
                  <a:cubicBezTo>
                    <a:pt x="1130413" y="905320"/>
                    <a:pt x="1193356" y="808494"/>
                    <a:pt x="1193356" y="702088"/>
                  </a:cubicBezTo>
                  <a:cubicBezTo>
                    <a:pt x="1193356" y="553183"/>
                    <a:pt x="1072227" y="431990"/>
                    <a:pt x="923323" y="431990"/>
                  </a:cubicBezTo>
                  <a:cubicBezTo>
                    <a:pt x="774418" y="431990"/>
                    <a:pt x="653225" y="553119"/>
                    <a:pt x="653225" y="702088"/>
                  </a:cubicBezTo>
                  <a:cubicBezTo>
                    <a:pt x="653225" y="808494"/>
                    <a:pt x="716232" y="905385"/>
                    <a:pt x="813702" y="948719"/>
                  </a:cubicBezTo>
                  <a:cubicBezTo>
                    <a:pt x="822767" y="952769"/>
                    <a:pt x="828296" y="962156"/>
                    <a:pt x="827332" y="972057"/>
                  </a:cubicBezTo>
                  <a:cubicBezTo>
                    <a:pt x="826432" y="981894"/>
                    <a:pt x="819295" y="990124"/>
                    <a:pt x="809651" y="992374"/>
                  </a:cubicBezTo>
                  <a:cubicBezTo>
                    <a:pt x="587323" y="1045095"/>
                    <a:pt x="432118" y="1241319"/>
                    <a:pt x="432118" y="1469691"/>
                  </a:cubicBezTo>
                  <a:lnTo>
                    <a:pt x="432118" y="1951894"/>
                  </a:lnTo>
                  <a:lnTo>
                    <a:pt x="385763" y="1951894"/>
                  </a:lnTo>
                  <a:lnTo>
                    <a:pt x="385763" y="1469691"/>
                  </a:lnTo>
                  <a:cubicBezTo>
                    <a:pt x="385763" y="1238748"/>
                    <a:pt x="530874" y="1037765"/>
                    <a:pt x="744843" y="963120"/>
                  </a:cubicBezTo>
                  <a:cubicBezTo>
                    <a:pt x="659590" y="904806"/>
                    <a:pt x="606869" y="807465"/>
                    <a:pt x="606869" y="702024"/>
                  </a:cubicBezTo>
                  <a:cubicBezTo>
                    <a:pt x="606869" y="575751"/>
                    <a:pt x="681257" y="466451"/>
                    <a:pt x="788563" y="415788"/>
                  </a:cubicBezTo>
                  <a:cubicBezTo>
                    <a:pt x="801164" y="384219"/>
                    <a:pt x="807530" y="350787"/>
                    <a:pt x="807530" y="316325"/>
                  </a:cubicBezTo>
                  <a:cubicBezTo>
                    <a:pt x="807530" y="167421"/>
                    <a:pt x="686400" y="46227"/>
                    <a:pt x="537496" y="46227"/>
                  </a:cubicBezTo>
                  <a:cubicBezTo>
                    <a:pt x="388591" y="46227"/>
                    <a:pt x="267398" y="167357"/>
                    <a:pt x="267398" y="316325"/>
                  </a:cubicBezTo>
                  <a:cubicBezTo>
                    <a:pt x="267398" y="422796"/>
                    <a:pt x="330406" y="519622"/>
                    <a:pt x="427875" y="562956"/>
                  </a:cubicBezTo>
                  <a:cubicBezTo>
                    <a:pt x="437005" y="567007"/>
                    <a:pt x="442405" y="576393"/>
                    <a:pt x="441505" y="586295"/>
                  </a:cubicBezTo>
                  <a:cubicBezTo>
                    <a:pt x="440605" y="596132"/>
                    <a:pt x="433468" y="604361"/>
                    <a:pt x="423824" y="606612"/>
                  </a:cubicBezTo>
                  <a:cubicBezTo>
                    <a:pt x="201497" y="659332"/>
                    <a:pt x="46291" y="855557"/>
                    <a:pt x="46291" y="1083928"/>
                  </a:cubicBezTo>
                  <a:lnTo>
                    <a:pt x="46291" y="1566132"/>
                  </a:lnTo>
                  <a:lnTo>
                    <a:pt x="0" y="1566132"/>
                  </a:lnTo>
                  <a:lnTo>
                    <a:pt x="0" y="1083928"/>
                  </a:lnTo>
                  <a:cubicBezTo>
                    <a:pt x="0" y="852985"/>
                    <a:pt x="145111" y="652003"/>
                    <a:pt x="359081" y="577358"/>
                  </a:cubicBezTo>
                  <a:cubicBezTo>
                    <a:pt x="273827" y="519043"/>
                    <a:pt x="221171" y="421703"/>
                    <a:pt x="221171" y="316325"/>
                  </a:cubicBezTo>
                  <a:cubicBezTo>
                    <a:pt x="221171" y="141896"/>
                    <a:pt x="363067" y="0"/>
                    <a:pt x="537496" y="0"/>
                  </a:cubicBezTo>
                  <a:cubicBezTo>
                    <a:pt x="711925" y="0"/>
                    <a:pt x="853821" y="141896"/>
                    <a:pt x="853821" y="316325"/>
                  </a:cubicBezTo>
                  <a:cubicBezTo>
                    <a:pt x="853821" y="343457"/>
                    <a:pt x="850478" y="370075"/>
                    <a:pt x="843727" y="395857"/>
                  </a:cubicBezTo>
                  <a:cubicBezTo>
                    <a:pt x="894583" y="382676"/>
                    <a:pt x="951933" y="382676"/>
                    <a:pt x="1002725" y="395857"/>
                  </a:cubicBezTo>
                  <a:cubicBezTo>
                    <a:pt x="996039" y="370075"/>
                    <a:pt x="992631" y="343457"/>
                    <a:pt x="992631" y="316325"/>
                  </a:cubicBezTo>
                  <a:cubicBezTo>
                    <a:pt x="992631" y="141896"/>
                    <a:pt x="1134592" y="0"/>
                    <a:pt x="1309021" y="0"/>
                  </a:cubicBezTo>
                  <a:cubicBezTo>
                    <a:pt x="1483450" y="0"/>
                    <a:pt x="1625410" y="141896"/>
                    <a:pt x="1625410" y="316325"/>
                  </a:cubicBezTo>
                  <a:cubicBezTo>
                    <a:pt x="1625410" y="421767"/>
                    <a:pt x="1572689" y="519108"/>
                    <a:pt x="1487436" y="577422"/>
                  </a:cubicBezTo>
                  <a:cubicBezTo>
                    <a:pt x="1701470" y="652067"/>
                    <a:pt x="1846581" y="853050"/>
                    <a:pt x="1846581" y="1083993"/>
                  </a:cubicBezTo>
                  <a:lnTo>
                    <a:pt x="1846581" y="1566132"/>
                  </a:lnTo>
                  <a:lnTo>
                    <a:pt x="1800225" y="1566132"/>
                  </a:lnTo>
                  <a:lnTo>
                    <a:pt x="1800225" y="1083928"/>
                  </a:lnTo>
                  <a:cubicBezTo>
                    <a:pt x="1800225" y="855557"/>
                    <a:pt x="1645020" y="659332"/>
                    <a:pt x="1422692" y="606612"/>
                  </a:cubicBezTo>
                  <a:cubicBezTo>
                    <a:pt x="1413048" y="604297"/>
                    <a:pt x="1405911" y="596132"/>
                    <a:pt x="1405011" y="586295"/>
                  </a:cubicBezTo>
                  <a:cubicBezTo>
                    <a:pt x="1404047" y="576393"/>
                    <a:pt x="1409576" y="567007"/>
                    <a:pt x="1418642" y="562956"/>
                  </a:cubicBezTo>
                  <a:cubicBezTo>
                    <a:pt x="1516111" y="519558"/>
                    <a:pt x="1579055" y="422731"/>
                    <a:pt x="1579055" y="316325"/>
                  </a:cubicBezTo>
                  <a:cubicBezTo>
                    <a:pt x="1579055" y="167421"/>
                    <a:pt x="1457925" y="46227"/>
                    <a:pt x="1309021" y="46227"/>
                  </a:cubicBezTo>
                  <a:cubicBezTo>
                    <a:pt x="1160116" y="46227"/>
                    <a:pt x="1038987" y="167357"/>
                    <a:pt x="1038987" y="316325"/>
                  </a:cubicBezTo>
                  <a:cubicBezTo>
                    <a:pt x="1038987" y="350787"/>
                    <a:pt x="1045352" y="384219"/>
                    <a:pt x="1057954" y="415852"/>
                  </a:cubicBezTo>
                  <a:cubicBezTo>
                    <a:pt x="1165260" y="466580"/>
                    <a:pt x="1239648" y="575815"/>
                    <a:pt x="1239648" y="702088"/>
                  </a:cubicBezTo>
                  <a:cubicBezTo>
                    <a:pt x="1239648" y="807530"/>
                    <a:pt x="1186927" y="904870"/>
                    <a:pt x="1101673" y="963185"/>
                  </a:cubicBezTo>
                  <a:cubicBezTo>
                    <a:pt x="1315707" y="1037830"/>
                    <a:pt x="1460818" y="1238812"/>
                    <a:pt x="1460818" y="1469755"/>
                  </a:cubicBezTo>
                  <a:lnTo>
                    <a:pt x="1460754" y="1951894"/>
                  </a:lnTo>
                  <a:lnTo>
                    <a:pt x="1460754" y="1951894"/>
                  </a:lnTo>
                  <a:close/>
                </a:path>
              </a:pathLst>
            </a:custGeom>
            <a:solidFill>
              <a:srgbClr val="0F62FE"/>
            </a:solidFill>
            <a:ln w="64294" cap="flat">
              <a:noFill/>
              <a:prstDash val="solid"/>
              <a:miter/>
            </a:ln>
          </p:spPr>
          <p:txBody>
            <a:bodyPr rtlCol="0" anchor="ctr"/>
            <a:lstStyle/>
            <a:p>
              <a:endParaRPr lang="en-US"/>
            </a:p>
          </p:txBody>
        </p:sp>
      </p:grpSp>
      <p:sp>
        <p:nvSpPr>
          <p:cNvPr id="63" name="Arc 62">
            <a:extLst>
              <a:ext uri="{FF2B5EF4-FFF2-40B4-BE49-F238E27FC236}">
                <a16:creationId xmlns:a16="http://schemas.microsoft.com/office/drawing/2014/main" id="{FC4C7D2D-6771-2789-F5C4-C713C921A1FB}"/>
              </a:ext>
            </a:extLst>
          </p:cNvPr>
          <p:cNvSpPr/>
          <p:nvPr/>
        </p:nvSpPr>
        <p:spPr bwMode="auto">
          <a:xfrm rot="18900000">
            <a:off x="18440019" y="7338215"/>
            <a:ext cx="6812678" cy="6812679"/>
          </a:xfrm>
          <a:prstGeom prst="arc">
            <a:avLst/>
          </a:prstGeom>
          <a:ln w="50800" cap="rnd">
            <a:solidFill>
              <a:srgbClr val="DA1E28"/>
            </a:solidFill>
            <a:prstDash val="sysDot"/>
            <a:headEnd type="none" w="med" len="med"/>
            <a:tailEnd type="arrow"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0" name="Arc 69">
            <a:extLst>
              <a:ext uri="{FF2B5EF4-FFF2-40B4-BE49-F238E27FC236}">
                <a16:creationId xmlns:a16="http://schemas.microsoft.com/office/drawing/2014/main" id="{B8F9E183-6362-6BF5-7C1C-75D11D3B619B}"/>
              </a:ext>
            </a:extLst>
          </p:cNvPr>
          <p:cNvSpPr/>
          <p:nvPr/>
        </p:nvSpPr>
        <p:spPr bwMode="auto">
          <a:xfrm rot="8100000">
            <a:off x="13575388" y="2556842"/>
            <a:ext cx="6812678" cy="6812679"/>
          </a:xfrm>
          <a:prstGeom prst="arc">
            <a:avLst/>
          </a:prstGeom>
          <a:ln w="50800" cap="rnd">
            <a:solidFill>
              <a:srgbClr val="FA4D56"/>
            </a:solidFill>
            <a:prstDash val="sysDot"/>
            <a:headEnd type="arrow" w="med" len="med"/>
            <a:tailEnd type="none"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Text Placeholder 1">
            <a:extLst>
              <a:ext uri="{FF2B5EF4-FFF2-40B4-BE49-F238E27FC236}">
                <a16:creationId xmlns:a16="http://schemas.microsoft.com/office/drawing/2014/main" id="{22E63849-2D25-6D6C-CF2E-C1B0C412A7F1}"/>
              </a:ext>
            </a:extLst>
          </p:cNvPr>
          <p:cNvSpPr txBox="1">
            <a:spLocks/>
          </p:cNvSpPr>
          <p:nvPr/>
        </p:nvSpPr>
        <p:spPr>
          <a:xfrm>
            <a:off x="5306981" y="4743340"/>
            <a:ext cx="4873752" cy="39540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1200"/>
              </a:spcBef>
            </a:pPr>
            <a:r>
              <a:rPr lang="en-US" sz="2400" i="1" kern="0" dirty="0">
                <a:latin typeface="+mn-lt"/>
              </a:rPr>
              <a:t>Task is very manual </a:t>
            </a:r>
            <a:br>
              <a:rPr lang="en-US" sz="2400" i="1" kern="0" dirty="0">
                <a:latin typeface="+mn-lt"/>
              </a:rPr>
            </a:br>
            <a:r>
              <a:rPr lang="en-US" sz="2400" i="1" kern="0" dirty="0">
                <a:latin typeface="+mn-lt"/>
              </a:rPr>
              <a:t>and has not been automated yet…</a:t>
            </a:r>
            <a:endParaRPr lang="en-US" sz="2400" i="1" kern="0" baseline="30000" dirty="0">
              <a:latin typeface="+mn-lt"/>
            </a:endParaRPr>
          </a:p>
          <a:p>
            <a:pPr marL="342900" indent="-342900">
              <a:spcBef>
                <a:spcPts val="1200"/>
              </a:spcBef>
              <a:buFont typeface="Arial" panose="020B0604020202020204" pitchFamily="34" charset="0"/>
              <a:buChar char="•"/>
            </a:pPr>
            <a:r>
              <a:rPr lang="en-US" sz="2400" dirty="0">
                <a:solidFill>
                  <a:schemeClr val="tx1"/>
                </a:solidFill>
                <a:latin typeface="+mn-lt"/>
              </a:rPr>
              <a:t>navigating from one app </a:t>
            </a:r>
            <a:br>
              <a:rPr lang="en-US" sz="2400" dirty="0">
                <a:solidFill>
                  <a:schemeClr val="tx1"/>
                </a:solidFill>
                <a:latin typeface="+mn-lt"/>
              </a:rPr>
            </a:br>
            <a:r>
              <a:rPr lang="en-US" sz="2400" dirty="0">
                <a:solidFill>
                  <a:schemeClr val="tx1"/>
                </a:solidFill>
                <a:latin typeface="+mn-lt"/>
              </a:rPr>
              <a:t>to the other</a:t>
            </a:r>
          </a:p>
          <a:p>
            <a:pPr marL="342900" indent="-342900">
              <a:spcBef>
                <a:spcPts val="1200"/>
              </a:spcBef>
              <a:buFont typeface="Arial" panose="020B0604020202020204" pitchFamily="34" charset="0"/>
              <a:buChar char="•"/>
            </a:pPr>
            <a:r>
              <a:rPr lang="en-US" sz="2400" dirty="0">
                <a:solidFill>
                  <a:schemeClr val="tx1"/>
                </a:solidFill>
                <a:latin typeface="+mn-lt"/>
              </a:rPr>
              <a:t>manipulating data </a:t>
            </a:r>
            <a:br>
              <a:rPr lang="en-US" sz="2400" dirty="0">
                <a:solidFill>
                  <a:schemeClr val="tx1"/>
                </a:solidFill>
                <a:latin typeface="+mn-lt"/>
              </a:rPr>
            </a:br>
            <a:r>
              <a:rPr lang="en-US" sz="2400" dirty="0">
                <a:solidFill>
                  <a:schemeClr val="tx1"/>
                </a:solidFill>
                <a:latin typeface="+mn-lt"/>
              </a:rPr>
              <a:t>from one tool to the other</a:t>
            </a:r>
          </a:p>
          <a:p>
            <a:pPr marL="342900" indent="-342900">
              <a:spcBef>
                <a:spcPts val="1200"/>
              </a:spcBef>
              <a:buFont typeface="Arial" panose="020B0604020202020204" pitchFamily="34" charset="0"/>
              <a:buChar char="•"/>
            </a:pPr>
            <a:r>
              <a:rPr lang="en-US" sz="2400" dirty="0">
                <a:solidFill>
                  <a:schemeClr val="tx1"/>
                </a:solidFill>
                <a:latin typeface="+mn-lt"/>
              </a:rPr>
              <a:t>reconcile data</a:t>
            </a:r>
            <a:endParaRPr lang="en-US" sz="2400" kern="0" baseline="30000" dirty="0">
              <a:latin typeface="+mn-lt"/>
            </a:endParaRPr>
          </a:p>
        </p:txBody>
      </p:sp>
      <p:sp>
        <p:nvSpPr>
          <p:cNvPr id="53" name="Text Placeholder 1">
            <a:extLst>
              <a:ext uri="{FF2B5EF4-FFF2-40B4-BE49-F238E27FC236}">
                <a16:creationId xmlns:a16="http://schemas.microsoft.com/office/drawing/2014/main" id="{32E5E499-2E3E-EAE1-F7AA-F7AD7894F56C}"/>
              </a:ext>
            </a:extLst>
          </p:cNvPr>
          <p:cNvSpPr txBox="1">
            <a:spLocks/>
          </p:cNvSpPr>
          <p:nvPr/>
        </p:nvSpPr>
        <p:spPr>
          <a:xfrm>
            <a:off x="15063693" y="4743340"/>
            <a:ext cx="4873752" cy="39540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1200"/>
              </a:spcBef>
            </a:pPr>
            <a:r>
              <a:rPr lang="en-US" sz="2400" i="1" kern="0" dirty="0">
                <a:latin typeface="+mn-lt"/>
              </a:rPr>
              <a:t>Employees are not experts </a:t>
            </a:r>
            <a:br>
              <a:rPr lang="en-US" sz="2400" i="1" kern="0" dirty="0">
                <a:latin typeface="+mn-lt"/>
              </a:rPr>
            </a:br>
            <a:r>
              <a:rPr lang="en-US" sz="2400" i="1" kern="0" dirty="0">
                <a:latin typeface="+mn-lt"/>
              </a:rPr>
              <a:t>in the process…</a:t>
            </a:r>
            <a:endParaRPr lang="en-US" sz="2400" i="1" dirty="0">
              <a:solidFill>
                <a:schemeClr val="tx1"/>
              </a:solidFill>
              <a:latin typeface="+mn-lt"/>
            </a:endParaRPr>
          </a:p>
          <a:p>
            <a:pPr marL="342900" indent="-342900">
              <a:spcBef>
                <a:spcPts val="1200"/>
              </a:spcBef>
              <a:buFont typeface="Arial" panose="020B0604020202020204" pitchFamily="34" charset="0"/>
              <a:buChar char="•"/>
            </a:pPr>
            <a:r>
              <a:rPr lang="en-US" sz="2400" dirty="0">
                <a:solidFill>
                  <a:schemeClr val="tx1"/>
                </a:solidFill>
                <a:latin typeface="+mn-lt"/>
              </a:rPr>
              <a:t>handling exceptions</a:t>
            </a:r>
          </a:p>
          <a:p>
            <a:pPr marL="342900" indent="-342900">
              <a:spcBef>
                <a:spcPts val="1200"/>
              </a:spcBef>
              <a:buFont typeface="Arial" panose="020B0604020202020204" pitchFamily="34" charset="0"/>
              <a:buChar char="•"/>
            </a:pPr>
            <a:r>
              <a:rPr lang="en-US" sz="2400" dirty="0">
                <a:solidFill>
                  <a:schemeClr val="tx1"/>
                </a:solidFill>
                <a:latin typeface="+mn-lt"/>
              </a:rPr>
              <a:t>chasing down approvals</a:t>
            </a:r>
            <a:endParaRPr lang="en-US" sz="2400" kern="0" baseline="30000" dirty="0">
              <a:latin typeface="+mn-lt"/>
            </a:endParaRPr>
          </a:p>
        </p:txBody>
      </p:sp>
      <p:sp>
        <p:nvSpPr>
          <p:cNvPr id="54" name="Text Placeholder 1">
            <a:extLst>
              <a:ext uri="{FF2B5EF4-FFF2-40B4-BE49-F238E27FC236}">
                <a16:creationId xmlns:a16="http://schemas.microsoft.com/office/drawing/2014/main" id="{F20CAD20-23EB-BB96-3D54-D5D2305BC161}"/>
              </a:ext>
            </a:extLst>
          </p:cNvPr>
          <p:cNvSpPr txBox="1">
            <a:spLocks/>
          </p:cNvSpPr>
          <p:nvPr/>
        </p:nvSpPr>
        <p:spPr>
          <a:xfrm>
            <a:off x="19942048" y="9706273"/>
            <a:ext cx="4873752" cy="39540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1200"/>
              </a:spcBef>
            </a:pPr>
            <a:r>
              <a:rPr lang="en-US" sz="2400" i="1" kern="0" dirty="0">
                <a:latin typeface="+mn-lt"/>
              </a:rPr>
              <a:t>Non-job related tasks await…</a:t>
            </a:r>
            <a:endParaRPr lang="en-US" sz="2400" i="1" dirty="0">
              <a:solidFill>
                <a:schemeClr val="tx1"/>
              </a:solidFill>
              <a:latin typeface="+mn-lt"/>
            </a:endParaRPr>
          </a:p>
          <a:p>
            <a:pPr marL="342900" indent="-342900">
              <a:spcBef>
                <a:spcPts val="1200"/>
              </a:spcBef>
              <a:buFont typeface="Arial" panose="020B0604020202020204" pitchFamily="34" charset="0"/>
              <a:buChar char="•"/>
            </a:pPr>
            <a:r>
              <a:rPr lang="en-US" sz="2400" dirty="0">
                <a:solidFill>
                  <a:schemeClr val="tx1"/>
                </a:solidFill>
                <a:latin typeface="+mn-lt"/>
              </a:rPr>
              <a:t>don’t know what tool to use</a:t>
            </a:r>
          </a:p>
          <a:p>
            <a:pPr marL="342900" indent="-342900">
              <a:spcBef>
                <a:spcPts val="1200"/>
              </a:spcBef>
              <a:buFont typeface="Arial" panose="020B0604020202020204" pitchFamily="34" charset="0"/>
              <a:buChar char="•"/>
            </a:pPr>
            <a:r>
              <a:rPr lang="en-US" sz="2400" dirty="0">
                <a:solidFill>
                  <a:schemeClr val="tx1"/>
                </a:solidFill>
                <a:latin typeface="+mn-lt"/>
              </a:rPr>
              <a:t>don’t know the process</a:t>
            </a:r>
          </a:p>
          <a:p>
            <a:pPr marL="342900" indent="-342900">
              <a:spcBef>
                <a:spcPts val="1200"/>
              </a:spcBef>
              <a:buFont typeface="Arial" panose="020B0604020202020204" pitchFamily="34" charset="0"/>
              <a:buChar char="•"/>
            </a:pPr>
            <a:r>
              <a:rPr lang="en-US" sz="2400" dirty="0">
                <a:solidFill>
                  <a:schemeClr val="tx1"/>
                </a:solidFill>
                <a:latin typeface="+mn-lt"/>
              </a:rPr>
              <a:t>get stuck and spend </a:t>
            </a:r>
            <a:br>
              <a:rPr lang="en-US" sz="2400" dirty="0">
                <a:solidFill>
                  <a:schemeClr val="tx1"/>
                </a:solidFill>
                <a:latin typeface="+mn-lt"/>
              </a:rPr>
            </a:br>
            <a:r>
              <a:rPr lang="en-US" sz="2400" dirty="0">
                <a:solidFill>
                  <a:schemeClr val="tx1"/>
                </a:solidFill>
                <a:latin typeface="+mn-lt"/>
              </a:rPr>
              <a:t>a lot of time on it</a:t>
            </a:r>
          </a:p>
        </p:txBody>
      </p:sp>
      <p:sp>
        <p:nvSpPr>
          <p:cNvPr id="55" name="Text Placeholder 1">
            <a:extLst>
              <a:ext uri="{FF2B5EF4-FFF2-40B4-BE49-F238E27FC236}">
                <a16:creationId xmlns:a16="http://schemas.microsoft.com/office/drawing/2014/main" id="{685C214D-9094-AF00-C9F2-4C48769FA44A}"/>
              </a:ext>
            </a:extLst>
          </p:cNvPr>
          <p:cNvSpPr txBox="1">
            <a:spLocks/>
          </p:cNvSpPr>
          <p:nvPr/>
        </p:nvSpPr>
        <p:spPr>
          <a:xfrm>
            <a:off x="10185337" y="9706273"/>
            <a:ext cx="4873752" cy="39540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1200"/>
              </a:spcBef>
            </a:pPr>
            <a:r>
              <a:rPr lang="en-US" sz="2400" i="1" kern="0" dirty="0">
                <a:solidFill>
                  <a:schemeClr val="tx1"/>
                </a:solidFill>
                <a:latin typeface="+mn-lt"/>
              </a:rPr>
              <a:t>Logistical delays…</a:t>
            </a:r>
            <a:endParaRPr lang="en-US" sz="2400" i="1" dirty="0">
              <a:solidFill>
                <a:schemeClr val="tx1"/>
              </a:solidFill>
              <a:latin typeface="+mn-lt"/>
            </a:endParaRPr>
          </a:p>
          <a:p>
            <a:pPr marL="342900" indent="-342900">
              <a:spcBef>
                <a:spcPts val="1200"/>
              </a:spcBef>
              <a:buFont typeface="Arial" panose="020B0604020202020204" pitchFamily="34" charset="0"/>
              <a:buChar char="•"/>
            </a:pPr>
            <a:r>
              <a:rPr lang="en-US" sz="2400" dirty="0">
                <a:latin typeface="+mn-lt"/>
              </a:rPr>
              <a:t>s</a:t>
            </a:r>
            <a:r>
              <a:rPr lang="en-US" sz="2400" dirty="0">
                <a:solidFill>
                  <a:schemeClr val="tx1"/>
                </a:solidFill>
                <a:latin typeface="+mn-lt"/>
              </a:rPr>
              <a:t>truggle to learn the tool</a:t>
            </a:r>
          </a:p>
          <a:p>
            <a:pPr marL="342900" indent="-342900">
              <a:spcBef>
                <a:spcPts val="1200"/>
              </a:spcBef>
              <a:buFont typeface="Arial" panose="020B0604020202020204" pitchFamily="34" charset="0"/>
              <a:buChar char="•"/>
            </a:pPr>
            <a:r>
              <a:rPr lang="en-US" sz="2400" dirty="0">
                <a:solidFill>
                  <a:schemeClr val="tx1"/>
                </a:solidFill>
                <a:latin typeface="+mn-lt"/>
              </a:rPr>
              <a:t>hard to get tool to work </a:t>
            </a:r>
            <a:br>
              <a:rPr lang="en-US" sz="2400" dirty="0">
                <a:solidFill>
                  <a:schemeClr val="tx1"/>
                </a:solidFill>
                <a:latin typeface="+mn-lt"/>
              </a:rPr>
            </a:br>
            <a:r>
              <a:rPr lang="en-US" sz="2400" dirty="0">
                <a:solidFill>
                  <a:schemeClr val="tx1"/>
                </a:solidFill>
                <a:latin typeface="+mn-lt"/>
              </a:rPr>
              <a:t>as expected</a:t>
            </a:r>
          </a:p>
          <a:p>
            <a:pPr marL="342900" indent="-342900">
              <a:spcBef>
                <a:spcPts val="1200"/>
              </a:spcBef>
              <a:buFont typeface="Arial" panose="020B0604020202020204" pitchFamily="34" charset="0"/>
              <a:buChar char="•"/>
            </a:pPr>
            <a:r>
              <a:rPr lang="en-US" sz="2400" dirty="0">
                <a:solidFill>
                  <a:schemeClr val="tx1"/>
                </a:solidFill>
                <a:latin typeface="+mn-lt"/>
              </a:rPr>
              <a:t>runs into issues</a:t>
            </a:r>
          </a:p>
          <a:p>
            <a:pPr marL="342900" indent="-342900">
              <a:spcBef>
                <a:spcPts val="1200"/>
              </a:spcBef>
              <a:buFont typeface="Arial" panose="020B0604020202020204" pitchFamily="34" charset="0"/>
              <a:buChar char="•"/>
            </a:pPr>
            <a:r>
              <a:rPr lang="en-US" sz="2400" dirty="0">
                <a:solidFill>
                  <a:schemeClr val="tx1"/>
                </a:solidFill>
                <a:latin typeface="+mn-lt"/>
              </a:rPr>
              <a:t>chases experts</a:t>
            </a:r>
          </a:p>
        </p:txBody>
      </p:sp>
      <p:sp>
        <p:nvSpPr>
          <p:cNvPr id="21" name="Arc 20">
            <a:extLst>
              <a:ext uri="{FF2B5EF4-FFF2-40B4-BE49-F238E27FC236}">
                <a16:creationId xmlns:a16="http://schemas.microsoft.com/office/drawing/2014/main" id="{5546454A-0A79-9A8C-2188-57628980912E}"/>
              </a:ext>
            </a:extLst>
          </p:cNvPr>
          <p:cNvSpPr/>
          <p:nvPr/>
        </p:nvSpPr>
        <p:spPr bwMode="auto">
          <a:xfrm rot="18900000">
            <a:off x="8730098" y="7338215"/>
            <a:ext cx="6812678" cy="6812679"/>
          </a:xfrm>
          <a:prstGeom prst="arc">
            <a:avLst/>
          </a:prstGeom>
          <a:ln w="50800" cap="rnd">
            <a:solidFill>
              <a:srgbClr val="FFB3B8"/>
            </a:solidFill>
            <a:prstDash val="sysDot"/>
            <a:headEnd type="none" w="med" len="med"/>
            <a:tailEnd type="arrow"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1" name="Arc 70">
            <a:extLst>
              <a:ext uri="{FF2B5EF4-FFF2-40B4-BE49-F238E27FC236}">
                <a16:creationId xmlns:a16="http://schemas.microsoft.com/office/drawing/2014/main" id="{2A23F422-6CED-D8FF-EDE8-A31D66BBC6F1}"/>
              </a:ext>
            </a:extLst>
          </p:cNvPr>
          <p:cNvSpPr/>
          <p:nvPr/>
        </p:nvSpPr>
        <p:spPr bwMode="auto">
          <a:xfrm rot="8100000">
            <a:off x="3865467" y="2556842"/>
            <a:ext cx="6812678" cy="6812679"/>
          </a:xfrm>
          <a:prstGeom prst="arc">
            <a:avLst/>
          </a:prstGeom>
          <a:ln w="50800" cap="rnd">
            <a:solidFill>
              <a:srgbClr val="C6C6C6"/>
            </a:solidFill>
            <a:prstDash val="sysDot"/>
            <a:headEnd type="arrow" w="med" len="med"/>
            <a:tailEnd type="none"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5" name="Text Placeholder 1">
            <a:extLst>
              <a:ext uri="{FF2B5EF4-FFF2-40B4-BE49-F238E27FC236}">
                <a16:creationId xmlns:a16="http://schemas.microsoft.com/office/drawing/2014/main" id="{DF60CC80-698D-CFD9-56C1-BAE6BA3CF8DC}"/>
              </a:ext>
            </a:extLst>
          </p:cNvPr>
          <p:cNvSpPr txBox="1">
            <a:spLocks/>
          </p:cNvSpPr>
          <p:nvPr/>
        </p:nvSpPr>
        <p:spPr>
          <a:xfrm>
            <a:off x="-10360" y="9791333"/>
            <a:ext cx="4873752" cy="16124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400" i="1" kern="0" dirty="0">
                <a:solidFill>
                  <a:schemeClr val="accent1"/>
                </a:solidFill>
                <a:latin typeface="+mn-lt"/>
              </a:rPr>
              <a:t>Employees’ journey</a:t>
            </a:r>
            <a:endParaRPr lang="en-US" sz="2400" i="1" dirty="0">
              <a:solidFill>
                <a:schemeClr val="accent1"/>
              </a:solidFill>
              <a:latin typeface="+mn-lt"/>
            </a:endParaRPr>
          </a:p>
        </p:txBody>
      </p:sp>
      <p:pic>
        <p:nvPicPr>
          <p:cNvPr id="87" name="Graphic 86">
            <a:extLst>
              <a:ext uri="{FF2B5EF4-FFF2-40B4-BE49-F238E27FC236}">
                <a16:creationId xmlns:a16="http://schemas.microsoft.com/office/drawing/2014/main" id="{4055CCEA-D1FB-790F-BBE1-91A8A0CDC0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679237" y="3175423"/>
            <a:ext cx="914400" cy="914400"/>
          </a:xfrm>
          <a:prstGeom prst="rect">
            <a:avLst/>
          </a:prstGeom>
        </p:spPr>
      </p:pic>
      <p:pic>
        <p:nvPicPr>
          <p:cNvPr id="89" name="Graphic 88">
            <a:extLst>
              <a:ext uri="{FF2B5EF4-FFF2-40B4-BE49-F238E27FC236}">
                <a16:creationId xmlns:a16="http://schemas.microsoft.com/office/drawing/2014/main" id="{89C5CD80-9751-7B6F-BA9C-932406C03E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14606" y="3175423"/>
            <a:ext cx="914400" cy="914400"/>
          </a:xfrm>
          <a:prstGeom prst="rect">
            <a:avLst/>
          </a:prstGeom>
        </p:spPr>
      </p:pic>
      <p:pic>
        <p:nvPicPr>
          <p:cNvPr id="91" name="Graphic 90">
            <a:extLst>
              <a:ext uri="{FF2B5EF4-FFF2-40B4-BE49-F238E27FC236}">
                <a16:creationId xmlns:a16="http://schemas.microsoft.com/office/drawing/2014/main" id="{D9FC5ED4-8E5E-82BD-8140-33E55C38AEE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21976" y="3175423"/>
            <a:ext cx="914400" cy="914400"/>
          </a:xfrm>
          <a:prstGeom prst="rect">
            <a:avLst/>
          </a:prstGeom>
        </p:spPr>
      </p:pic>
      <p:pic>
        <p:nvPicPr>
          <p:cNvPr id="93" name="Graphic 92">
            <a:extLst>
              <a:ext uri="{FF2B5EF4-FFF2-40B4-BE49-F238E27FC236}">
                <a16:creationId xmlns:a16="http://schemas.microsoft.com/office/drawing/2014/main" id="{F5453F72-E9DE-A0D2-49AD-49EA717A151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524527" y="3175423"/>
            <a:ext cx="914400" cy="914400"/>
          </a:xfrm>
          <a:prstGeom prst="rect">
            <a:avLst/>
          </a:prstGeom>
        </p:spPr>
      </p:pic>
      <p:sp>
        <p:nvSpPr>
          <p:cNvPr id="96" name="Text Placeholder 1">
            <a:extLst>
              <a:ext uri="{FF2B5EF4-FFF2-40B4-BE49-F238E27FC236}">
                <a16:creationId xmlns:a16="http://schemas.microsoft.com/office/drawing/2014/main" id="{0A8CD3F5-1808-9FCC-CFB4-9705B355C263}"/>
              </a:ext>
            </a:extLst>
          </p:cNvPr>
          <p:cNvSpPr txBox="1">
            <a:spLocks/>
          </p:cNvSpPr>
          <p:nvPr/>
        </p:nvSpPr>
        <p:spPr>
          <a:xfrm>
            <a:off x="21004698" y="2958463"/>
            <a:ext cx="1683320" cy="16839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7800" kern="0" dirty="0">
                <a:latin typeface="+mn-lt"/>
              </a:rPr>
              <a:t>😭</a:t>
            </a:r>
            <a:endParaRPr lang="en-US" sz="7800" dirty="0">
              <a:solidFill>
                <a:schemeClr val="tx1"/>
              </a:solidFill>
              <a:latin typeface="+mn-lt"/>
            </a:endParaRPr>
          </a:p>
        </p:txBody>
      </p:sp>
      <p:grpSp>
        <p:nvGrpSpPr>
          <p:cNvPr id="108" name="Group 107">
            <a:extLst>
              <a:ext uri="{FF2B5EF4-FFF2-40B4-BE49-F238E27FC236}">
                <a16:creationId xmlns:a16="http://schemas.microsoft.com/office/drawing/2014/main" id="{A9CA86EB-0372-E0F7-19A8-FABCB27C12EC}"/>
              </a:ext>
            </a:extLst>
          </p:cNvPr>
          <p:cNvGrpSpPr/>
          <p:nvPr/>
        </p:nvGrpSpPr>
        <p:grpSpPr>
          <a:xfrm>
            <a:off x="15799246" y="8037273"/>
            <a:ext cx="2364962" cy="2743200"/>
            <a:chOff x="15799246" y="7994743"/>
            <a:chExt cx="2364962" cy="2743200"/>
          </a:xfrm>
        </p:grpSpPr>
        <p:sp>
          <p:nvSpPr>
            <p:cNvPr id="107" name="Hexagon 106">
              <a:extLst>
                <a:ext uri="{FF2B5EF4-FFF2-40B4-BE49-F238E27FC236}">
                  <a16:creationId xmlns:a16="http://schemas.microsoft.com/office/drawing/2014/main" id="{0AB99657-4199-8FF2-39CC-CA5617421AA1}"/>
                </a:ext>
              </a:extLst>
            </p:cNvPr>
            <p:cNvSpPr>
              <a:spLocks noChangeAspect="1"/>
            </p:cNvSpPr>
            <p:nvPr/>
          </p:nvSpPr>
          <p:spPr bwMode="auto">
            <a:xfrm rot="16200000">
              <a:off x="15610127" y="8183862"/>
              <a:ext cx="2743200" cy="2364962"/>
            </a:xfrm>
            <a:prstGeom prst="hexagon">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77" name="Hexagon 76">
              <a:extLst>
                <a:ext uri="{FF2B5EF4-FFF2-40B4-BE49-F238E27FC236}">
                  <a16:creationId xmlns:a16="http://schemas.microsoft.com/office/drawing/2014/main" id="{6D03F389-64F6-5E32-C96C-F5EF8B16FEC3}"/>
                </a:ext>
              </a:extLst>
            </p:cNvPr>
            <p:cNvSpPr>
              <a:spLocks noChangeAspect="1"/>
            </p:cNvSpPr>
            <p:nvPr/>
          </p:nvSpPr>
          <p:spPr bwMode="auto">
            <a:xfrm rot="16200000">
              <a:off x="15610127" y="8183862"/>
              <a:ext cx="2743200" cy="2364962"/>
            </a:xfrm>
            <a:prstGeom prst="hexagon">
              <a:avLst/>
            </a:prstGeom>
            <a:solidFill>
              <a:srgbClr val="FA4D56">
                <a:alpha val="50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pic>
          <p:nvPicPr>
            <p:cNvPr id="102" name="Graphic 101">
              <a:extLst>
                <a:ext uri="{FF2B5EF4-FFF2-40B4-BE49-F238E27FC236}">
                  <a16:creationId xmlns:a16="http://schemas.microsoft.com/office/drawing/2014/main" id="{45412B84-A79C-80AE-0F78-3D86A77AC55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6382795" y="8767410"/>
              <a:ext cx="1197864" cy="1197864"/>
            </a:xfrm>
            <a:prstGeom prst="rect">
              <a:avLst/>
            </a:prstGeom>
          </p:spPr>
        </p:pic>
      </p:grpSp>
      <p:grpSp>
        <p:nvGrpSpPr>
          <p:cNvPr id="134" name="Group 133">
            <a:extLst>
              <a:ext uri="{FF2B5EF4-FFF2-40B4-BE49-F238E27FC236}">
                <a16:creationId xmlns:a16="http://schemas.microsoft.com/office/drawing/2014/main" id="{9152A900-BEB0-2BE7-B6D5-3E02E0BEA70F}"/>
              </a:ext>
            </a:extLst>
          </p:cNvPr>
          <p:cNvGrpSpPr/>
          <p:nvPr/>
        </p:nvGrpSpPr>
        <p:grpSpPr>
          <a:xfrm>
            <a:off x="20663877" y="5927263"/>
            <a:ext cx="2364962" cy="2743200"/>
            <a:chOff x="20663877" y="5587023"/>
            <a:chExt cx="2364962" cy="2743200"/>
          </a:xfrm>
        </p:grpSpPr>
        <p:grpSp>
          <p:nvGrpSpPr>
            <p:cNvPr id="109" name="Group 108">
              <a:extLst>
                <a:ext uri="{FF2B5EF4-FFF2-40B4-BE49-F238E27FC236}">
                  <a16:creationId xmlns:a16="http://schemas.microsoft.com/office/drawing/2014/main" id="{13038E01-2645-9A07-4E49-0F9326C77F6E}"/>
                </a:ext>
              </a:extLst>
            </p:cNvPr>
            <p:cNvGrpSpPr/>
            <p:nvPr/>
          </p:nvGrpSpPr>
          <p:grpSpPr>
            <a:xfrm>
              <a:off x="20663877" y="5587023"/>
              <a:ext cx="2364962" cy="2743200"/>
              <a:chOff x="10953956" y="5587023"/>
              <a:chExt cx="2364962" cy="2743200"/>
            </a:xfrm>
          </p:grpSpPr>
          <p:sp>
            <p:nvSpPr>
              <p:cNvPr id="110" name="Hexagon 109">
                <a:extLst>
                  <a:ext uri="{FF2B5EF4-FFF2-40B4-BE49-F238E27FC236}">
                    <a16:creationId xmlns:a16="http://schemas.microsoft.com/office/drawing/2014/main" id="{1E80BC6B-A6C0-8F19-99C0-026F84E68B3E}"/>
                  </a:ext>
                </a:extLst>
              </p:cNvPr>
              <p:cNvSpPr>
                <a:spLocks noChangeAspect="1"/>
              </p:cNvSpPr>
              <p:nvPr/>
            </p:nvSpPr>
            <p:spPr bwMode="auto">
              <a:xfrm rot="16200000">
                <a:off x="10764837" y="5776142"/>
                <a:ext cx="2743200" cy="2364962"/>
              </a:xfrm>
              <a:prstGeom prst="hexagon">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111" name="Hexagon 110">
                <a:extLst>
                  <a:ext uri="{FF2B5EF4-FFF2-40B4-BE49-F238E27FC236}">
                    <a16:creationId xmlns:a16="http://schemas.microsoft.com/office/drawing/2014/main" id="{5C42E2D2-D471-21E1-89E8-70C65D2806A9}"/>
                  </a:ext>
                </a:extLst>
              </p:cNvPr>
              <p:cNvSpPr>
                <a:spLocks noChangeAspect="1"/>
              </p:cNvSpPr>
              <p:nvPr/>
            </p:nvSpPr>
            <p:spPr bwMode="auto">
              <a:xfrm rot="16200000">
                <a:off x="10764837" y="5776142"/>
                <a:ext cx="2743200" cy="2364962"/>
              </a:xfrm>
              <a:prstGeom prst="hexagon">
                <a:avLst/>
              </a:prstGeom>
              <a:solidFill>
                <a:srgbClr val="FA4D56">
                  <a:alpha val="75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grpSp>
        <p:pic>
          <p:nvPicPr>
            <p:cNvPr id="117" name="Graphic 116">
              <a:extLst>
                <a:ext uri="{FF2B5EF4-FFF2-40B4-BE49-F238E27FC236}">
                  <a16:creationId xmlns:a16="http://schemas.microsoft.com/office/drawing/2014/main" id="{EF9138FE-F884-B14E-4FD9-B50055D9CB5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1247426" y="6359691"/>
              <a:ext cx="1197864" cy="1197864"/>
            </a:xfrm>
            <a:prstGeom prst="rect">
              <a:avLst/>
            </a:prstGeom>
          </p:spPr>
        </p:pic>
      </p:grpSp>
      <p:grpSp>
        <p:nvGrpSpPr>
          <p:cNvPr id="136" name="Group 135">
            <a:extLst>
              <a:ext uri="{FF2B5EF4-FFF2-40B4-BE49-F238E27FC236}">
                <a16:creationId xmlns:a16="http://schemas.microsoft.com/office/drawing/2014/main" id="{3DF80965-8B23-8A47-2133-219256A4763B}"/>
              </a:ext>
            </a:extLst>
          </p:cNvPr>
          <p:cNvGrpSpPr/>
          <p:nvPr/>
        </p:nvGrpSpPr>
        <p:grpSpPr>
          <a:xfrm>
            <a:off x="6089325" y="8037273"/>
            <a:ext cx="2364962" cy="2743200"/>
            <a:chOff x="6089325" y="7994743"/>
            <a:chExt cx="2364962" cy="2743200"/>
          </a:xfrm>
        </p:grpSpPr>
        <p:sp>
          <p:nvSpPr>
            <p:cNvPr id="74" name="Hexagon 73">
              <a:extLst>
                <a:ext uri="{FF2B5EF4-FFF2-40B4-BE49-F238E27FC236}">
                  <a16:creationId xmlns:a16="http://schemas.microsoft.com/office/drawing/2014/main" id="{0CAFED8B-7F60-2FCF-FA57-874F295DB910}"/>
                </a:ext>
              </a:extLst>
            </p:cNvPr>
            <p:cNvSpPr>
              <a:spLocks noChangeAspect="1"/>
            </p:cNvSpPr>
            <p:nvPr/>
          </p:nvSpPr>
          <p:spPr bwMode="auto">
            <a:xfrm rot="16200000">
              <a:off x="5900206" y="8183862"/>
              <a:ext cx="2743200" cy="2364962"/>
            </a:xfrm>
            <a:prstGeom prst="hexagon">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pic>
          <p:nvPicPr>
            <p:cNvPr id="121" name="Graphic 120">
              <a:extLst>
                <a:ext uri="{FF2B5EF4-FFF2-40B4-BE49-F238E27FC236}">
                  <a16:creationId xmlns:a16="http://schemas.microsoft.com/office/drawing/2014/main" id="{2B42C418-926C-FEC8-34EC-64BCF8F4C0B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72874" y="8767411"/>
              <a:ext cx="1197864" cy="1197864"/>
            </a:xfrm>
            <a:prstGeom prst="rect">
              <a:avLst/>
            </a:prstGeom>
          </p:spPr>
        </p:pic>
      </p:grpSp>
      <p:grpSp>
        <p:nvGrpSpPr>
          <p:cNvPr id="135" name="Group 134">
            <a:extLst>
              <a:ext uri="{FF2B5EF4-FFF2-40B4-BE49-F238E27FC236}">
                <a16:creationId xmlns:a16="http://schemas.microsoft.com/office/drawing/2014/main" id="{75D20C5D-60D6-FD93-A524-A2CF90525B78}"/>
              </a:ext>
            </a:extLst>
          </p:cNvPr>
          <p:cNvGrpSpPr/>
          <p:nvPr/>
        </p:nvGrpSpPr>
        <p:grpSpPr>
          <a:xfrm>
            <a:off x="10953956" y="5927263"/>
            <a:ext cx="2364962" cy="2743200"/>
            <a:chOff x="10953956" y="5587023"/>
            <a:chExt cx="2364962" cy="2743200"/>
          </a:xfrm>
        </p:grpSpPr>
        <p:grpSp>
          <p:nvGrpSpPr>
            <p:cNvPr id="106" name="Group 105">
              <a:extLst>
                <a:ext uri="{FF2B5EF4-FFF2-40B4-BE49-F238E27FC236}">
                  <a16:creationId xmlns:a16="http://schemas.microsoft.com/office/drawing/2014/main" id="{AD37B09E-7BC1-AEFE-55F1-1A1A02288BCA}"/>
                </a:ext>
              </a:extLst>
            </p:cNvPr>
            <p:cNvGrpSpPr/>
            <p:nvPr/>
          </p:nvGrpSpPr>
          <p:grpSpPr>
            <a:xfrm>
              <a:off x="10953956" y="5587023"/>
              <a:ext cx="2364962" cy="2743200"/>
              <a:chOff x="10953956" y="5587023"/>
              <a:chExt cx="2364962" cy="2743200"/>
            </a:xfrm>
          </p:grpSpPr>
          <p:sp>
            <p:nvSpPr>
              <p:cNvPr id="80" name="Hexagon 79">
                <a:extLst>
                  <a:ext uri="{FF2B5EF4-FFF2-40B4-BE49-F238E27FC236}">
                    <a16:creationId xmlns:a16="http://schemas.microsoft.com/office/drawing/2014/main" id="{4151D313-FD8E-D884-F1BB-62B2B40C33A8}"/>
                  </a:ext>
                </a:extLst>
              </p:cNvPr>
              <p:cNvSpPr>
                <a:spLocks noChangeAspect="1"/>
              </p:cNvSpPr>
              <p:nvPr/>
            </p:nvSpPr>
            <p:spPr bwMode="auto">
              <a:xfrm rot="16200000">
                <a:off x="10764837" y="5776142"/>
                <a:ext cx="2743200" cy="2364962"/>
              </a:xfrm>
              <a:prstGeom prst="hexagon">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105" name="Hexagon 104">
                <a:extLst>
                  <a:ext uri="{FF2B5EF4-FFF2-40B4-BE49-F238E27FC236}">
                    <a16:creationId xmlns:a16="http://schemas.microsoft.com/office/drawing/2014/main" id="{9E033783-BAAA-106F-F4B0-FDE5642915E4}"/>
                  </a:ext>
                </a:extLst>
              </p:cNvPr>
              <p:cNvSpPr>
                <a:spLocks noChangeAspect="1"/>
              </p:cNvSpPr>
              <p:nvPr/>
            </p:nvSpPr>
            <p:spPr bwMode="auto">
              <a:xfrm rot="16200000">
                <a:off x="10764837" y="5776142"/>
                <a:ext cx="2743200" cy="2364962"/>
              </a:xfrm>
              <a:prstGeom prst="hexagon">
                <a:avLst/>
              </a:prstGeom>
              <a:solidFill>
                <a:srgbClr val="FA4D56">
                  <a:alpha val="25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grpSp>
        <p:pic>
          <p:nvPicPr>
            <p:cNvPr id="125" name="Graphic 124">
              <a:extLst>
                <a:ext uri="{FF2B5EF4-FFF2-40B4-BE49-F238E27FC236}">
                  <a16:creationId xmlns:a16="http://schemas.microsoft.com/office/drawing/2014/main" id="{4F42E50A-6840-B557-96ED-1555748D185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1537505" y="6359691"/>
              <a:ext cx="1197864" cy="1197864"/>
            </a:xfrm>
            <a:prstGeom prst="rect">
              <a:avLst/>
            </a:prstGeom>
          </p:spPr>
        </p:pic>
      </p:grpSp>
      <p:sp>
        <p:nvSpPr>
          <p:cNvPr id="3" name="Title 2">
            <a:extLst>
              <a:ext uri="{FF2B5EF4-FFF2-40B4-BE49-F238E27FC236}">
                <a16:creationId xmlns:a16="http://schemas.microsoft.com/office/drawing/2014/main" id="{CEB130BF-6691-8205-1BE8-7B43FC516889}"/>
              </a:ext>
            </a:extLst>
          </p:cNvPr>
          <p:cNvSpPr>
            <a:spLocks noGrp="1"/>
          </p:cNvSpPr>
          <p:nvPr>
            <p:ph type="title"/>
          </p:nvPr>
        </p:nvSpPr>
        <p:spPr>
          <a:xfrm>
            <a:off x="576072" y="385200"/>
            <a:ext cx="23201248" cy="1527048"/>
          </a:xfrm>
        </p:spPr>
        <p:txBody>
          <a:bodyPr/>
          <a:lstStyle/>
          <a:p>
            <a:r>
              <a:rPr kumimoji="0" lang="en-US" u="none" strike="noStrike" kern="0" cap="none" spc="0" normalizeH="0" baseline="0" noProof="0" dirty="0">
                <a:ln>
                  <a:noFill/>
                </a:ln>
                <a:solidFill>
                  <a:srgbClr val="000000"/>
                </a:solidFill>
                <a:effectLst/>
                <a:uLnTx/>
                <a:uFillTx/>
                <a:latin typeface="+mn-lt"/>
                <a:ea typeface="+mn-ea"/>
                <a:cs typeface="Arial"/>
                <a:sym typeface="Arial"/>
              </a:rPr>
              <a:t>Employee productivity </a:t>
            </a:r>
            <a:r>
              <a:rPr kumimoji="0" lang="en-US" i="1" u="none" strike="noStrike" kern="0" cap="none" spc="0" normalizeH="0" baseline="0" noProof="0" dirty="0">
                <a:ln>
                  <a:noFill/>
                </a:ln>
                <a:solidFill>
                  <a:schemeClr val="accent1"/>
                </a:solidFill>
                <a:effectLst/>
                <a:uLnTx/>
                <a:uFillTx/>
                <a:latin typeface="+mn-lt"/>
                <a:cs typeface="Arial"/>
                <a:sym typeface="Arial"/>
              </a:rPr>
              <a:t>is hindered </a:t>
            </a:r>
            <a:r>
              <a:rPr kumimoji="0" lang="en-US" u="none" strike="noStrike" kern="0" cap="none" spc="0" normalizeH="0" baseline="0" noProof="0" dirty="0">
                <a:ln>
                  <a:noFill/>
                </a:ln>
                <a:solidFill>
                  <a:srgbClr val="000000"/>
                </a:solidFill>
                <a:effectLst/>
                <a:uLnTx/>
                <a:uFillTx/>
                <a:latin typeface="+mn-lt"/>
                <a:ea typeface="+mn-ea"/>
                <a:cs typeface="Arial"/>
                <a:sym typeface="Arial"/>
              </a:rPr>
              <a:t>by having siloed </a:t>
            </a:r>
            <a:br>
              <a:rPr kumimoji="0" lang="en-US" u="none" strike="noStrike" kern="0" cap="none" spc="0" normalizeH="0" baseline="0" noProof="0" dirty="0">
                <a:ln>
                  <a:noFill/>
                </a:ln>
                <a:solidFill>
                  <a:srgbClr val="000000"/>
                </a:solidFill>
                <a:effectLst/>
                <a:uLnTx/>
                <a:uFillTx/>
                <a:latin typeface="+mn-lt"/>
                <a:ea typeface="+mn-ea"/>
                <a:cs typeface="Arial"/>
                <a:sym typeface="Arial"/>
              </a:rPr>
            </a:br>
            <a:r>
              <a:rPr kumimoji="0" lang="en-US" u="none" strike="noStrike" kern="0" cap="none" spc="0" normalizeH="0" baseline="0" noProof="0" dirty="0">
                <a:ln>
                  <a:noFill/>
                </a:ln>
                <a:solidFill>
                  <a:srgbClr val="000000"/>
                </a:solidFill>
                <a:effectLst/>
                <a:uLnTx/>
                <a:uFillTx/>
                <a:latin typeface="+mn-lt"/>
                <a:ea typeface="+mn-ea"/>
                <a:cs typeface="Arial"/>
                <a:sym typeface="Arial"/>
              </a:rPr>
              <a:t>and disconnected tasks, systems, and processes</a:t>
            </a:r>
            <a:br>
              <a:rPr kumimoji="0" lang="en-US" u="none" strike="noStrike" kern="0" cap="none" spc="0" normalizeH="0" baseline="0" noProof="0" dirty="0">
                <a:ln>
                  <a:noFill/>
                </a:ln>
                <a:solidFill>
                  <a:schemeClr val="accent1"/>
                </a:solidFill>
                <a:effectLst/>
                <a:uLnTx/>
                <a:uFillTx/>
                <a:latin typeface="+mn-lt"/>
                <a:ea typeface="+mn-ea"/>
                <a:cs typeface="Arial"/>
                <a:sym typeface="Arial"/>
              </a:rPr>
            </a:br>
            <a:endParaRPr lang="en-US" dirty="0">
              <a:latin typeface="+mn-lt"/>
            </a:endParaRPr>
          </a:p>
        </p:txBody>
      </p:sp>
    </p:spTree>
    <p:extLst>
      <p:ext uri="{BB962C8B-B14F-4D97-AF65-F5344CB8AC3E}">
        <p14:creationId xmlns:p14="http://schemas.microsoft.com/office/powerpoint/2010/main" val="122428370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10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5"/>
                                        </p:tgtEl>
                                        <p:attrNameLst>
                                          <p:attrName>style.visibility</p:attrName>
                                        </p:attrNameLst>
                                      </p:cBhvr>
                                      <p:to>
                                        <p:strVal val="visible"/>
                                      </p:to>
                                    </p:set>
                                    <p:animEffect transition="in" filter="fade">
                                      <p:cBhvr>
                                        <p:cTn id="10" dur="500"/>
                                        <p:tgtEl>
                                          <p:spTgt spid="85"/>
                                        </p:tgtEl>
                                      </p:cBhvr>
                                    </p:animEffect>
                                  </p:childTnLst>
                                </p:cTn>
                              </p:par>
                              <p:par>
                                <p:cTn id="11" presetID="26" presetClass="entr" presetSubtype="0" fill="hold" nodeType="withEffect">
                                  <p:stCondLst>
                                    <p:cond delay="0"/>
                                  </p:stCondLst>
                                  <p:childTnLst>
                                    <p:set>
                                      <p:cBhvr>
                                        <p:cTn id="12" dur="1" fill="hold">
                                          <p:stCondLst>
                                            <p:cond delay="0"/>
                                          </p:stCondLst>
                                        </p:cTn>
                                        <p:tgtEl>
                                          <p:spTgt spid="91"/>
                                        </p:tgtEl>
                                        <p:attrNameLst>
                                          <p:attrName>style.visibility</p:attrName>
                                        </p:attrNameLst>
                                      </p:cBhvr>
                                      <p:to>
                                        <p:strVal val="visible"/>
                                      </p:to>
                                    </p:set>
                                    <p:animEffect transition="in" filter="wipe(down)">
                                      <p:cBhvr>
                                        <p:cTn id="13" dur="290">
                                          <p:stCondLst>
                                            <p:cond delay="0"/>
                                          </p:stCondLst>
                                        </p:cTn>
                                        <p:tgtEl>
                                          <p:spTgt spid="91"/>
                                        </p:tgtEl>
                                      </p:cBhvr>
                                    </p:animEffect>
                                    <p:anim calcmode="lin" valueType="num">
                                      <p:cBhvr>
                                        <p:cTn id="14" dur="911" tmFilter="0,0; 0.14,0.36; 0.43,0.73; 0.71,0.91; 1.0,1.0">
                                          <p:stCondLst>
                                            <p:cond delay="0"/>
                                          </p:stCondLst>
                                        </p:cTn>
                                        <p:tgtEl>
                                          <p:spTgt spid="91"/>
                                        </p:tgtEl>
                                        <p:attrNameLst>
                                          <p:attrName>ppt_x</p:attrName>
                                        </p:attrNameLst>
                                      </p:cBhvr>
                                      <p:tavLst>
                                        <p:tav tm="0">
                                          <p:val>
                                            <p:strVal val="#ppt_x-0.25"/>
                                          </p:val>
                                        </p:tav>
                                        <p:tav tm="100000">
                                          <p:val>
                                            <p:strVal val="#ppt_x"/>
                                          </p:val>
                                        </p:tav>
                                      </p:tavLst>
                                    </p:anim>
                                    <p:anim calcmode="lin" valueType="num">
                                      <p:cBhvr>
                                        <p:cTn id="15" dur="332" tmFilter="0.0,0.0; 0.25,0.07; 0.50,0.2; 0.75,0.467; 1.0,1.0">
                                          <p:stCondLst>
                                            <p:cond delay="0"/>
                                          </p:stCondLst>
                                        </p:cTn>
                                        <p:tgtEl>
                                          <p:spTgt spid="91"/>
                                        </p:tgtEl>
                                        <p:attrNameLst>
                                          <p:attrName>ppt_y</p:attrName>
                                        </p:attrNameLst>
                                      </p:cBhvr>
                                      <p:tavLst>
                                        <p:tav tm="0" fmla="#ppt_y-sin(pi*$)/3">
                                          <p:val>
                                            <p:fltVal val="0.5"/>
                                          </p:val>
                                        </p:tav>
                                        <p:tav tm="100000">
                                          <p:val>
                                            <p:fltVal val="1"/>
                                          </p:val>
                                        </p:tav>
                                      </p:tavLst>
                                    </p:anim>
                                    <p:anim calcmode="lin" valueType="num">
                                      <p:cBhvr>
                                        <p:cTn id="16" dur="332" tmFilter="0, 0; 0.125,0.2665; 0.25,0.4; 0.375,0.465; 0.5,0.5;  0.625,0.535; 0.75,0.6; 0.875,0.7335; 1,1">
                                          <p:stCondLst>
                                            <p:cond delay="332"/>
                                          </p:stCondLst>
                                        </p:cTn>
                                        <p:tgtEl>
                                          <p:spTgt spid="91"/>
                                        </p:tgtEl>
                                        <p:attrNameLst>
                                          <p:attrName>ppt_y</p:attrName>
                                        </p:attrNameLst>
                                      </p:cBhvr>
                                      <p:tavLst>
                                        <p:tav tm="0" fmla="#ppt_y-sin(pi*$)/9">
                                          <p:val>
                                            <p:fltVal val="0"/>
                                          </p:val>
                                        </p:tav>
                                        <p:tav tm="100000">
                                          <p:val>
                                            <p:fltVal val="1"/>
                                          </p:val>
                                        </p:tav>
                                      </p:tavLst>
                                    </p:anim>
                                    <p:anim calcmode="lin" valueType="num">
                                      <p:cBhvr>
                                        <p:cTn id="17" dur="166" tmFilter="0, 0; 0.125,0.2665; 0.25,0.4; 0.375,0.465; 0.5,0.5;  0.625,0.535; 0.75,0.6; 0.875,0.7335; 1,1">
                                          <p:stCondLst>
                                            <p:cond delay="662"/>
                                          </p:stCondLst>
                                        </p:cTn>
                                        <p:tgtEl>
                                          <p:spTgt spid="91"/>
                                        </p:tgtEl>
                                        <p:attrNameLst>
                                          <p:attrName>ppt_y</p:attrName>
                                        </p:attrNameLst>
                                      </p:cBhvr>
                                      <p:tavLst>
                                        <p:tav tm="0" fmla="#ppt_y-sin(pi*$)/27">
                                          <p:val>
                                            <p:fltVal val="0"/>
                                          </p:val>
                                        </p:tav>
                                        <p:tav tm="100000">
                                          <p:val>
                                            <p:fltVal val="1"/>
                                          </p:val>
                                        </p:tav>
                                      </p:tavLst>
                                    </p:anim>
                                    <p:anim calcmode="lin" valueType="num">
                                      <p:cBhvr>
                                        <p:cTn id="18" dur="82" tmFilter="0, 0; 0.125,0.2665; 0.25,0.4; 0.375,0.465; 0.5,0.5;  0.625,0.535; 0.75,0.6; 0.875,0.7335; 1,1">
                                          <p:stCondLst>
                                            <p:cond delay="828"/>
                                          </p:stCondLst>
                                        </p:cTn>
                                        <p:tgtEl>
                                          <p:spTgt spid="91"/>
                                        </p:tgtEl>
                                        <p:attrNameLst>
                                          <p:attrName>ppt_y</p:attrName>
                                        </p:attrNameLst>
                                      </p:cBhvr>
                                      <p:tavLst>
                                        <p:tav tm="0" fmla="#ppt_y-sin(pi*$)/81">
                                          <p:val>
                                            <p:fltVal val="0"/>
                                          </p:val>
                                        </p:tav>
                                        <p:tav tm="100000">
                                          <p:val>
                                            <p:fltVal val="1"/>
                                          </p:val>
                                        </p:tav>
                                      </p:tavLst>
                                    </p:anim>
                                    <p:animScale>
                                      <p:cBhvr>
                                        <p:cTn id="19" dur="13">
                                          <p:stCondLst>
                                            <p:cond delay="325"/>
                                          </p:stCondLst>
                                        </p:cTn>
                                        <p:tgtEl>
                                          <p:spTgt spid="91"/>
                                        </p:tgtEl>
                                      </p:cBhvr>
                                      <p:to x="100000" y="60000"/>
                                    </p:animScale>
                                    <p:animScale>
                                      <p:cBhvr>
                                        <p:cTn id="20" dur="83" decel="50000">
                                          <p:stCondLst>
                                            <p:cond delay="338"/>
                                          </p:stCondLst>
                                        </p:cTn>
                                        <p:tgtEl>
                                          <p:spTgt spid="91"/>
                                        </p:tgtEl>
                                      </p:cBhvr>
                                      <p:to x="100000" y="100000"/>
                                    </p:animScale>
                                    <p:animScale>
                                      <p:cBhvr>
                                        <p:cTn id="21" dur="13">
                                          <p:stCondLst>
                                            <p:cond delay="656"/>
                                          </p:stCondLst>
                                        </p:cTn>
                                        <p:tgtEl>
                                          <p:spTgt spid="91"/>
                                        </p:tgtEl>
                                      </p:cBhvr>
                                      <p:to x="100000" y="80000"/>
                                    </p:animScale>
                                    <p:animScale>
                                      <p:cBhvr>
                                        <p:cTn id="22" dur="83" decel="50000">
                                          <p:stCondLst>
                                            <p:cond delay="669"/>
                                          </p:stCondLst>
                                        </p:cTn>
                                        <p:tgtEl>
                                          <p:spTgt spid="91"/>
                                        </p:tgtEl>
                                      </p:cBhvr>
                                      <p:to x="100000" y="100000"/>
                                    </p:animScale>
                                    <p:animScale>
                                      <p:cBhvr>
                                        <p:cTn id="23" dur="13">
                                          <p:stCondLst>
                                            <p:cond delay="821"/>
                                          </p:stCondLst>
                                        </p:cTn>
                                        <p:tgtEl>
                                          <p:spTgt spid="91"/>
                                        </p:tgtEl>
                                      </p:cBhvr>
                                      <p:to x="100000" y="90000"/>
                                    </p:animScale>
                                    <p:animScale>
                                      <p:cBhvr>
                                        <p:cTn id="24" dur="83" decel="50000">
                                          <p:stCondLst>
                                            <p:cond delay="834"/>
                                          </p:stCondLst>
                                        </p:cTn>
                                        <p:tgtEl>
                                          <p:spTgt spid="91"/>
                                        </p:tgtEl>
                                      </p:cBhvr>
                                      <p:to x="100000" y="100000"/>
                                    </p:animScale>
                                    <p:animScale>
                                      <p:cBhvr>
                                        <p:cTn id="25" dur="13">
                                          <p:stCondLst>
                                            <p:cond delay="904"/>
                                          </p:stCondLst>
                                        </p:cTn>
                                        <p:tgtEl>
                                          <p:spTgt spid="91"/>
                                        </p:tgtEl>
                                      </p:cBhvr>
                                      <p:to x="100000" y="95000"/>
                                    </p:animScale>
                                    <p:animScale>
                                      <p:cBhvr>
                                        <p:cTn id="26" dur="83" decel="50000">
                                          <p:stCondLst>
                                            <p:cond delay="917"/>
                                          </p:stCondLst>
                                        </p:cTn>
                                        <p:tgtEl>
                                          <p:spTgt spid="91"/>
                                        </p:tgtEl>
                                      </p:cBhvr>
                                      <p:to x="100000" y="100000"/>
                                    </p:animScale>
                                  </p:childTnLst>
                                </p:cTn>
                              </p:par>
                            </p:childTnLst>
                          </p:cTn>
                        </p:par>
                        <p:par>
                          <p:cTn id="27" fill="hold">
                            <p:stCondLst>
                              <p:cond delay="1000"/>
                            </p:stCondLst>
                            <p:childTnLst>
                              <p:par>
                                <p:cTn id="28" presetID="10" presetClass="entr" presetSubtype="0" fill="hold" nodeType="afterEffect">
                                  <p:stCondLst>
                                    <p:cond delay="0"/>
                                  </p:stCondLst>
                                  <p:childTnLst>
                                    <p:set>
                                      <p:cBhvr>
                                        <p:cTn id="29" dur="1" fill="hold">
                                          <p:stCondLst>
                                            <p:cond delay="0"/>
                                          </p:stCondLst>
                                        </p:cTn>
                                        <p:tgtEl>
                                          <p:spTgt spid="136"/>
                                        </p:tgtEl>
                                        <p:attrNameLst>
                                          <p:attrName>style.visibility</p:attrName>
                                        </p:attrNameLst>
                                      </p:cBhvr>
                                      <p:to>
                                        <p:strVal val="visible"/>
                                      </p:to>
                                    </p:set>
                                    <p:animEffect transition="in" filter="fade">
                                      <p:cBhvr>
                                        <p:cTn id="30" dur="1000"/>
                                        <p:tgtEl>
                                          <p:spTgt spid="136"/>
                                        </p:tgtEl>
                                      </p:cBhvr>
                                    </p:animEffect>
                                  </p:childTnLst>
                                </p:cTn>
                              </p:par>
                              <p:par>
                                <p:cTn id="31" presetID="22" presetClass="entr" presetSubtype="8" fill="hold" grpId="0" nodeType="withEffect">
                                  <p:stCondLst>
                                    <p:cond delay="0"/>
                                  </p:stCondLst>
                                  <p:childTnLst>
                                    <p:set>
                                      <p:cBhvr>
                                        <p:cTn id="32" dur="1" fill="hold">
                                          <p:stCondLst>
                                            <p:cond delay="0"/>
                                          </p:stCondLst>
                                        </p:cTn>
                                        <p:tgtEl>
                                          <p:spTgt spid="71"/>
                                        </p:tgtEl>
                                        <p:attrNameLst>
                                          <p:attrName>style.visibility</p:attrName>
                                        </p:attrNameLst>
                                      </p:cBhvr>
                                      <p:to>
                                        <p:strVal val="visible"/>
                                      </p:to>
                                    </p:set>
                                    <p:animEffect transition="in" filter="wipe(left)">
                                      <p:cBhvr>
                                        <p:cTn id="33" dur="1000"/>
                                        <p:tgtEl>
                                          <p:spTgt spid="7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4"/>
                                        </p:tgtEl>
                                        <p:attrNameLst>
                                          <p:attrName>style.visibility</p:attrName>
                                        </p:attrNameLst>
                                      </p:cBhvr>
                                      <p:to>
                                        <p:strVal val="visible"/>
                                      </p:to>
                                    </p:set>
                                    <p:animEffect transition="in" filter="fade">
                                      <p:cBhvr>
                                        <p:cTn id="36" dur="500"/>
                                        <p:tgtEl>
                                          <p:spTgt spid="34"/>
                                        </p:tgtEl>
                                      </p:cBhvr>
                                    </p:animEffect>
                                  </p:childTnLst>
                                </p:cTn>
                              </p:par>
                              <p:par>
                                <p:cTn id="37" presetID="45" presetClass="entr" presetSubtype="0" fill="hold" nodeType="withEffect">
                                  <p:stCondLst>
                                    <p:cond delay="0"/>
                                  </p:stCondLst>
                                  <p:childTnLst>
                                    <p:set>
                                      <p:cBhvr>
                                        <p:cTn id="38" dur="1" fill="hold">
                                          <p:stCondLst>
                                            <p:cond delay="0"/>
                                          </p:stCondLst>
                                        </p:cTn>
                                        <p:tgtEl>
                                          <p:spTgt spid="89"/>
                                        </p:tgtEl>
                                        <p:attrNameLst>
                                          <p:attrName>style.visibility</p:attrName>
                                        </p:attrNameLst>
                                      </p:cBhvr>
                                      <p:to>
                                        <p:strVal val="visible"/>
                                      </p:to>
                                    </p:set>
                                    <p:animEffect transition="in" filter="fade">
                                      <p:cBhvr>
                                        <p:cTn id="39" dur="500"/>
                                        <p:tgtEl>
                                          <p:spTgt spid="89"/>
                                        </p:tgtEl>
                                      </p:cBhvr>
                                    </p:animEffect>
                                    <p:anim calcmode="lin" valueType="num">
                                      <p:cBhvr>
                                        <p:cTn id="40" dur="500" fill="hold"/>
                                        <p:tgtEl>
                                          <p:spTgt spid="89"/>
                                        </p:tgtEl>
                                        <p:attrNameLst>
                                          <p:attrName>ppt_w</p:attrName>
                                        </p:attrNameLst>
                                      </p:cBhvr>
                                      <p:tavLst>
                                        <p:tav tm="0" fmla="#ppt_w*sin(2.5*pi*$)">
                                          <p:val>
                                            <p:fltVal val="0"/>
                                          </p:val>
                                        </p:tav>
                                        <p:tav tm="100000">
                                          <p:val>
                                            <p:fltVal val="1"/>
                                          </p:val>
                                        </p:tav>
                                      </p:tavLst>
                                    </p:anim>
                                    <p:anim calcmode="lin" valueType="num">
                                      <p:cBhvr>
                                        <p:cTn id="41" dur="500" fill="hold"/>
                                        <p:tgtEl>
                                          <p:spTgt spid="89"/>
                                        </p:tgtEl>
                                        <p:attrNameLst>
                                          <p:attrName>ppt_h</p:attrName>
                                        </p:attrNameLst>
                                      </p:cBhvr>
                                      <p:tavLst>
                                        <p:tav tm="0">
                                          <p:val>
                                            <p:strVal val="#ppt_h"/>
                                          </p:val>
                                        </p:tav>
                                        <p:tav tm="100000">
                                          <p:val>
                                            <p:strVal val="#ppt_h"/>
                                          </p:val>
                                        </p:tav>
                                      </p:tavLst>
                                    </p:anim>
                                  </p:childTnLst>
                                </p:cTn>
                              </p:par>
                            </p:childTnLst>
                          </p:cTn>
                        </p:par>
                        <p:par>
                          <p:cTn id="42" fill="hold">
                            <p:stCondLst>
                              <p:cond delay="2000"/>
                            </p:stCondLst>
                            <p:childTnLst>
                              <p:par>
                                <p:cTn id="43" presetID="10" presetClass="entr" presetSubtype="0" fill="hold" nodeType="afterEffect">
                                  <p:stCondLst>
                                    <p:cond delay="0"/>
                                  </p:stCondLst>
                                  <p:childTnLst>
                                    <p:set>
                                      <p:cBhvr>
                                        <p:cTn id="44" dur="1" fill="hold">
                                          <p:stCondLst>
                                            <p:cond delay="0"/>
                                          </p:stCondLst>
                                        </p:cTn>
                                        <p:tgtEl>
                                          <p:spTgt spid="135"/>
                                        </p:tgtEl>
                                        <p:attrNameLst>
                                          <p:attrName>style.visibility</p:attrName>
                                        </p:attrNameLst>
                                      </p:cBhvr>
                                      <p:to>
                                        <p:strVal val="visible"/>
                                      </p:to>
                                    </p:set>
                                    <p:animEffect transition="in" filter="fade">
                                      <p:cBhvr>
                                        <p:cTn id="45" dur="1000"/>
                                        <p:tgtEl>
                                          <p:spTgt spid="135"/>
                                        </p:tgtEl>
                                      </p:cBhvr>
                                    </p:animEffect>
                                  </p:childTnLst>
                                </p:cTn>
                              </p:par>
                              <p:par>
                                <p:cTn id="46" presetID="22" presetClass="entr" presetSubtype="8"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wipe(left)">
                                      <p:cBhvr>
                                        <p:cTn id="48" dur="1000"/>
                                        <p:tgtEl>
                                          <p:spTgt spid="21"/>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55"/>
                                        </p:tgtEl>
                                        <p:attrNameLst>
                                          <p:attrName>style.visibility</p:attrName>
                                        </p:attrNameLst>
                                      </p:cBhvr>
                                      <p:to>
                                        <p:strVal val="visible"/>
                                      </p:to>
                                    </p:set>
                                    <p:animEffect transition="in" filter="fade">
                                      <p:cBhvr>
                                        <p:cTn id="51" dur="500"/>
                                        <p:tgtEl>
                                          <p:spTgt spid="55"/>
                                        </p:tgtEl>
                                      </p:cBhvr>
                                    </p:animEffect>
                                  </p:childTnLst>
                                </p:cTn>
                              </p:par>
                              <p:par>
                                <p:cTn id="52" presetID="45" presetClass="entr" presetSubtype="0" fill="hold" nodeType="withEffect">
                                  <p:stCondLst>
                                    <p:cond delay="0"/>
                                  </p:stCondLst>
                                  <p:childTnLst>
                                    <p:set>
                                      <p:cBhvr>
                                        <p:cTn id="53" dur="1" fill="hold">
                                          <p:stCondLst>
                                            <p:cond delay="0"/>
                                          </p:stCondLst>
                                        </p:cTn>
                                        <p:tgtEl>
                                          <p:spTgt spid="87"/>
                                        </p:tgtEl>
                                        <p:attrNameLst>
                                          <p:attrName>style.visibility</p:attrName>
                                        </p:attrNameLst>
                                      </p:cBhvr>
                                      <p:to>
                                        <p:strVal val="visible"/>
                                      </p:to>
                                    </p:set>
                                    <p:animEffect transition="in" filter="fade">
                                      <p:cBhvr>
                                        <p:cTn id="54" dur="500"/>
                                        <p:tgtEl>
                                          <p:spTgt spid="87"/>
                                        </p:tgtEl>
                                      </p:cBhvr>
                                    </p:animEffect>
                                    <p:anim calcmode="lin" valueType="num">
                                      <p:cBhvr>
                                        <p:cTn id="55" dur="500" fill="hold"/>
                                        <p:tgtEl>
                                          <p:spTgt spid="87"/>
                                        </p:tgtEl>
                                        <p:attrNameLst>
                                          <p:attrName>ppt_w</p:attrName>
                                        </p:attrNameLst>
                                      </p:cBhvr>
                                      <p:tavLst>
                                        <p:tav tm="0" fmla="#ppt_w*sin(2.5*pi*$)">
                                          <p:val>
                                            <p:fltVal val="0"/>
                                          </p:val>
                                        </p:tav>
                                        <p:tav tm="100000">
                                          <p:val>
                                            <p:fltVal val="1"/>
                                          </p:val>
                                        </p:tav>
                                      </p:tavLst>
                                    </p:anim>
                                    <p:anim calcmode="lin" valueType="num">
                                      <p:cBhvr>
                                        <p:cTn id="56" dur="500" fill="hold"/>
                                        <p:tgtEl>
                                          <p:spTgt spid="87"/>
                                        </p:tgtEl>
                                        <p:attrNameLst>
                                          <p:attrName>ppt_h</p:attrName>
                                        </p:attrNameLst>
                                      </p:cBhvr>
                                      <p:tavLst>
                                        <p:tav tm="0">
                                          <p:val>
                                            <p:strVal val="#ppt_h"/>
                                          </p:val>
                                        </p:tav>
                                        <p:tav tm="100000">
                                          <p:val>
                                            <p:strVal val="#ppt_h"/>
                                          </p:val>
                                        </p:tav>
                                      </p:tavLst>
                                    </p:anim>
                                  </p:childTnLst>
                                </p:cTn>
                              </p:par>
                            </p:childTnLst>
                          </p:cTn>
                        </p:par>
                        <p:par>
                          <p:cTn id="57" fill="hold">
                            <p:stCondLst>
                              <p:cond delay="3000"/>
                            </p:stCondLst>
                            <p:childTnLst>
                              <p:par>
                                <p:cTn id="58" presetID="10" presetClass="entr" presetSubtype="0" fill="hold" nodeType="afterEffect">
                                  <p:stCondLst>
                                    <p:cond delay="0"/>
                                  </p:stCondLst>
                                  <p:childTnLst>
                                    <p:set>
                                      <p:cBhvr>
                                        <p:cTn id="59" dur="1" fill="hold">
                                          <p:stCondLst>
                                            <p:cond delay="0"/>
                                          </p:stCondLst>
                                        </p:cTn>
                                        <p:tgtEl>
                                          <p:spTgt spid="108"/>
                                        </p:tgtEl>
                                        <p:attrNameLst>
                                          <p:attrName>style.visibility</p:attrName>
                                        </p:attrNameLst>
                                      </p:cBhvr>
                                      <p:to>
                                        <p:strVal val="visible"/>
                                      </p:to>
                                    </p:set>
                                    <p:animEffect transition="in" filter="fade">
                                      <p:cBhvr>
                                        <p:cTn id="60" dur="1000"/>
                                        <p:tgtEl>
                                          <p:spTgt spid="108"/>
                                        </p:tgtEl>
                                      </p:cBhvr>
                                    </p:animEffect>
                                  </p:childTnLst>
                                </p:cTn>
                              </p:par>
                              <p:par>
                                <p:cTn id="61" presetID="22" presetClass="entr" presetSubtype="8" fill="hold" grpId="0" nodeType="withEffect">
                                  <p:stCondLst>
                                    <p:cond delay="0"/>
                                  </p:stCondLst>
                                  <p:childTnLst>
                                    <p:set>
                                      <p:cBhvr>
                                        <p:cTn id="62" dur="1" fill="hold">
                                          <p:stCondLst>
                                            <p:cond delay="0"/>
                                          </p:stCondLst>
                                        </p:cTn>
                                        <p:tgtEl>
                                          <p:spTgt spid="70"/>
                                        </p:tgtEl>
                                        <p:attrNameLst>
                                          <p:attrName>style.visibility</p:attrName>
                                        </p:attrNameLst>
                                      </p:cBhvr>
                                      <p:to>
                                        <p:strVal val="visible"/>
                                      </p:to>
                                    </p:set>
                                    <p:animEffect transition="in" filter="wipe(left)">
                                      <p:cBhvr>
                                        <p:cTn id="63" dur="1000"/>
                                        <p:tgtEl>
                                          <p:spTgt spid="70"/>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53"/>
                                        </p:tgtEl>
                                        <p:attrNameLst>
                                          <p:attrName>style.visibility</p:attrName>
                                        </p:attrNameLst>
                                      </p:cBhvr>
                                      <p:to>
                                        <p:strVal val="visible"/>
                                      </p:to>
                                    </p:set>
                                    <p:animEffect transition="in" filter="fade">
                                      <p:cBhvr>
                                        <p:cTn id="66" dur="500"/>
                                        <p:tgtEl>
                                          <p:spTgt spid="53"/>
                                        </p:tgtEl>
                                      </p:cBhvr>
                                    </p:animEffect>
                                  </p:childTnLst>
                                </p:cTn>
                              </p:par>
                              <p:par>
                                <p:cTn id="67" presetID="45" presetClass="entr" presetSubtype="0" fill="hold" nodeType="withEffect">
                                  <p:stCondLst>
                                    <p:cond delay="0"/>
                                  </p:stCondLst>
                                  <p:childTnLst>
                                    <p:set>
                                      <p:cBhvr>
                                        <p:cTn id="68" dur="1" fill="hold">
                                          <p:stCondLst>
                                            <p:cond delay="0"/>
                                          </p:stCondLst>
                                        </p:cTn>
                                        <p:tgtEl>
                                          <p:spTgt spid="93"/>
                                        </p:tgtEl>
                                        <p:attrNameLst>
                                          <p:attrName>style.visibility</p:attrName>
                                        </p:attrNameLst>
                                      </p:cBhvr>
                                      <p:to>
                                        <p:strVal val="visible"/>
                                      </p:to>
                                    </p:set>
                                    <p:animEffect transition="in" filter="fade">
                                      <p:cBhvr>
                                        <p:cTn id="69" dur="500"/>
                                        <p:tgtEl>
                                          <p:spTgt spid="93"/>
                                        </p:tgtEl>
                                      </p:cBhvr>
                                    </p:animEffect>
                                    <p:anim calcmode="lin" valueType="num">
                                      <p:cBhvr>
                                        <p:cTn id="70" dur="500" fill="hold"/>
                                        <p:tgtEl>
                                          <p:spTgt spid="93"/>
                                        </p:tgtEl>
                                        <p:attrNameLst>
                                          <p:attrName>ppt_w</p:attrName>
                                        </p:attrNameLst>
                                      </p:cBhvr>
                                      <p:tavLst>
                                        <p:tav tm="0" fmla="#ppt_w*sin(2.5*pi*$)">
                                          <p:val>
                                            <p:fltVal val="0"/>
                                          </p:val>
                                        </p:tav>
                                        <p:tav tm="100000">
                                          <p:val>
                                            <p:fltVal val="1"/>
                                          </p:val>
                                        </p:tav>
                                      </p:tavLst>
                                    </p:anim>
                                    <p:anim calcmode="lin" valueType="num">
                                      <p:cBhvr>
                                        <p:cTn id="71" dur="500" fill="hold"/>
                                        <p:tgtEl>
                                          <p:spTgt spid="93"/>
                                        </p:tgtEl>
                                        <p:attrNameLst>
                                          <p:attrName>ppt_h</p:attrName>
                                        </p:attrNameLst>
                                      </p:cBhvr>
                                      <p:tavLst>
                                        <p:tav tm="0">
                                          <p:val>
                                            <p:strVal val="#ppt_h"/>
                                          </p:val>
                                        </p:tav>
                                        <p:tav tm="100000">
                                          <p:val>
                                            <p:strVal val="#ppt_h"/>
                                          </p:val>
                                        </p:tav>
                                      </p:tavLst>
                                    </p:anim>
                                  </p:childTnLst>
                                </p:cTn>
                              </p:par>
                            </p:childTnLst>
                          </p:cTn>
                        </p:par>
                        <p:par>
                          <p:cTn id="72" fill="hold">
                            <p:stCondLst>
                              <p:cond delay="4000"/>
                            </p:stCondLst>
                            <p:childTnLst>
                              <p:par>
                                <p:cTn id="73" presetID="10" presetClass="entr" presetSubtype="0" fill="hold" nodeType="afterEffect">
                                  <p:stCondLst>
                                    <p:cond delay="0"/>
                                  </p:stCondLst>
                                  <p:childTnLst>
                                    <p:set>
                                      <p:cBhvr>
                                        <p:cTn id="74" dur="1" fill="hold">
                                          <p:stCondLst>
                                            <p:cond delay="0"/>
                                          </p:stCondLst>
                                        </p:cTn>
                                        <p:tgtEl>
                                          <p:spTgt spid="134"/>
                                        </p:tgtEl>
                                        <p:attrNameLst>
                                          <p:attrName>style.visibility</p:attrName>
                                        </p:attrNameLst>
                                      </p:cBhvr>
                                      <p:to>
                                        <p:strVal val="visible"/>
                                      </p:to>
                                    </p:set>
                                    <p:animEffect transition="in" filter="fade">
                                      <p:cBhvr>
                                        <p:cTn id="75" dur="1000"/>
                                        <p:tgtEl>
                                          <p:spTgt spid="134"/>
                                        </p:tgtEl>
                                      </p:cBhvr>
                                    </p:animEffect>
                                  </p:childTnLst>
                                </p:cTn>
                              </p:par>
                              <p:par>
                                <p:cTn id="76" presetID="22" presetClass="entr" presetSubtype="8" fill="hold" grpId="0" nodeType="withEffect">
                                  <p:stCondLst>
                                    <p:cond delay="0"/>
                                  </p:stCondLst>
                                  <p:childTnLst>
                                    <p:set>
                                      <p:cBhvr>
                                        <p:cTn id="77" dur="1" fill="hold">
                                          <p:stCondLst>
                                            <p:cond delay="0"/>
                                          </p:stCondLst>
                                        </p:cTn>
                                        <p:tgtEl>
                                          <p:spTgt spid="63"/>
                                        </p:tgtEl>
                                        <p:attrNameLst>
                                          <p:attrName>style.visibility</p:attrName>
                                        </p:attrNameLst>
                                      </p:cBhvr>
                                      <p:to>
                                        <p:strVal val="visible"/>
                                      </p:to>
                                    </p:set>
                                    <p:animEffect transition="in" filter="wipe(left)">
                                      <p:cBhvr>
                                        <p:cTn id="78" dur="1000"/>
                                        <p:tgtEl>
                                          <p:spTgt spid="63"/>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54"/>
                                        </p:tgtEl>
                                        <p:attrNameLst>
                                          <p:attrName>style.visibility</p:attrName>
                                        </p:attrNameLst>
                                      </p:cBhvr>
                                      <p:to>
                                        <p:strVal val="visible"/>
                                      </p:to>
                                    </p:set>
                                    <p:animEffect transition="in" filter="fade">
                                      <p:cBhvr>
                                        <p:cTn id="81" dur="500"/>
                                        <p:tgtEl>
                                          <p:spTgt spid="54"/>
                                        </p:tgtEl>
                                      </p:cBhvr>
                                    </p:animEffect>
                                  </p:childTnLst>
                                </p:cTn>
                              </p:par>
                              <p:par>
                                <p:cTn id="82" presetID="38" presetClass="entr" presetSubtype="0" accel="50000" fill="hold" grpId="0" nodeType="withEffect">
                                  <p:stCondLst>
                                    <p:cond delay="0"/>
                                  </p:stCondLst>
                                  <p:iterate type="lt">
                                    <p:tmPct val="50000"/>
                                  </p:iterate>
                                  <p:childTnLst>
                                    <p:set>
                                      <p:cBhvr>
                                        <p:cTn id="83" dur="1" fill="hold">
                                          <p:stCondLst>
                                            <p:cond delay="0"/>
                                          </p:stCondLst>
                                        </p:cTn>
                                        <p:tgtEl>
                                          <p:spTgt spid="96"/>
                                        </p:tgtEl>
                                        <p:attrNameLst>
                                          <p:attrName>style.visibility</p:attrName>
                                        </p:attrNameLst>
                                      </p:cBhvr>
                                      <p:to>
                                        <p:strVal val="visible"/>
                                      </p:to>
                                    </p:set>
                                    <p:set>
                                      <p:cBhvr>
                                        <p:cTn id="84" dur="455" fill="hold">
                                          <p:stCondLst>
                                            <p:cond delay="0"/>
                                          </p:stCondLst>
                                        </p:cTn>
                                        <p:tgtEl>
                                          <p:spTgt spid="96"/>
                                        </p:tgtEl>
                                        <p:attrNameLst>
                                          <p:attrName>style.rotation</p:attrName>
                                        </p:attrNameLst>
                                      </p:cBhvr>
                                      <p:to>
                                        <p:strVal val="-45.0"/>
                                      </p:to>
                                    </p:set>
                                    <p:anim calcmode="lin" valueType="num">
                                      <p:cBhvr>
                                        <p:cTn id="85" dur="455" fill="hold">
                                          <p:stCondLst>
                                            <p:cond delay="455"/>
                                          </p:stCondLst>
                                        </p:cTn>
                                        <p:tgtEl>
                                          <p:spTgt spid="96"/>
                                        </p:tgtEl>
                                        <p:attrNameLst>
                                          <p:attrName>style.rotation</p:attrName>
                                        </p:attrNameLst>
                                      </p:cBhvr>
                                      <p:tavLst>
                                        <p:tav tm="0">
                                          <p:val>
                                            <p:fltVal val="-45"/>
                                          </p:val>
                                        </p:tav>
                                        <p:tav tm="69900">
                                          <p:val>
                                            <p:fltVal val="45"/>
                                          </p:val>
                                        </p:tav>
                                        <p:tav tm="100000">
                                          <p:val>
                                            <p:fltVal val="0"/>
                                          </p:val>
                                        </p:tav>
                                      </p:tavLst>
                                    </p:anim>
                                    <p:anim calcmode="lin" valueType="num">
                                      <p:cBhvr>
                                        <p:cTn id="86" dur="455" fill="hold">
                                          <p:stCondLst>
                                            <p:cond delay="0"/>
                                          </p:stCondLst>
                                        </p:cTn>
                                        <p:tgtEl>
                                          <p:spTgt spid="96"/>
                                        </p:tgtEl>
                                        <p:attrNameLst>
                                          <p:attrName>ppt_y</p:attrName>
                                        </p:attrNameLst>
                                      </p:cBhvr>
                                      <p:tavLst>
                                        <p:tav tm="0">
                                          <p:val>
                                            <p:strVal val="#ppt_y-1"/>
                                          </p:val>
                                        </p:tav>
                                        <p:tav tm="100000">
                                          <p:val>
                                            <p:strVal val="#ppt_y-(0.354*#ppt_w-0.172*#ppt_h)"/>
                                          </p:val>
                                        </p:tav>
                                      </p:tavLst>
                                    </p:anim>
                                    <p:anim calcmode="lin" valueType="num">
                                      <p:cBhvr>
                                        <p:cTn id="87" dur="156" decel="50000" autoRev="1" fill="hold">
                                          <p:stCondLst>
                                            <p:cond delay="455"/>
                                          </p:stCondLst>
                                        </p:cTn>
                                        <p:tgtEl>
                                          <p:spTgt spid="96"/>
                                        </p:tgtEl>
                                        <p:attrNameLst>
                                          <p:attrName>ppt_y</p:attrName>
                                        </p:attrNameLst>
                                      </p:cBhvr>
                                      <p:tavLst>
                                        <p:tav tm="0">
                                          <p:val>
                                            <p:strVal val="#ppt_y-(0.354*#ppt_w-0.172*#ppt_h)"/>
                                          </p:val>
                                        </p:tav>
                                        <p:tav tm="100000">
                                          <p:val>
                                            <p:strVal val="#ppt_y-(0.354*#ppt_w-0.172*#ppt_h)-#ppt_h/2"/>
                                          </p:val>
                                        </p:tav>
                                      </p:tavLst>
                                    </p:anim>
                                    <p:anim calcmode="lin" valueType="num">
                                      <p:cBhvr>
                                        <p:cTn id="88" dur="136" fill="hold">
                                          <p:stCondLst>
                                            <p:cond delay="864"/>
                                          </p:stCondLst>
                                        </p:cTn>
                                        <p:tgtEl>
                                          <p:spTgt spid="96"/>
                                        </p:tgtEl>
                                        <p:attrNameLst>
                                          <p:attrName>ppt_y</p:attrName>
                                        </p:attrNameLst>
                                      </p:cBhvr>
                                      <p:tavLst>
                                        <p:tav tm="0">
                                          <p:val>
                                            <p:strVal val="#ppt_y-(0.354*#ppt_w-0.172*#ppt_h)"/>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63" grpId="0" animBg="1"/>
      <p:bldP spid="70" grpId="0" animBg="1"/>
      <p:bldP spid="34" grpId="0" animBg="1"/>
      <p:bldP spid="53" grpId="0" animBg="1"/>
      <p:bldP spid="54" grpId="0" animBg="1"/>
      <p:bldP spid="55" grpId="0" animBg="1"/>
      <p:bldP spid="21" grpId="0" animBg="1"/>
      <p:bldP spid="71" grpId="0" animBg="1"/>
      <p:bldP spid="85" grpId="0" animBg="1"/>
      <p:bldP spid="9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18DCB88-A845-450B-9099-767383164F5F}"/>
              </a:ext>
            </a:extLst>
          </p:cNvPr>
          <p:cNvPicPr>
            <a:picLocks noChangeAspect="1"/>
          </p:cNvPicPr>
          <p:nvPr/>
        </p:nvPicPr>
        <p:blipFill>
          <a:blip r:embed="rId3"/>
          <a:stretch>
            <a:fillRect/>
          </a:stretch>
        </p:blipFill>
        <p:spPr>
          <a:xfrm>
            <a:off x="14528005" y="9521439"/>
            <a:ext cx="6044184" cy="708174"/>
          </a:xfrm>
          <a:prstGeom prst="rect">
            <a:avLst/>
          </a:prstGeom>
        </p:spPr>
      </p:pic>
      <p:grpSp>
        <p:nvGrpSpPr>
          <p:cNvPr id="83" name="Group 82">
            <a:extLst>
              <a:ext uri="{FF2B5EF4-FFF2-40B4-BE49-F238E27FC236}">
                <a16:creationId xmlns:a16="http://schemas.microsoft.com/office/drawing/2014/main" id="{0E7BF1DE-EC68-915F-7582-A09ED1F2F64C}"/>
              </a:ext>
            </a:extLst>
          </p:cNvPr>
          <p:cNvGrpSpPr/>
          <p:nvPr/>
        </p:nvGrpSpPr>
        <p:grpSpPr>
          <a:xfrm>
            <a:off x="11011106" y="5927263"/>
            <a:ext cx="2364962" cy="2743200"/>
            <a:chOff x="1196696" y="5927263"/>
            <a:chExt cx="2364962" cy="2743200"/>
          </a:xfrm>
        </p:grpSpPr>
        <p:sp>
          <p:nvSpPr>
            <p:cNvPr id="84" name="Hexagon 83">
              <a:extLst>
                <a:ext uri="{FF2B5EF4-FFF2-40B4-BE49-F238E27FC236}">
                  <a16:creationId xmlns:a16="http://schemas.microsoft.com/office/drawing/2014/main" id="{F9EA4AAF-1AC3-BB20-0249-1CEA45E05231}"/>
                </a:ext>
              </a:extLst>
            </p:cNvPr>
            <p:cNvSpPr>
              <a:spLocks noChangeAspect="1"/>
            </p:cNvSpPr>
            <p:nvPr/>
          </p:nvSpPr>
          <p:spPr bwMode="auto">
            <a:xfrm rot="16200000">
              <a:off x="1007577" y="6116382"/>
              <a:ext cx="2743200" cy="2364962"/>
            </a:xfrm>
            <a:prstGeom prst="hexagon">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85" name="Freeform 84">
              <a:extLst>
                <a:ext uri="{FF2B5EF4-FFF2-40B4-BE49-F238E27FC236}">
                  <a16:creationId xmlns:a16="http://schemas.microsoft.com/office/drawing/2014/main" id="{52EB23BE-89F5-113E-D3D1-AE0CB3F7E29A}"/>
                </a:ext>
              </a:extLst>
            </p:cNvPr>
            <p:cNvSpPr/>
            <p:nvPr/>
          </p:nvSpPr>
          <p:spPr>
            <a:xfrm>
              <a:off x="1810616" y="6697876"/>
              <a:ext cx="1137121" cy="1201974"/>
            </a:xfrm>
            <a:custGeom>
              <a:avLst/>
              <a:gdLst>
                <a:gd name="connsiteX0" fmla="*/ 1460754 w 1846580"/>
                <a:gd name="connsiteY0" fmla="*/ 1951894 h 1951893"/>
                <a:gd name="connsiteX1" fmla="*/ 1414463 w 1846580"/>
                <a:gd name="connsiteY1" fmla="*/ 1951894 h 1951893"/>
                <a:gd name="connsiteX2" fmla="*/ 1414463 w 1846580"/>
                <a:gd name="connsiteY2" fmla="*/ 1469691 h 1951893"/>
                <a:gd name="connsiteX3" fmla="*/ 1036930 w 1846580"/>
                <a:gd name="connsiteY3" fmla="*/ 992374 h 1951893"/>
                <a:gd name="connsiteX4" fmla="*/ 1019249 w 1846580"/>
                <a:gd name="connsiteY4" fmla="*/ 972057 h 1951893"/>
                <a:gd name="connsiteX5" fmla="*/ 1032879 w 1846580"/>
                <a:gd name="connsiteY5" fmla="*/ 948719 h 1951893"/>
                <a:gd name="connsiteX6" fmla="*/ 1193356 w 1846580"/>
                <a:gd name="connsiteY6" fmla="*/ 702088 h 1951893"/>
                <a:gd name="connsiteX7" fmla="*/ 923323 w 1846580"/>
                <a:gd name="connsiteY7" fmla="*/ 431990 h 1951893"/>
                <a:gd name="connsiteX8" fmla="*/ 653225 w 1846580"/>
                <a:gd name="connsiteY8" fmla="*/ 702088 h 1951893"/>
                <a:gd name="connsiteX9" fmla="*/ 813702 w 1846580"/>
                <a:gd name="connsiteY9" fmla="*/ 948719 h 1951893"/>
                <a:gd name="connsiteX10" fmla="*/ 827332 w 1846580"/>
                <a:gd name="connsiteY10" fmla="*/ 972057 h 1951893"/>
                <a:gd name="connsiteX11" fmla="*/ 809651 w 1846580"/>
                <a:gd name="connsiteY11" fmla="*/ 992374 h 1951893"/>
                <a:gd name="connsiteX12" fmla="*/ 432118 w 1846580"/>
                <a:gd name="connsiteY12" fmla="*/ 1469691 h 1951893"/>
                <a:gd name="connsiteX13" fmla="*/ 432118 w 1846580"/>
                <a:gd name="connsiteY13" fmla="*/ 1951894 h 1951893"/>
                <a:gd name="connsiteX14" fmla="*/ 385763 w 1846580"/>
                <a:gd name="connsiteY14" fmla="*/ 1951894 h 1951893"/>
                <a:gd name="connsiteX15" fmla="*/ 385763 w 1846580"/>
                <a:gd name="connsiteY15" fmla="*/ 1469691 h 1951893"/>
                <a:gd name="connsiteX16" fmla="*/ 744843 w 1846580"/>
                <a:gd name="connsiteY16" fmla="*/ 963120 h 1951893"/>
                <a:gd name="connsiteX17" fmla="*/ 606869 w 1846580"/>
                <a:gd name="connsiteY17" fmla="*/ 702024 h 1951893"/>
                <a:gd name="connsiteX18" fmla="*/ 788563 w 1846580"/>
                <a:gd name="connsiteY18" fmla="*/ 415788 h 1951893"/>
                <a:gd name="connsiteX19" fmla="*/ 807530 w 1846580"/>
                <a:gd name="connsiteY19" fmla="*/ 316325 h 1951893"/>
                <a:gd name="connsiteX20" fmla="*/ 537496 w 1846580"/>
                <a:gd name="connsiteY20" fmla="*/ 46227 h 1951893"/>
                <a:gd name="connsiteX21" fmla="*/ 267398 w 1846580"/>
                <a:gd name="connsiteY21" fmla="*/ 316325 h 1951893"/>
                <a:gd name="connsiteX22" fmla="*/ 427875 w 1846580"/>
                <a:gd name="connsiteY22" fmla="*/ 562956 h 1951893"/>
                <a:gd name="connsiteX23" fmla="*/ 441505 w 1846580"/>
                <a:gd name="connsiteY23" fmla="*/ 586295 h 1951893"/>
                <a:gd name="connsiteX24" fmla="*/ 423824 w 1846580"/>
                <a:gd name="connsiteY24" fmla="*/ 606612 h 1951893"/>
                <a:gd name="connsiteX25" fmla="*/ 46291 w 1846580"/>
                <a:gd name="connsiteY25" fmla="*/ 1083928 h 1951893"/>
                <a:gd name="connsiteX26" fmla="*/ 46291 w 1846580"/>
                <a:gd name="connsiteY26" fmla="*/ 1566132 h 1951893"/>
                <a:gd name="connsiteX27" fmla="*/ 0 w 1846580"/>
                <a:gd name="connsiteY27" fmla="*/ 1566132 h 1951893"/>
                <a:gd name="connsiteX28" fmla="*/ 0 w 1846580"/>
                <a:gd name="connsiteY28" fmla="*/ 1083928 h 1951893"/>
                <a:gd name="connsiteX29" fmla="*/ 359081 w 1846580"/>
                <a:gd name="connsiteY29" fmla="*/ 577358 h 1951893"/>
                <a:gd name="connsiteX30" fmla="*/ 221171 w 1846580"/>
                <a:gd name="connsiteY30" fmla="*/ 316325 h 1951893"/>
                <a:gd name="connsiteX31" fmla="*/ 537496 w 1846580"/>
                <a:gd name="connsiteY31" fmla="*/ 0 h 1951893"/>
                <a:gd name="connsiteX32" fmla="*/ 853821 w 1846580"/>
                <a:gd name="connsiteY32" fmla="*/ 316325 h 1951893"/>
                <a:gd name="connsiteX33" fmla="*/ 843727 w 1846580"/>
                <a:gd name="connsiteY33" fmla="*/ 395857 h 1951893"/>
                <a:gd name="connsiteX34" fmla="*/ 1002725 w 1846580"/>
                <a:gd name="connsiteY34" fmla="*/ 395857 h 1951893"/>
                <a:gd name="connsiteX35" fmla="*/ 992631 w 1846580"/>
                <a:gd name="connsiteY35" fmla="*/ 316325 h 1951893"/>
                <a:gd name="connsiteX36" fmla="*/ 1309021 w 1846580"/>
                <a:gd name="connsiteY36" fmla="*/ 0 h 1951893"/>
                <a:gd name="connsiteX37" fmla="*/ 1625410 w 1846580"/>
                <a:gd name="connsiteY37" fmla="*/ 316325 h 1951893"/>
                <a:gd name="connsiteX38" fmla="*/ 1487436 w 1846580"/>
                <a:gd name="connsiteY38" fmla="*/ 577422 h 1951893"/>
                <a:gd name="connsiteX39" fmla="*/ 1846581 w 1846580"/>
                <a:gd name="connsiteY39" fmla="*/ 1083993 h 1951893"/>
                <a:gd name="connsiteX40" fmla="*/ 1846581 w 1846580"/>
                <a:gd name="connsiteY40" fmla="*/ 1566132 h 1951893"/>
                <a:gd name="connsiteX41" fmla="*/ 1800225 w 1846580"/>
                <a:gd name="connsiteY41" fmla="*/ 1566132 h 1951893"/>
                <a:gd name="connsiteX42" fmla="*/ 1800225 w 1846580"/>
                <a:gd name="connsiteY42" fmla="*/ 1083928 h 1951893"/>
                <a:gd name="connsiteX43" fmla="*/ 1422692 w 1846580"/>
                <a:gd name="connsiteY43" fmla="*/ 606612 h 1951893"/>
                <a:gd name="connsiteX44" fmla="*/ 1405011 w 1846580"/>
                <a:gd name="connsiteY44" fmla="*/ 586295 h 1951893"/>
                <a:gd name="connsiteX45" fmla="*/ 1418642 w 1846580"/>
                <a:gd name="connsiteY45" fmla="*/ 562956 h 1951893"/>
                <a:gd name="connsiteX46" fmla="*/ 1579055 w 1846580"/>
                <a:gd name="connsiteY46" fmla="*/ 316325 h 1951893"/>
                <a:gd name="connsiteX47" fmla="*/ 1309021 w 1846580"/>
                <a:gd name="connsiteY47" fmla="*/ 46227 h 1951893"/>
                <a:gd name="connsiteX48" fmla="*/ 1038987 w 1846580"/>
                <a:gd name="connsiteY48" fmla="*/ 316325 h 1951893"/>
                <a:gd name="connsiteX49" fmla="*/ 1057954 w 1846580"/>
                <a:gd name="connsiteY49" fmla="*/ 415852 h 1951893"/>
                <a:gd name="connsiteX50" fmla="*/ 1239648 w 1846580"/>
                <a:gd name="connsiteY50" fmla="*/ 702088 h 1951893"/>
                <a:gd name="connsiteX51" fmla="*/ 1101673 w 1846580"/>
                <a:gd name="connsiteY51" fmla="*/ 963185 h 1951893"/>
                <a:gd name="connsiteX52" fmla="*/ 1460818 w 1846580"/>
                <a:gd name="connsiteY52" fmla="*/ 1469755 h 1951893"/>
                <a:gd name="connsiteX53" fmla="*/ 1460754 w 1846580"/>
                <a:gd name="connsiteY53" fmla="*/ 1951894 h 1951893"/>
                <a:gd name="connsiteX54" fmla="*/ 1460754 w 1846580"/>
                <a:gd name="connsiteY54" fmla="*/ 1951894 h 195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580" h="1951893">
                  <a:moveTo>
                    <a:pt x="1460754" y="1951894"/>
                  </a:moveTo>
                  <a:lnTo>
                    <a:pt x="1414463" y="1951894"/>
                  </a:lnTo>
                  <a:lnTo>
                    <a:pt x="1414463" y="1469691"/>
                  </a:lnTo>
                  <a:cubicBezTo>
                    <a:pt x="1414463" y="1241319"/>
                    <a:pt x="1259257" y="1045095"/>
                    <a:pt x="1036930" y="992374"/>
                  </a:cubicBezTo>
                  <a:cubicBezTo>
                    <a:pt x="1027286" y="990060"/>
                    <a:pt x="1020149" y="981894"/>
                    <a:pt x="1019249" y="972057"/>
                  </a:cubicBezTo>
                  <a:cubicBezTo>
                    <a:pt x="1018284" y="962156"/>
                    <a:pt x="1023814" y="952769"/>
                    <a:pt x="1032879" y="948719"/>
                  </a:cubicBezTo>
                  <a:cubicBezTo>
                    <a:pt x="1130413" y="905320"/>
                    <a:pt x="1193356" y="808494"/>
                    <a:pt x="1193356" y="702088"/>
                  </a:cubicBezTo>
                  <a:cubicBezTo>
                    <a:pt x="1193356" y="553183"/>
                    <a:pt x="1072227" y="431990"/>
                    <a:pt x="923323" y="431990"/>
                  </a:cubicBezTo>
                  <a:cubicBezTo>
                    <a:pt x="774418" y="431990"/>
                    <a:pt x="653225" y="553119"/>
                    <a:pt x="653225" y="702088"/>
                  </a:cubicBezTo>
                  <a:cubicBezTo>
                    <a:pt x="653225" y="808494"/>
                    <a:pt x="716232" y="905385"/>
                    <a:pt x="813702" y="948719"/>
                  </a:cubicBezTo>
                  <a:cubicBezTo>
                    <a:pt x="822767" y="952769"/>
                    <a:pt x="828296" y="962156"/>
                    <a:pt x="827332" y="972057"/>
                  </a:cubicBezTo>
                  <a:cubicBezTo>
                    <a:pt x="826432" y="981894"/>
                    <a:pt x="819295" y="990124"/>
                    <a:pt x="809651" y="992374"/>
                  </a:cubicBezTo>
                  <a:cubicBezTo>
                    <a:pt x="587323" y="1045095"/>
                    <a:pt x="432118" y="1241319"/>
                    <a:pt x="432118" y="1469691"/>
                  </a:cubicBezTo>
                  <a:lnTo>
                    <a:pt x="432118" y="1951894"/>
                  </a:lnTo>
                  <a:lnTo>
                    <a:pt x="385763" y="1951894"/>
                  </a:lnTo>
                  <a:lnTo>
                    <a:pt x="385763" y="1469691"/>
                  </a:lnTo>
                  <a:cubicBezTo>
                    <a:pt x="385763" y="1238748"/>
                    <a:pt x="530874" y="1037765"/>
                    <a:pt x="744843" y="963120"/>
                  </a:cubicBezTo>
                  <a:cubicBezTo>
                    <a:pt x="659590" y="904806"/>
                    <a:pt x="606869" y="807465"/>
                    <a:pt x="606869" y="702024"/>
                  </a:cubicBezTo>
                  <a:cubicBezTo>
                    <a:pt x="606869" y="575751"/>
                    <a:pt x="681257" y="466451"/>
                    <a:pt x="788563" y="415788"/>
                  </a:cubicBezTo>
                  <a:cubicBezTo>
                    <a:pt x="801164" y="384219"/>
                    <a:pt x="807530" y="350787"/>
                    <a:pt x="807530" y="316325"/>
                  </a:cubicBezTo>
                  <a:cubicBezTo>
                    <a:pt x="807530" y="167421"/>
                    <a:pt x="686400" y="46227"/>
                    <a:pt x="537496" y="46227"/>
                  </a:cubicBezTo>
                  <a:cubicBezTo>
                    <a:pt x="388591" y="46227"/>
                    <a:pt x="267398" y="167357"/>
                    <a:pt x="267398" y="316325"/>
                  </a:cubicBezTo>
                  <a:cubicBezTo>
                    <a:pt x="267398" y="422796"/>
                    <a:pt x="330406" y="519622"/>
                    <a:pt x="427875" y="562956"/>
                  </a:cubicBezTo>
                  <a:cubicBezTo>
                    <a:pt x="437005" y="567007"/>
                    <a:pt x="442405" y="576393"/>
                    <a:pt x="441505" y="586295"/>
                  </a:cubicBezTo>
                  <a:cubicBezTo>
                    <a:pt x="440605" y="596132"/>
                    <a:pt x="433468" y="604361"/>
                    <a:pt x="423824" y="606612"/>
                  </a:cubicBezTo>
                  <a:cubicBezTo>
                    <a:pt x="201497" y="659332"/>
                    <a:pt x="46291" y="855557"/>
                    <a:pt x="46291" y="1083928"/>
                  </a:cubicBezTo>
                  <a:lnTo>
                    <a:pt x="46291" y="1566132"/>
                  </a:lnTo>
                  <a:lnTo>
                    <a:pt x="0" y="1566132"/>
                  </a:lnTo>
                  <a:lnTo>
                    <a:pt x="0" y="1083928"/>
                  </a:lnTo>
                  <a:cubicBezTo>
                    <a:pt x="0" y="852985"/>
                    <a:pt x="145111" y="652003"/>
                    <a:pt x="359081" y="577358"/>
                  </a:cubicBezTo>
                  <a:cubicBezTo>
                    <a:pt x="273827" y="519043"/>
                    <a:pt x="221171" y="421703"/>
                    <a:pt x="221171" y="316325"/>
                  </a:cubicBezTo>
                  <a:cubicBezTo>
                    <a:pt x="221171" y="141896"/>
                    <a:pt x="363067" y="0"/>
                    <a:pt x="537496" y="0"/>
                  </a:cubicBezTo>
                  <a:cubicBezTo>
                    <a:pt x="711925" y="0"/>
                    <a:pt x="853821" y="141896"/>
                    <a:pt x="853821" y="316325"/>
                  </a:cubicBezTo>
                  <a:cubicBezTo>
                    <a:pt x="853821" y="343457"/>
                    <a:pt x="850478" y="370075"/>
                    <a:pt x="843727" y="395857"/>
                  </a:cubicBezTo>
                  <a:cubicBezTo>
                    <a:pt x="894583" y="382676"/>
                    <a:pt x="951933" y="382676"/>
                    <a:pt x="1002725" y="395857"/>
                  </a:cubicBezTo>
                  <a:cubicBezTo>
                    <a:pt x="996039" y="370075"/>
                    <a:pt x="992631" y="343457"/>
                    <a:pt x="992631" y="316325"/>
                  </a:cubicBezTo>
                  <a:cubicBezTo>
                    <a:pt x="992631" y="141896"/>
                    <a:pt x="1134592" y="0"/>
                    <a:pt x="1309021" y="0"/>
                  </a:cubicBezTo>
                  <a:cubicBezTo>
                    <a:pt x="1483450" y="0"/>
                    <a:pt x="1625410" y="141896"/>
                    <a:pt x="1625410" y="316325"/>
                  </a:cubicBezTo>
                  <a:cubicBezTo>
                    <a:pt x="1625410" y="421767"/>
                    <a:pt x="1572689" y="519108"/>
                    <a:pt x="1487436" y="577422"/>
                  </a:cubicBezTo>
                  <a:cubicBezTo>
                    <a:pt x="1701470" y="652067"/>
                    <a:pt x="1846581" y="853050"/>
                    <a:pt x="1846581" y="1083993"/>
                  </a:cubicBezTo>
                  <a:lnTo>
                    <a:pt x="1846581" y="1566132"/>
                  </a:lnTo>
                  <a:lnTo>
                    <a:pt x="1800225" y="1566132"/>
                  </a:lnTo>
                  <a:lnTo>
                    <a:pt x="1800225" y="1083928"/>
                  </a:lnTo>
                  <a:cubicBezTo>
                    <a:pt x="1800225" y="855557"/>
                    <a:pt x="1645020" y="659332"/>
                    <a:pt x="1422692" y="606612"/>
                  </a:cubicBezTo>
                  <a:cubicBezTo>
                    <a:pt x="1413048" y="604297"/>
                    <a:pt x="1405911" y="596132"/>
                    <a:pt x="1405011" y="586295"/>
                  </a:cubicBezTo>
                  <a:cubicBezTo>
                    <a:pt x="1404047" y="576393"/>
                    <a:pt x="1409576" y="567007"/>
                    <a:pt x="1418642" y="562956"/>
                  </a:cubicBezTo>
                  <a:cubicBezTo>
                    <a:pt x="1516111" y="519558"/>
                    <a:pt x="1579055" y="422731"/>
                    <a:pt x="1579055" y="316325"/>
                  </a:cubicBezTo>
                  <a:cubicBezTo>
                    <a:pt x="1579055" y="167421"/>
                    <a:pt x="1457925" y="46227"/>
                    <a:pt x="1309021" y="46227"/>
                  </a:cubicBezTo>
                  <a:cubicBezTo>
                    <a:pt x="1160116" y="46227"/>
                    <a:pt x="1038987" y="167357"/>
                    <a:pt x="1038987" y="316325"/>
                  </a:cubicBezTo>
                  <a:cubicBezTo>
                    <a:pt x="1038987" y="350787"/>
                    <a:pt x="1045352" y="384219"/>
                    <a:pt x="1057954" y="415852"/>
                  </a:cubicBezTo>
                  <a:cubicBezTo>
                    <a:pt x="1165260" y="466580"/>
                    <a:pt x="1239648" y="575815"/>
                    <a:pt x="1239648" y="702088"/>
                  </a:cubicBezTo>
                  <a:cubicBezTo>
                    <a:pt x="1239648" y="807530"/>
                    <a:pt x="1186927" y="904870"/>
                    <a:pt x="1101673" y="963185"/>
                  </a:cubicBezTo>
                  <a:cubicBezTo>
                    <a:pt x="1315707" y="1037830"/>
                    <a:pt x="1460818" y="1238812"/>
                    <a:pt x="1460818" y="1469755"/>
                  </a:cubicBezTo>
                  <a:lnTo>
                    <a:pt x="1460754" y="1951894"/>
                  </a:lnTo>
                  <a:lnTo>
                    <a:pt x="1460754" y="1951894"/>
                  </a:lnTo>
                  <a:close/>
                </a:path>
              </a:pathLst>
            </a:custGeom>
            <a:solidFill>
              <a:srgbClr val="0F62FE"/>
            </a:solidFill>
            <a:ln w="64294" cap="flat">
              <a:noFill/>
              <a:prstDash val="solid"/>
              <a:miter/>
            </a:ln>
          </p:spPr>
          <p:txBody>
            <a:bodyPr rtlCol="0" anchor="ctr"/>
            <a:lstStyle/>
            <a:p>
              <a:endParaRPr lang="en-US"/>
            </a:p>
          </p:txBody>
        </p:sp>
      </p:grpSp>
      <p:pic>
        <p:nvPicPr>
          <p:cNvPr id="23" name="Picture 8" descr="Company Logos - Salesforce News">
            <a:extLst>
              <a:ext uri="{FF2B5EF4-FFF2-40B4-BE49-F238E27FC236}">
                <a16:creationId xmlns:a16="http://schemas.microsoft.com/office/drawing/2014/main" id="{ECE727A5-001B-48DD-F906-31CE4445D13B}"/>
              </a:ext>
            </a:extLst>
          </p:cNvPr>
          <p:cNvPicPr>
            <a:picLocks noChangeAspect="1" noChangeArrowheads="1"/>
          </p:cNvPicPr>
          <p:nvPr/>
        </p:nvPicPr>
        <p:blipFill rotWithShape="1">
          <a:blip r:embed="rId4" cstate="screen">
            <a:duotone>
              <a:schemeClr val="bg2">
                <a:shade val="45000"/>
                <a:satMod val="135000"/>
              </a:schemeClr>
              <a:prstClr val="white"/>
            </a:duotone>
            <a:extLst>
              <a:ext uri="{28A0092B-C50C-407E-A947-70E740481C1C}">
                <a14:useLocalDpi xmlns:a14="http://schemas.microsoft.com/office/drawing/2010/main"/>
              </a:ext>
            </a:extLst>
          </a:blip>
          <a:srcRect l="22450" t="16833" r="24500" b="15178"/>
          <a:stretch/>
        </p:blipFill>
        <p:spPr bwMode="auto">
          <a:xfrm>
            <a:off x="10813081" y="11006658"/>
            <a:ext cx="2761011" cy="198154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30E117CA-E6E4-6E25-86A2-E65B680A99E1}"/>
              </a:ext>
            </a:extLst>
          </p:cNvPr>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732759" y="2728286"/>
            <a:ext cx="2921653" cy="113305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reating a More Human Workplace | Workhuman |Workhuman">
            <a:extLst>
              <a:ext uri="{FF2B5EF4-FFF2-40B4-BE49-F238E27FC236}">
                <a16:creationId xmlns:a16="http://schemas.microsoft.com/office/drawing/2014/main" id="{749BC61B-BF0A-1A01-7799-5AC8029C3760}"/>
              </a:ext>
            </a:extLst>
          </p:cNvPr>
          <p:cNvPicPr>
            <a:picLocks noChangeAspect="1" noChangeArrowheads="1"/>
          </p:cNvPicPr>
          <p:nvPr/>
        </p:nvPicPr>
        <p:blipFill rotWithShape="1">
          <a:blip r:embed="rId6" cstate="screen">
            <a:duotone>
              <a:schemeClr val="bg2">
                <a:shade val="45000"/>
                <a:satMod val="135000"/>
              </a:schemeClr>
              <a:prstClr val="white"/>
            </a:duotone>
            <a:extLst>
              <a:ext uri="{28A0092B-C50C-407E-A947-70E740481C1C}">
                <a14:useLocalDpi xmlns:a14="http://schemas.microsoft.com/office/drawing/2010/main"/>
              </a:ext>
            </a:extLst>
          </a:blip>
          <a:srcRect t="4933" b="25000"/>
          <a:stretch/>
        </p:blipFill>
        <p:spPr bwMode="auto">
          <a:xfrm>
            <a:off x="5291796" y="6865403"/>
            <a:ext cx="3188731" cy="72584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 descr="Betterworks - Betterworks">
            <a:extLst>
              <a:ext uri="{FF2B5EF4-FFF2-40B4-BE49-F238E27FC236}">
                <a16:creationId xmlns:a16="http://schemas.microsoft.com/office/drawing/2014/main" id="{22AF546F-C198-37AE-E037-BE37074E9AA0}"/>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609467" y="5063755"/>
            <a:ext cx="4279456" cy="112617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2" descr="Kronos Workforce Ready Review | PCMag">
            <a:extLst>
              <a:ext uri="{FF2B5EF4-FFF2-40B4-BE49-F238E27FC236}">
                <a16:creationId xmlns:a16="http://schemas.microsoft.com/office/drawing/2014/main" id="{A0ABDB39-5C17-75F1-E6B2-EE1D2065F679}"/>
              </a:ext>
            </a:extLst>
          </p:cNvPr>
          <p:cNvPicPr>
            <a:picLocks noChangeAspect="1" noChangeArrowheads="1"/>
          </p:cNvPicPr>
          <p:nvPr/>
        </p:nvPicPr>
        <p:blipFill rotWithShape="1">
          <a:blip r:embed="rId8" cstate="screen">
            <a:duotone>
              <a:schemeClr val="bg2">
                <a:shade val="45000"/>
                <a:satMod val="135000"/>
              </a:schemeClr>
              <a:prstClr val="white"/>
            </a:duotone>
            <a:extLst>
              <a:ext uri="{28A0092B-C50C-407E-A947-70E740481C1C}">
                <a14:useLocalDpi xmlns:a14="http://schemas.microsoft.com/office/drawing/2010/main"/>
              </a:ext>
            </a:extLst>
          </a:blip>
          <a:srcRect t="32574" b="28274"/>
          <a:stretch/>
        </p:blipFill>
        <p:spPr bwMode="auto">
          <a:xfrm>
            <a:off x="19427977" y="4848686"/>
            <a:ext cx="3220851" cy="70854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Servicenow Logo Vector (SVG, PDF, Ai, EPS, CDR) Free Download - Logowik.com">
            <a:extLst>
              <a:ext uri="{FF2B5EF4-FFF2-40B4-BE49-F238E27FC236}">
                <a16:creationId xmlns:a16="http://schemas.microsoft.com/office/drawing/2014/main" id="{6C0F7ED3-BDC3-72FF-1475-E4456FBA8B11}"/>
              </a:ext>
            </a:extLst>
          </p:cNvPr>
          <p:cNvPicPr>
            <a:picLocks noChangeAspect="1" noChangeArrowheads="1"/>
          </p:cNvPicPr>
          <p:nvPr/>
        </p:nvPicPr>
        <p:blipFill rotWithShape="1">
          <a:blip r:embed="rId9" cstate="screen">
            <a:duotone>
              <a:schemeClr val="bg2">
                <a:shade val="45000"/>
                <a:satMod val="135000"/>
              </a:schemeClr>
              <a:prstClr val="white"/>
            </a:duotone>
            <a:extLst>
              <a:ext uri="{28A0092B-C50C-407E-A947-70E740481C1C}">
                <a14:useLocalDpi xmlns:a14="http://schemas.microsoft.com/office/drawing/2010/main"/>
              </a:ext>
            </a:extLst>
          </a:blip>
          <a:srcRect t="39056" b="37438"/>
          <a:stretch/>
        </p:blipFill>
        <p:spPr bwMode="auto">
          <a:xfrm>
            <a:off x="18937218" y="11198403"/>
            <a:ext cx="4538268" cy="79902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Ultimate Software | Brand Guidelines">
            <a:extLst>
              <a:ext uri="{FF2B5EF4-FFF2-40B4-BE49-F238E27FC236}">
                <a16:creationId xmlns:a16="http://schemas.microsoft.com/office/drawing/2014/main" id="{1AABF081-8AA2-A3FA-C9B5-6582F6C417D6}"/>
              </a:ext>
            </a:extLst>
          </p:cNvPr>
          <p:cNvPicPr>
            <a:picLocks noChangeAspect="1" noChangeArrowheads="1"/>
          </p:cNvPicPr>
          <p:nvPr/>
        </p:nvPicPr>
        <p:blipFill rotWithShape="1">
          <a:blip r:embed="rId10" cstate="hqprint">
            <a:duotone>
              <a:schemeClr val="bg2">
                <a:shade val="45000"/>
                <a:satMod val="135000"/>
              </a:schemeClr>
              <a:prstClr val="white"/>
            </a:duotone>
            <a:extLst>
              <a:ext uri="{28A0092B-C50C-407E-A947-70E740481C1C}">
                <a14:useLocalDpi xmlns:a14="http://schemas.microsoft.com/office/drawing/2010/main"/>
              </a:ext>
            </a:extLst>
          </a:blip>
          <a:srcRect b="22082"/>
          <a:stretch/>
        </p:blipFill>
        <p:spPr bwMode="auto">
          <a:xfrm>
            <a:off x="16389322" y="6913070"/>
            <a:ext cx="2510744" cy="73029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a:extLst>
              <a:ext uri="{FF2B5EF4-FFF2-40B4-BE49-F238E27FC236}">
                <a16:creationId xmlns:a16="http://schemas.microsoft.com/office/drawing/2014/main" id="{FEF5261E-B7CD-BE74-A5B9-E6B5B1D8FFCD}"/>
              </a:ext>
            </a:extLst>
          </p:cNvPr>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112755" y="9775854"/>
            <a:ext cx="3843517" cy="2132451"/>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58C7DEA3-53A8-981A-C032-67A56439651F}"/>
              </a:ext>
            </a:extLst>
          </p:cNvPr>
          <p:cNvSpPr txBox="1"/>
          <p:nvPr/>
        </p:nvSpPr>
        <p:spPr>
          <a:xfrm>
            <a:off x="6087785" y="9646484"/>
            <a:ext cx="4342184" cy="819752"/>
          </a:xfrm>
          <a:prstGeom prst="rect">
            <a:avLst/>
          </a:prstGeom>
        </p:spPr>
        <p:txBody>
          <a:bodyPr wrap="square" lIns="0" tIns="0" rIns="0" bIns="0" rtlCol="0" anchor="ctr" anchorCtr="0">
            <a:noAutofit/>
          </a:bodyPr>
          <a:lstStyle/>
          <a:p>
            <a:pPr marL="0" marR="0" lvl="0" indent="0" algn="ctr" defTabSz="1829311" rtl="0" eaLnBrk="1" fontAlgn="auto" latinLnBrk="0" hangingPunct="1">
              <a:lnSpc>
                <a:spcPct val="105000"/>
              </a:lnSpc>
              <a:spcBef>
                <a:spcPts val="2667"/>
              </a:spcBef>
              <a:spcAft>
                <a:spcPts val="0"/>
              </a:spcAft>
              <a:buClrTx/>
              <a:buSzTx/>
              <a:buFontTx/>
              <a:buNone/>
              <a:tabLst/>
              <a:defRPr/>
            </a:pPr>
            <a:r>
              <a:rPr kumimoji="0" lang="en-US" b="0" i="0" u="none" strike="noStrike" kern="1200" cap="none" spc="0" normalizeH="0" baseline="0" noProof="0" dirty="0">
                <a:ln>
                  <a:noFill/>
                </a:ln>
                <a:solidFill>
                  <a:srgbClr val="FFFFFF">
                    <a:lumMod val="65000"/>
                  </a:srgbClr>
                </a:solidFill>
                <a:effectLst/>
                <a:uLnTx/>
                <a:uFillTx/>
                <a:ea typeface="IBM Plex Sans" charset="0"/>
                <a:cs typeface="IBM Plex Sans" charset="0"/>
              </a:rPr>
              <a:t>company intranet</a:t>
            </a:r>
          </a:p>
        </p:txBody>
      </p:sp>
      <p:pic>
        <p:nvPicPr>
          <p:cNvPr id="24" name="Picture 10" descr="Google Analytics Developer Branding Guidelines &amp; Policies">
            <a:extLst>
              <a:ext uri="{FF2B5EF4-FFF2-40B4-BE49-F238E27FC236}">
                <a16:creationId xmlns:a16="http://schemas.microsoft.com/office/drawing/2014/main" id="{869B830D-57D8-D9CC-A6DA-B1077D7654F3}"/>
              </a:ext>
            </a:extLst>
          </p:cNvPr>
          <p:cNvPicPr>
            <a:picLocks noChangeAspect="1" noChangeArrowheads="1"/>
          </p:cNvPicPr>
          <p:nvPr/>
        </p:nvPicPr>
        <p:blipFill rotWithShape="1">
          <a:blip r:embed="rId12" cstate="screen">
            <a:duotone>
              <a:schemeClr val="bg2">
                <a:shade val="45000"/>
                <a:satMod val="135000"/>
              </a:schemeClr>
              <a:prstClr val="white"/>
            </a:duotone>
            <a:extLst>
              <a:ext uri="{28A0092B-C50C-407E-A947-70E740481C1C}">
                <a14:useLocalDpi xmlns:a14="http://schemas.microsoft.com/office/drawing/2010/main"/>
              </a:ext>
            </a:extLst>
          </a:blip>
          <a:srcRect l="4419" t="25875" r="8081" b="22655"/>
          <a:stretch/>
        </p:blipFill>
        <p:spPr bwMode="auto">
          <a:xfrm>
            <a:off x="4545381" y="12053129"/>
            <a:ext cx="5108029" cy="96361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2">
            <a:extLst>
              <a:ext uri="{FF2B5EF4-FFF2-40B4-BE49-F238E27FC236}">
                <a16:creationId xmlns:a16="http://schemas.microsoft.com/office/drawing/2014/main" id="{8893BCCA-EAA8-05A5-53B7-7FB00DC02017}"/>
              </a:ext>
            </a:extLst>
          </p:cNvPr>
          <p:cNvPicPr>
            <a:picLocks noChangeAspect="1" noChangeArrowheads="1"/>
          </p:cNvPicPr>
          <p:nvPr/>
        </p:nvPicPr>
        <p:blipFill rotWithShape="1">
          <a:blip r:embed="rId13" cstate="screen">
            <a:duotone>
              <a:schemeClr val="bg2">
                <a:shade val="45000"/>
                <a:satMod val="135000"/>
              </a:schemeClr>
              <a:prstClr val="white"/>
            </a:duotone>
            <a:extLst>
              <a:ext uri="{28A0092B-C50C-407E-A947-70E740481C1C}">
                <a14:useLocalDpi xmlns:a14="http://schemas.microsoft.com/office/drawing/2010/main"/>
              </a:ext>
            </a:extLst>
          </a:blip>
          <a:srcRect t="25244" b="26856"/>
          <a:stretch/>
        </p:blipFill>
        <p:spPr bwMode="auto">
          <a:xfrm>
            <a:off x="15131866" y="12263324"/>
            <a:ext cx="2834949" cy="753423"/>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4" descr="Brand Identity — Zendesk Brandland">
            <a:extLst>
              <a:ext uri="{FF2B5EF4-FFF2-40B4-BE49-F238E27FC236}">
                <a16:creationId xmlns:a16="http://schemas.microsoft.com/office/drawing/2014/main" id="{FCDE3660-2664-5FD9-6D9E-81033D3C1A57}"/>
              </a:ext>
            </a:extLst>
          </p:cNvPr>
          <p:cNvPicPr>
            <a:picLocks noChangeAspect="1" noChangeArrowheads="1"/>
          </p:cNvPicPr>
          <p:nvPr/>
        </p:nvPicPr>
        <p:blipFill>
          <a:blip r:embed="rId14">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279360" y="3926495"/>
            <a:ext cx="4098897" cy="763136"/>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862FD8EE-3842-5E6D-EC88-97415C3D0AA0}"/>
              </a:ext>
            </a:extLst>
          </p:cNvPr>
          <p:cNvSpPr txBox="1"/>
          <p:nvPr/>
        </p:nvSpPr>
        <p:spPr>
          <a:xfrm>
            <a:off x="19954949" y="7239608"/>
            <a:ext cx="3544414" cy="1202605"/>
          </a:xfrm>
          <a:prstGeom prst="rect">
            <a:avLst/>
          </a:prstGeom>
        </p:spPr>
        <p:txBody>
          <a:bodyPr wrap="square" lIns="0" tIns="0" rIns="0" bIns="0" rtlCol="0" anchor="ctr" anchorCtr="0">
            <a:noAutofit/>
          </a:bodyPr>
          <a:lstStyle/>
          <a:p>
            <a:pPr marL="0" marR="0" lvl="0" indent="0" algn="ctr" defTabSz="1829311" rtl="0" eaLnBrk="1" fontAlgn="auto" latinLnBrk="0" hangingPunct="1">
              <a:lnSpc>
                <a:spcPct val="105000"/>
              </a:lnSpc>
              <a:spcBef>
                <a:spcPts val="2667"/>
              </a:spcBef>
              <a:spcAft>
                <a:spcPts val="0"/>
              </a:spcAft>
              <a:buClrTx/>
              <a:buSzTx/>
              <a:buFontTx/>
              <a:buNone/>
              <a:tabLst/>
              <a:defRPr/>
            </a:pPr>
            <a:r>
              <a:rPr kumimoji="0" lang="en-US" b="0" i="0" u="none" strike="noStrike" kern="1200" cap="none" spc="0" normalizeH="0" baseline="0" noProof="0" dirty="0">
                <a:ln>
                  <a:noFill/>
                </a:ln>
                <a:solidFill>
                  <a:srgbClr val="FFFFFF">
                    <a:lumMod val="65000"/>
                  </a:srgbClr>
                </a:solidFill>
                <a:effectLst/>
                <a:uLnTx/>
                <a:uFillTx/>
                <a:ea typeface="IBM Plex Sans" charset="0"/>
                <a:cs typeface="IBM Plex Sans" charset="0"/>
              </a:rPr>
              <a:t>Company apps</a:t>
            </a:r>
          </a:p>
        </p:txBody>
      </p:sp>
      <p:pic>
        <p:nvPicPr>
          <p:cNvPr id="29" name="Picture 18" descr="ClearCompany – TazWorks">
            <a:extLst>
              <a:ext uri="{FF2B5EF4-FFF2-40B4-BE49-F238E27FC236}">
                <a16:creationId xmlns:a16="http://schemas.microsoft.com/office/drawing/2014/main" id="{EE00763C-F50E-58F5-3EDE-80E11089C187}"/>
              </a:ext>
            </a:extLst>
          </p:cNvPr>
          <p:cNvPicPr>
            <a:picLocks noChangeAspect="1" noChangeArrowheads="1"/>
          </p:cNvPicPr>
          <p:nvPr/>
        </p:nvPicPr>
        <p:blipFill rotWithShape="1">
          <a:blip r:embed="rId15" cstate="screen">
            <a:duotone>
              <a:schemeClr val="bg2">
                <a:shade val="45000"/>
                <a:satMod val="135000"/>
              </a:schemeClr>
              <a:prstClr val="white"/>
            </a:duotone>
            <a:extLst>
              <a:ext uri="{28A0092B-C50C-407E-A947-70E740481C1C}">
                <a14:useLocalDpi xmlns:a14="http://schemas.microsoft.com/office/drawing/2010/main"/>
              </a:ext>
            </a:extLst>
          </a:blip>
          <a:srcRect t="22075" b="23854"/>
          <a:stretch/>
        </p:blipFill>
        <p:spPr bwMode="auto">
          <a:xfrm>
            <a:off x="1366157" y="8063640"/>
            <a:ext cx="4144883" cy="1120600"/>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a:extLst>
              <a:ext uri="{FF2B5EF4-FFF2-40B4-BE49-F238E27FC236}">
                <a16:creationId xmlns:a16="http://schemas.microsoft.com/office/drawing/2014/main" id="{59DA00F9-754F-FB2D-D28D-9EC0D882F7DA}"/>
              </a:ext>
            </a:extLst>
          </p:cNvPr>
          <p:cNvGrpSpPr/>
          <p:nvPr/>
        </p:nvGrpSpPr>
        <p:grpSpPr>
          <a:xfrm>
            <a:off x="14945420" y="4094031"/>
            <a:ext cx="2726098" cy="1031002"/>
            <a:chOff x="16583057" y="4514431"/>
            <a:chExt cx="2726098" cy="1031002"/>
          </a:xfrm>
        </p:grpSpPr>
        <p:pic>
          <p:nvPicPr>
            <p:cNvPr id="38" name="Picture 16" descr="GEP | Supply and Demand Chain Executive">
              <a:extLst>
                <a:ext uri="{FF2B5EF4-FFF2-40B4-BE49-F238E27FC236}">
                  <a16:creationId xmlns:a16="http://schemas.microsoft.com/office/drawing/2014/main" id="{74946F59-BCFD-AC36-FA03-03227A8174FA}"/>
                </a:ext>
              </a:extLst>
            </p:cNvPr>
            <p:cNvPicPr>
              <a:picLocks noChangeAspect="1" noChangeArrowheads="1"/>
            </p:cNvPicPr>
            <p:nvPr/>
          </p:nvPicPr>
          <p:blipFill>
            <a:blip r:embed="rId16">
              <a:lum bright="70000" contrast="-70000"/>
              <a:extLst>
                <a:ext uri="{BEBA8EAE-BF5A-486C-A8C5-ECC9F3942E4B}">
                  <a14:imgProps xmlns:a14="http://schemas.microsoft.com/office/drawing/2010/main">
                    <a14:imgLayer r:embed="rId1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6704478" y="4732375"/>
              <a:ext cx="2483257" cy="595115"/>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D5FE7B69-A0BC-9ED6-60C4-ECABD79BEC22}"/>
                </a:ext>
              </a:extLst>
            </p:cNvPr>
            <p:cNvSpPr/>
            <p:nvPr/>
          </p:nvSpPr>
          <p:spPr>
            <a:xfrm>
              <a:off x="16583057" y="4514431"/>
              <a:ext cx="2726098" cy="1031002"/>
            </a:xfrm>
            <a:prstGeom prst="rect">
              <a:avLst/>
            </a:prstGeom>
            <a:solidFill>
              <a:schemeClr val="bg2">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t" anchorCtr="0" forceAA="0" compatLnSpc="1">
              <a:prstTxWarp prst="textNoShape">
                <a:avLst/>
              </a:prstTxWarp>
              <a:noAutofit/>
            </a:bodyPr>
            <a:lstStyle/>
            <a:p>
              <a:pPr marL="0" marR="0" lvl="0" indent="0" algn="l" defTabSz="1829311" rtl="0" eaLnBrk="1" fontAlgn="auto" latinLnBrk="0" hangingPunct="1">
                <a:lnSpc>
                  <a:spcPct val="100000"/>
                </a:lnSpc>
                <a:spcBef>
                  <a:spcPts val="0"/>
                </a:spcBef>
                <a:spcAft>
                  <a:spcPts val="0"/>
                </a:spcAft>
                <a:buClrTx/>
                <a:buSzTx/>
                <a:buFontTx/>
                <a:buNone/>
                <a:tabLst/>
                <a:defRPr/>
              </a:pPr>
              <a:endParaRPr kumimoji="0" lang="en-US" sz="5333" b="0" i="0" u="none" strike="noStrike" kern="1200" cap="none" spc="0" normalizeH="0" baseline="0" noProof="0" dirty="0">
                <a:ln>
                  <a:noFill/>
                </a:ln>
                <a:solidFill>
                  <a:srgbClr val="051243"/>
                </a:solidFill>
                <a:effectLst/>
                <a:uLnTx/>
                <a:uFillTx/>
                <a:ea typeface="+mn-ea"/>
                <a:cs typeface="+mn-cs"/>
              </a:endParaRPr>
            </a:p>
          </p:txBody>
        </p:sp>
      </p:grpSp>
      <p:cxnSp>
        <p:nvCxnSpPr>
          <p:cNvPr id="52" name="Straight Arrow Connector 51">
            <a:extLst>
              <a:ext uri="{FF2B5EF4-FFF2-40B4-BE49-F238E27FC236}">
                <a16:creationId xmlns:a16="http://schemas.microsoft.com/office/drawing/2014/main" id="{146496EF-FEC8-3474-EB50-025ADE975A6C}"/>
              </a:ext>
            </a:extLst>
          </p:cNvPr>
          <p:cNvCxnSpPr>
            <a:cxnSpLocks/>
          </p:cNvCxnSpPr>
          <p:nvPr/>
        </p:nvCxnSpPr>
        <p:spPr bwMode="auto">
          <a:xfrm flipV="1">
            <a:off x="12200745" y="5557675"/>
            <a:ext cx="2676923" cy="1738414"/>
          </a:xfrm>
          <a:prstGeom prst="straightConnector1">
            <a:avLst/>
          </a:prstGeom>
          <a:ln w="50800" cap="rnd">
            <a:solidFill>
              <a:schemeClr val="accent1"/>
            </a:solidFill>
            <a:prstDash val="sysDot"/>
            <a:headEnd type="none" w="med" len="med"/>
            <a:tailEnd type="arrow"/>
          </a:ln>
          <a:effectLst/>
        </p:spPr>
        <p:style>
          <a:lnRef idx="1">
            <a:schemeClr val="dk1"/>
          </a:lnRef>
          <a:fillRef idx="0">
            <a:schemeClr val="dk1"/>
          </a:fillRef>
          <a:effectRef idx="0">
            <a:schemeClr val="dk1"/>
          </a:effectRef>
          <a:fontRef idx="minor">
            <a:schemeClr val="tx1"/>
          </a:fontRef>
        </p:style>
      </p:cxnSp>
      <p:cxnSp>
        <p:nvCxnSpPr>
          <p:cNvPr id="44" name="Straight Arrow Connector 43">
            <a:extLst>
              <a:ext uri="{FF2B5EF4-FFF2-40B4-BE49-F238E27FC236}">
                <a16:creationId xmlns:a16="http://schemas.microsoft.com/office/drawing/2014/main" id="{2F820CAA-F987-D0BC-A5B9-26E0619F592E}"/>
              </a:ext>
            </a:extLst>
          </p:cNvPr>
          <p:cNvCxnSpPr>
            <a:cxnSpLocks/>
          </p:cNvCxnSpPr>
          <p:nvPr/>
        </p:nvCxnSpPr>
        <p:spPr bwMode="auto">
          <a:xfrm>
            <a:off x="12193587" y="7305387"/>
            <a:ext cx="0" cy="3160849"/>
          </a:xfrm>
          <a:prstGeom prst="straightConnector1">
            <a:avLst/>
          </a:prstGeom>
          <a:ln w="50800" cap="rnd">
            <a:solidFill>
              <a:schemeClr val="accent1"/>
            </a:solidFill>
            <a:prstDash val="sysDot"/>
            <a:headEnd type="none" w="med" len="med"/>
            <a:tailEnd type="arrow"/>
          </a:ln>
          <a:effectLst/>
        </p:spPr>
        <p:style>
          <a:lnRef idx="1">
            <a:schemeClr val="dk1"/>
          </a:lnRef>
          <a:fillRef idx="0">
            <a:schemeClr val="dk1"/>
          </a:fillRef>
          <a:effectRef idx="0">
            <a:schemeClr val="dk1"/>
          </a:effectRef>
          <a:fontRef idx="minor">
            <a:schemeClr val="tx1"/>
          </a:fontRef>
        </p:style>
      </p:cxnSp>
      <p:cxnSp>
        <p:nvCxnSpPr>
          <p:cNvPr id="58" name="Straight Arrow Connector 57">
            <a:extLst>
              <a:ext uri="{FF2B5EF4-FFF2-40B4-BE49-F238E27FC236}">
                <a16:creationId xmlns:a16="http://schemas.microsoft.com/office/drawing/2014/main" id="{7E7B585B-D9AC-4660-07DE-DB335B13BEF9}"/>
              </a:ext>
            </a:extLst>
          </p:cNvPr>
          <p:cNvCxnSpPr>
            <a:cxnSpLocks/>
          </p:cNvCxnSpPr>
          <p:nvPr/>
        </p:nvCxnSpPr>
        <p:spPr bwMode="auto">
          <a:xfrm flipH="1" flipV="1">
            <a:off x="12243003" y="7332829"/>
            <a:ext cx="2634665" cy="1710972"/>
          </a:xfrm>
          <a:prstGeom prst="straightConnector1">
            <a:avLst/>
          </a:prstGeom>
          <a:ln w="50800" cap="rnd">
            <a:solidFill>
              <a:schemeClr val="accent1"/>
            </a:solidFill>
            <a:prstDash val="sysDot"/>
            <a:headEnd type="arrow" w="med" len="med"/>
            <a:tailEnd type="none"/>
          </a:ln>
          <a:effectLst/>
        </p:spPr>
        <p:style>
          <a:lnRef idx="1">
            <a:schemeClr val="dk1"/>
          </a:lnRef>
          <a:fillRef idx="0">
            <a:schemeClr val="dk1"/>
          </a:fillRef>
          <a:effectRef idx="0">
            <a:schemeClr val="dk1"/>
          </a:effectRef>
          <a:fontRef idx="minor">
            <a:schemeClr val="tx1"/>
          </a:fontRef>
        </p:style>
      </p:cxnSp>
      <p:cxnSp>
        <p:nvCxnSpPr>
          <p:cNvPr id="60" name="Straight Arrow Connector 59">
            <a:extLst>
              <a:ext uri="{FF2B5EF4-FFF2-40B4-BE49-F238E27FC236}">
                <a16:creationId xmlns:a16="http://schemas.microsoft.com/office/drawing/2014/main" id="{087EC7D9-8F7D-D75F-2669-0DB1437ED616}"/>
              </a:ext>
            </a:extLst>
          </p:cNvPr>
          <p:cNvCxnSpPr>
            <a:cxnSpLocks/>
          </p:cNvCxnSpPr>
          <p:nvPr/>
        </p:nvCxnSpPr>
        <p:spPr bwMode="auto">
          <a:xfrm flipV="1">
            <a:off x="9502347" y="7296089"/>
            <a:ext cx="2691240" cy="1747712"/>
          </a:xfrm>
          <a:prstGeom prst="straightConnector1">
            <a:avLst/>
          </a:prstGeom>
          <a:ln w="50800" cap="rnd">
            <a:solidFill>
              <a:schemeClr val="accent1"/>
            </a:solidFill>
            <a:prstDash val="sysDot"/>
            <a:headEnd type="arrow" w="med" len="med"/>
            <a:tailEnd type="none"/>
          </a:ln>
          <a:effectLst/>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9772CCD1-68E9-728B-9D9B-9002D0AD674A}"/>
              </a:ext>
            </a:extLst>
          </p:cNvPr>
          <p:cNvCxnSpPr>
            <a:cxnSpLocks/>
          </p:cNvCxnSpPr>
          <p:nvPr/>
        </p:nvCxnSpPr>
        <p:spPr bwMode="auto">
          <a:xfrm>
            <a:off x="12193587" y="4065436"/>
            <a:ext cx="0" cy="3239951"/>
          </a:xfrm>
          <a:prstGeom prst="straightConnector1">
            <a:avLst/>
          </a:prstGeom>
          <a:ln w="50800" cap="rnd">
            <a:solidFill>
              <a:schemeClr val="accent1"/>
            </a:solidFill>
            <a:prstDash val="sysDot"/>
            <a:headEnd type="arrow" w="med" len="med"/>
            <a:tailEnd type="none"/>
          </a:ln>
          <a:effectLst/>
        </p:spPr>
        <p:style>
          <a:lnRef idx="1">
            <a:schemeClr val="dk1"/>
          </a:lnRef>
          <a:fillRef idx="0">
            <a:schemeClr val="dk1"/>
          </a:fillRef>
          <a:effectRef idx="0">
            <a:schemeClr val="dk1"/>
          </a:effectRef>
          <a:fontRef idx="minor">
            <a:schemeClr val="tx1"/>
          </a:fontRef>
        </p:style>
      </p:cxnSp>
      <p:cxnSp>
        <p:nvCxnSpPr>
          <p:cNvPr id="62" name="Straight Arrow Connector 61">
            <a:extLst>
              <a:ext uri="{FF2B5EF4-FFF2-40B4-BE49-F238E27FC236}">
                <a16:creationId xmlns:a16="http://schemas.microsoft.com/office/drawing/2014/main" id="{17095458-708F-1676-D046-B5012AA28441}"/>
              </a:ext>
            </a:extLst>
          </p:cNvPr>
          <p:cNvCxnSpPr>
            <a:cxnSpLocks/>
          </p:cNvCxnSpPr>
          <p:nvPr/>
        </p:nvCxnSpPr>
        <p:spPr bwMode="auto">
          <a:xfrm flipH="1" flipV="1">
            <a:off x="9502347" y="5557675"/>
            <a:ext cx="2691240" cy="1747712"/>
          </a:xfrm>
          <a:prstGeom prst="straightConnector1">
            <a:avLst/>
          </a:prstGeom>
          <a:ln w="50800" cap="rnd">
            <a:solidFill>
              <a:schemeClr val="accent1"/>
            </a:solidFill>
            <a:prstDash val="sysDot"/>
            <a:headEnd type="none" w="med" len="med"/>
            <a:tailEnd type="arrow"/>
          </a:ln>
          <a:effectLst/>
        </p:spPr>
        <p:style>
          <a:lnRef idx="1">
            <a:schemeClr val="dk1"/>
          </a:lnRef>
          <a:fillRef idx="0">
            <a:schemeClr val="dk1"/>
          </a:fillRef>
          <a:effectRef idx="0">
            <a:schemeClr val="dk1"/>
          </a:effectRef>
          <a:fontRef idx="minor">
            <a:schemeClr val="tx1"/>
          </a:fontRef>
        </p:style>
      </p:cxnSp>
      <p:grpSp>
        <p:nvGrpSpPr>
          <p:cNvPr id="33" name="Group 32">
            <a:extLst>
              <a:ext uri="{FF2B5EF4-FFF2-40B4-BE49-F238E27FC236}">
                <a16:creationId xmlns:a16="http://schemas.microsoft.com/office/drawing/2014/main" id="{D157D8DF-24C6-5AAF-E50B-9B0DB4777B0D}"/>
              </a:ext>
            </a:extLst>
          </p:cNvPr>
          <p:cNvGrpSpPr/>
          <p:nvPr/>
        </p:nvGrpSpPr>
        <p:grpSpPr>
          <a:xfrm>
            <a:off x="10273347" y="5087840"/>
            <a:ext cx="3840480" cy="4454703"/>
            <a:chOff x="10273348" y="2693563"/>
            <a:chExt cx="3840480" cy="4454703"/>
          </a:xfrm>
        </p:grpSpPr>
        <p:sp>
          <p:nvSpPr>
            <p:cNvPr id="20" name="Hexagon 19">
              <a:extLst>
                <a:ext uri="{FF2B5EF4-FFF2-40B4-BE49-F238E27FC236}">
                  <a16:creationId xmlns:a16="http://schemas.microsoft.com/office/drawing/2014/main" id="{7E5798F5-F578-7EB0-60ED-E54E66F7B0ED}"/>
                </a:ext>
              </a:extLst>
            </p:cNvPr>
            <p:cNvSpPr>
              <a:spLocks noChangeAspect="1"/>
            </p:cNvSpPr>
            <p:nvPr/>
          </p:nvSpPr>
          <p:spPr bwMode="auto">
            <a:xfrm rot="16200000">
              <a:off x="9966236" y="3000675"/>
              <a:ext cx="4454703" cy="3840480"/>
            </a:xfrm>
            <a:prstGeom prst="hexagon">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lang="en-US" sz="2800" dirty="0">
                <a:solidFill>
                  <a:schemeClr val="tx1"/>
                </a:solidFill>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lang="en-US" sz="2800" dirty="0">
                <a:solidFill>
                  <a:schemeClr val="tx1"/>
                </a:solidFill>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800" u="none" strike="noStrike" cap="none" normalizeH="0" baseline="0" dirty="0">
                  <a:ln>
                    <a:noFill/>
                  </a:ln>
                  <a:solidFill>
                    <a:schemeClr val="tx1"/>
                  </a:solidFill>
                  <a:effectLst/>
                </a:rPr>
                <a:t>Employees</a:t>
              </a:r>
            </a:p>
          </p:txBody>
        </p:sp>
        <p:sp>
          <p:nvSpPr>
            <p:cNvPr id="31" name="Freeform 30">
              <a:extLst>
                <a:ext uri="{FF2B5EF4-FFF2-40B4-BE49-F238E27FC236}">
                  <a16:creationId xmlns:a16="http://schemas.microsoft.com/office/drawing/2014/main" id="{A9379014-ACC2-990E-3A12-3653326052F8}"/>
                </a:ext>
              </a:extLst>
            </p:cNvPr>
            <p:cNvSpPr/>
            <p:nvPr/>
          </p:nvSpPr>
          <p:spPr>
            <a:xfrm>
              <a:off x="11270328" y="3565886"/>
              <a:ext cx="1846580" cy="1951893"/>
            </a:xfrm>
            <a:custGeom>
              <a:avLst/>
              <a:gdLst>
                <a:gd name="connsiteX0" fmla="*/ 1460754 w 1846580"/>
                <a:gd name="connsiteY0" fmla="*/ 1951894 h 1951893"/>
                <a:gd name="connsiteX1" fmla="*/ 1414463 w 1846580"/>
                <a:gd name="connsiteY1" fmla="*/ 1951894 h 1951893"/>
                <a:gd name="connsiteX2" fmla="*/ 1414463 w 1846580"/>
                <a:gd name="connsiteY2" fmla="*/ 1469691 h 1951893"/>
                <a:gd name="connsiteX3" fmla="*/ 1036930 w 1846580"/>
                <a:gd name="connsiteY3" fmla="*/ 992374 h 1951893"/>
                <a:gd name="connsiteX4" fmla="*/ 1019249 w 1846580"/>
                <a:gd name="connsiteY4" fmla="*/ 972057 h 1951893"/>
                <a:gd name="connsiteX5" fmla="*/ 1032879 w 1846580"/>
                <a:gd name="connsiteY5" fmla="*/ 948719 h 1951893"/>
                <a:gd name="connsiteX6" fmla="*/ 1193356 w 1846580"/>
                <a:gd name="connsiteY6" fmla="*/ 702088 h 1951893"/>
                <a:gd name="connsiteX7" fmla="*/ 923323 w 1846580"/>
                <a:gd name="connsiteY7" fmla="*/ 431990 h 1951893"/>
                <a:gd name="connsiteX8" fmla="*/ 653225 w 1846580"/>
                <a:gd name="connsiteY8" fmla="*/ 702088 h 1951893"/>
                <a:gd name="connsiteX9" fmla="*/ 813702 w 1846580"/>
                <a:gd name="connsiteY9" fmla="*/ 948719 h 1951893"/>
                <a:gd name="connsiteX10" fmla="*/ 827332 w 1846580"/>
                <a:gd name="connsiteY10" fmla="*/ 972057 h 1951893"/>
                <a:gd name="connsiteX11" fmla="*/ 809651 w 1846580"/>
                <a:gd name="connsiteY11" fmla="*/ 992374 h 1951893"/>
                <a:gd name="connsiteX12" fmla="*/ 432118 w 1846580"/>
                <a:gd name="connsiteY12" fmla="*/ 1469691 h 1951893"/>
                <a:gd name="connsiteX13" fmla="*/ 432118 w 1846580"/>
                <a:gd name="connsiteY13" fmla="*/ 1951894 h 1951893"/>
                <a:gd name="connsiteX14" fmla="*/ 385763 w 1846580"/>
                <a:gd name="connsiteY14" fmla="*/ 1951894 h 1951893"/>
                <a:gd name="connsiteX15" fmla="*/ 385763 w 1846580"/>
                <a:gd name="connsiteY15" fmla="*/ 1469691 h 1951893"/>
                <a:gd name="connsiteX16" fmla="*/ 744843 w 1846580"/>
                <a:gd name="connsiteY16" fmla="*/ 963120 h 1951893"/>
                <a:gd name="connsiteX17" fmla="*/ 606869 w 1846580"/>
                <a:gd name="connsiteY17" fmla="*/ 702024 h 1951893"/>
                <a:gd name="connsiteX18" fmla="*/ 788563 w 1846580"/>
                <a:gd name="connsiteY18" fmla="*/ 415788 h 1951893"/>
                <a:gd name="connsiteX19" fmla="*/ 807530 w 1846580"/>
                <a:gd name="connsiteY19" fmla="*/ 316325 h 1951893"/>
                <a:gd name="connsiteX20" fmla="*/ 537496 w 1846580"/>
                <a:gd name="connsiteY20" fmla="*/ 46227 h 1951893"/>
                <a:gd name="connsiteX21" fmla="*/ 267398 w 1846580"/>
                <a:gd name="connsiteY21" fmla="*/ 316325 h 1951893"/>
                <a:gd name="connsiteX22" fmla="*/ 427875 w 1846580"/>
                <a:gd name="connsiteY22" fmla="*/ 562956 h 1951893"/>
                <a:gd name="connsiteX23" fmla="*/ 441505 w 1846580"/>
                <a:gd name="connsiteY23" fmla="*/ 586295 h 1951893"/>
                <a:gd name="connsiteX24" fmla="*/ 423824 w 1846580"/>
                <a:gd name="connsiteY24" fmla="*/ 606612 h 1951893"/>
                <a:gd name="connsiteX25" fmla="*/ 46291 w 1846580"/>
                <a:gd name="connsiteY25" fmla="*/ 1083928 h 1951893"/>
                <a:gd name="connsiteX26" fmla="*/ 46291 w 1846580"/>
                <a:gd name="connsiteY26" fmla="*/ 1566132 h 1951893"/>
                <a:gd name="connsiteX27" fmla="*/ 0 w 1846580"/>
                <a:gd name="connsiteY27" fmla="*/ 1566132 h 1951893"/>
                <a:gd name="connsiteX28" fmla="*/ 0 w 1846580"/>
                <a:gd name="connsiteY28" fmla="*/ 1083928 h 1951893"/>
                <a:gd name="connsiteX29" fmla="*/ 359081 w 1846580"/>
                <a:gd name="connsiteY29" fmla="*/ 577358 h 1951893"/>
                <a:gd name="connsiteX30" fmla="*/ 221171 w 1846580"/>
                <a:gd name="connsiteY30" fmla="*/ 316325 h 1951893"/>
                <a:gd name="connsiteX31" fmla="*/ 537496 w 1846580"/>
                <a:gd name="connsiteY31" fmla="*/ 0 h 1951893"/>
                <a:gd name="connsiteX32" fmla="*/ 853821 w 1846580"/>
                <a:gd name="connsiteY32" fmla="*/ 316325 h 1951893"/>
                <a:gd name="connsiteX33" fmla="*/ 843727 w 1846580"/>
                <a:gd name="connsiteY33" fmla="*/ 395857 h 1951893"/>
                <a:gd name="connsiteX34" fmla="*/ 1002725 w 1846580"/>
                <a:gd name="connsiteY34" fmla="*/ 395857 h 1951893"/>
                <a:gd name="connsiteX35" fmla="*/ 992631 w 1846580"/>
                <a:gd name="connsiteY35" fmla="*/ 316325 h 1951893"/>
                <a:gd name="connsiteX36" fmla="*/ 1309021 w 1846580"/>
                <a:gd name="connsiteY36" fmla="*/ 0 h 1951893"/>
                <a:gd name="connsiteX37" fmla="*/ 1625410 w 1846580"/>
                <a:gd name="connsiteY37" fmla="*/ 316325 h 1951893"/>
                <a:gd name="connsiteX38" fmla="*/ 1487436 w 1846580"/>
                <a:gd name="connsiteY38" fmla="*/ 577422 h 1951893"/>
                <a:gd name="connsiteX39" fmla="*/ 1846581 w 1846580"/>
                <a:gd name="connsiteY39" fmla="*/ 1083993 h 1951893"/>
                <a:gd name="connsiteX40" fmla="*/ 1846581 w 1846580"/>
                <a:gd name="connsiteY40" fmla="*/ 1566132 h 1951893"/>
                <a:gd name="connsiteX41" fmla="*/ 1800225 w 1846580"/>
                <a:gd name="connsiteY41" fmla="*/ 1566132 h 1951893"/>
                <a:gd name="connsiteX42" fmla="*/ 1800225 w 1846580"/>
                <a:gd name="connsiteY42" fmla="*/ 1083928 h 1951893"/>
                <a:gd name="connsiteX43" fmla="*/ 1422692 w 1846580"/>
                <a:gd name="connsiteY43" fmla="*/ 606612 h 1951893"/>
                <a:gd name="connsiteX44" fmla="*/ 1405011 w 1846580"/>
                <a:gd name="connsiteY44" fmla="*/ 586295 h 1951893"/>
                <a:gd name="connsiteX45" fmla="*/ 1418642 w 1846580"/>
                <a:gd name="connsiteY45" fmla="*/ 562956 h 1951893"/>
                <a:gd name="connsiteX46" fmla="*/ 1579055 w 1846580"/>
                <a:gd name="connsiteY46" fmla="*/ 316325 h 1951893"/>
                <a:gd name="connsiteX47" fmla="*/ 1309021 w 1846580"/>
                <a:gd name="connsiteY47" fmla="*/ 46227 h 1951893"/>
                <a:gd name="connsiteX48" fmla="*/ 1038987 w 1846580"/>
                <a:gd name="connsiteY48" fmla="*/ 316325 h 1951893"/>
                <a:gd name="connsiteX49" fmla="*/ 1057954 w 1846580"/>
                <a:gd name="connsiteY49" fmla="*/ 415852 h 1951893"/>
                <a:gd name="connsiteX50" fmla="*/ 1239648 w 1846580"/>
                <a:gd name="connsiteY50" fmla="*/ 702088 h 1951893"/>
                <a:gd name="connsiteX51" fmla="*/ 1101673 w 1846580"/>
                <a:gd name="connsiteY51" fmla="*/ 963185 h 1951893"/>
                <a:gd name="connsiteX52" fmla="*/ 1460818 w 1846580"/>
                <a:gd name="connsiteY52" fmla="*/ 1469755 h 1951893"/>
                <a:gd name="connsiteX53" fmla="*/ 1460754 w 1846580"/>
                <a:gd name="connsiteY53" fmla="*/ 1951894 h 1951893"/>
                <a:gd name="connsiteX54" fmla="*/ 1460754 w 1846580"/>
                <a:gd name="connsiteY54" fmla="*/ 1951894 h 195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580" h="1951893">
                  <a:moveTo>
                    <a:pt x="1460754" y="1951894"/>
                  </a:moveTo>
                  <a:lnTo>
                    <a:pt x="1414463" y="1951894"/>
                  </a:lnTo>
                  <a:lnTo>
                    <a:pt x="1414463" y="1469691"/>
                  </a:lnTo>
                  <a:cubicBezTo>
                    <a:pt x="1414463" y="1241319"/>
                    <a:pt x="1259257" y="1045095"/>
                    <a:pt x="1036930" y="992374"/>
                  </a:cubicBezTo>
                  <a:cubicBezTo>
                    <a:pt x="1027286" y="990060"/>
                    <a:pt x="1020149" y="981894"/>
                    <a:pt x="1019249" y="972057"/>
                  </a:cubicBezTo>
                  <a:cubicBezTo>
                    <a:pt x="1018284" y="962156"/>
                    <a:pt x="1023814" y="952769"/>
                    <a:pt x="1032879" y="948719"/>
                  </a:cubicBezTo>
                  <a:cubicBezTo>
                    <a:pt x="1130413" y="905320"/>
                    <a:pt x="1193356" y="808494"/>
                    <a:pt x="1193356" y="702088"/>
                  </a:cubicBezTo>
                  <a:cubicBezTo>
                    <a:pt x="1193356" y="553183"/>
                    <a:pt x="1072227" y="431990"/>
                    <a:pt x="923323" y="431990"/>
                  </a:cubicBezTo>
                  <a:cubicBezTo>
                    <a:pt x="774418" y="431990"/>
                    <a:pt x="653225" y="553119"/>
                    <a:pt x="653225" y="702088"/>
                  </a:cubicBezTo>
                  <a:cubicBezTo>
                    <a:pt x="653225" y="808494"/>
                    <a:pt x="716232" y="905385"/>
                    <a:pt x="813702" y="948719"/>
                  </a:cubicBezTo>
                  <a:cubicBezTo>
                    <a:pt x="822767" y="952769"/>
                    <a:pt x="828296" y="962156"/>
                    <a:pt x="827332" y="972057"/>
                  </a:cubicBezTo>
                  <a:cubicBezTo>
                    <a:pt x="826432" y="981894"/>
                    <a:pt x="819295" y="990124"/>
                    <a:pt x="809651" y="992374"/>
                  </a:cubicBezTo>
                  <a:cubicBezTo>
                    <a:pt x="587323" y="1045095"/>
                    <a:pt x="432118" y="1241319"/>
                    <a:pt x="432118" y="1469691"/>
                  </a:cubicBezTo>
                  <a:lnTo>
                    <a:pt x="432118" y="1951894"/>
                  </a:lnTo>
                  <a:lnTo>
                    <a:pt x="385763" y="1951894"/>
                  </a:lnTo>
                  <a:lnTo>
                    <a:pt x="385763" y="1469691"/>
                  </a:lnTo>
                  <a:cubicBezTo>
                    <a:pt x="385763" y="1238748"/>
                    <a:pt x="530874" y="1037765"/>
                    <a:pt x="744843" y="963120"/>
                  </a:cubicBezTo>
                  <a:cubicBezTo>
                    <a:pt x="659590" y="904806"/>
                    <a:pt x="606869" y="807465"/>
                    <a:pt x="606869" y="702024"/>
                  </a:cubicBezTo>
                  <a:cubicBezTo>
                    <a:pt x="606869" y="575751"/>
                    <a:pt x="681257" y="466451"/>
                    <a:pt x="788563" y="415788"/>
                  </a:cubicBezTo>
                  <a:cubicBezTo>
                    <a:pt x="801164" y="384219"/>
                    <a:pt x="807530" y="350787"/>
                    <a:pt x="807530" y="316325"/>
                  </a:cubicBezTo>
                  <a:cubicBezTo>
                    <a:pt x="807530" y="167421"/>
                    <a:pt x="686400" y="46227"/>
                    <a:pt x="537496" y="46227"/>
                  </a:cubicBezTo>
                  <a:cubicBezTo>
                    <a:pt x="388591" y="46227"/>
                    <a:pt x="267398" y="167357"/>
                    <a:pt x="267398" y="316325"/>
                  </a:cubicBezTo>
                  <a:cubicBezTo>
                    <a:pt x="267398" y="422796"/>
                    <a:pt x="330406" y="519622"/>
                    <a:pt x="427875" y="562956"/>
                  </a:cubicBezTo>
                  <a:cubicBezTo>
                    <a:pt x="437005" y="567007"/>
                    <a:pt x="442405" y="576393"/>
                    <a:pt x="441505" y="586295"/>
                  </a:cubicBezTo>
                  <a:cubicBezTo>
                    <a:pt x="440605" y="596132"/>
                    <a:pt x="433468" y="604361"/>
                    <a:pt x="423824" y="606612"/>
                  </a:cubicBezTo>
                  <a:cubicBezTo>
                    <a:pt x="201497" y="659332"/>
                    <a:pt x="46291" y="855557"/>
                    <a:pt x="46291" y="1083928"/>
                  </a:cubicBezTo>
                  <a:lnTo>
                    <a:pt x="46291" y="1566132"/>
                  </a:lnTo>
                  <a:lnTo>
                    <a:pt x="0" y="1566132"/>
                  </a:lnTo>
                  <a:lnTo>
                    <a:pt x="0" y="1083928"/>
                  </a:lnTo>
                  <a:cubicBezTo>
                    <a:pt x="0" y="852985"/>
                    <a:pt x="145111" y="652003"/>
                    <a:pt x="359081" y="577358"/>
                  </a:cubicBezTo>
                  <a:cubicBezTo>
                    <a:pt x="273827" y="519043"/>
                    <a:pt x="221171" y="421703"/>
                    <a:pt x="221171" y="316325"/>
                  </a:cubicBezTo>
                  <a:cubicBezTo>
                    <a:pt x="221171" y="141896"/>
                    <a:pt x="363067" y="0"/>
                    <a:pt x="537496" y="0"/>
                  </a:cubicBezTo>
                  <a:cubicBezTo>
                    <a:pt x="711925" y="0"/>
                    <a:pt x="853821" y="141896"/>
                    <a:pt x="853821" y="316325"/>
                  </a:cubicBezTo>
                  <a:cubicBezTo>
                    <a:pt x="853821" y="343457"/>
                    <a:pt x="850478" y="370075"/>
                    <a:pt x="843727" y="395857"/>
                  </a:cubicBezTo>
                  <a:cubicBezTo>
                    <a:pt x="894583" y="382676"/>
                    <a:pt x="951933" y="382676"/>
                    <a:pt x="1002725" y="395857"/>
                  </a:cubicBezTo>
                  <a:cubicBezTo>
                    <a:pt x="996039" y="370075"/>
                    <a:pt x="992631" y="343457"/>
                    <a:pt x="992631" y="316325"/>
                  </a:cubicBezTo>
                  <a:cubicBezTo>
                    <a:pt x="992631" y="141896"/>
                    <a:pt x="1134592" y="0"/>
                    <a:pt x="1309021" y="0"/>
                  </a:cubicBezTo>
                  <a:cubicBezTo>
                    <a:pt x="1483450" y="0"/>
                    <a:pt x="1625410" y="141896"/>
                    <a:pt x="1625410" y="316325"/>
                  </a:cubicBezTo>
                  <a:cubicBezTo>
                    <a:pt x="1625410" y="421767"/>
                    <a:pt x="1572689" y="519108"/>
                    <a:pt x="1487436" y="577422"/>
                  </a:cubicBezTo>
                  <a:cubicBezTo>
                    <a:pt x="1701470" y="652067"/>
                    <a:pt x="1846581" y="853050"/>
                    <a:pt x="1846581" y="1083993"/>
                  </a:cubicBezTo>
                  <a:lnTo>
                    <a:pt x="1846581" y="1566132"/>
                  </a:lnTo>
                  <a:lnTo>
                    <a:pt x="1800225" y="1566132"/>
                  </a:lnTo>
                  <a:lnTo>
                    <a:pt x="1800225" y="1083928"/>
                  </a:lnTo>
                  <a:cubicBezTo>
                    <a:pt x="1800225" y="855557"/>
                    <a:pt x="1645020" y="659332"/>
                    <a:pt x="1422692" y="606612"/>
                  </a:cubicBezTo>
                  <a:cubicBezTo>
                    <a:pt x="1413048" y="604297"/>
                    <a:pt x="1405911" y="596132"/>
                    <a:pt x="1405011" y="586295"/>
                  </a:cubicBezTo>
                  <a:cubicBezTo>
                    <a:pt x="1404047" y="576393"/>
                    <a:pt x="1409576" y="567007"/>
                    <a:pt x="1418642" y="562956"/>
                  </a:cubicBezTo>
                  <a:cubicBezTo>
                    <a:pt x="1516111" y="519558"/>
                    <a:pt x="1579055" y="422731"/>
                    <a:pt x="1579055" y="316325"/>
                  </a:cubicBezTo>
                  <a:cubicBezTo>
                    <a:pt x="1579055" y="167421"/>
                    <a:pt x="1457925" y="46227"/>
                    <a:pt x="1309021" y="46227"/>
                  </a:cubicBezTo>
                  <a:cubicBezTo>
                    <a:pt x="1160116" y="46227"/>
                    <a:pt x="1038987" y="167357"/>
                    <a:pt x="1038987" y="316325"/>
                  </a:cubicBezTo>
                  <a:cubicBezTo>
                    <a:pt x="1038987" y="350787"/>
                    <a:pt x="1045352" y="384219"/>
                    <a:pt x="1057954" y="415852"/>
                  </a:cubicBezTo>
                  <a:cubicBezTo>
                    <a:pt x="1165260" y="466580"/>
                    <a:pt x="1239648" y="575815"/>
                    <a:pt x="1239648" y="702088"/>
                  </a:cubicBezTo>
                  <a:cubicBezTo>
                    <a:pt x="1239648" y="807530"/>
                    <a:pt x="1186927" y="904870"/>
                    <a:pt x="1101673" y="963185"/>
                  </a:cubicBezTo>
                  <a:cubicBezTo>
                    <a:pt x="1315707" y="1037830"/>
                    <a:pt x="1460818" y="1238812"/>
                    <a:pt x="1460818" y="1469755"/>
                  </a:cubicBezTo>
                  <a:lnTo>
                    <a:pt x="1460754" y="1951894"/>
                  </a:lnTo>
                  <a:lnTo>
                    <a:pt x="1460754" y="1951894"/>
                  </a:lnTo>
                  <a:close/>
                </a:path>
              </a:pathLst>
            </a:custGeom>
            <a:solidFill>
              <a:srgbClr val="0F62FE"/>
            </a:solidFill>
            <a:ln w="64294" cap="flat">
              <a:noFill/>
              <a:prstDash val="solid"/>
              <a:miter/>
            </a:ln>
          </p:spPr>
          <p:txBody>
            <a:bodyPr rtlCol="0" anchor="ctr"/>
            <a:lstStyle/>
            <a:p>
              <a:endParaRPr lang="en-US"/>
            </a:p>
          </p:txBody>
        </p:sp>
      </p:grpSp>
      <p:sp>
        <p:nvSpPr>
          <p:cNvPr id="5" name="Title 4">
            <a:extLst>
              <a:ext uri="{FF2B5EF4-FFF2-40B4-BE49-F238E27FC236}">
                <a16:creationId xmlns:a16="http://schemas.microsoft.com/office/drawing/2014/main" id="{46C5904F-9484-CC70-E5D2-840CFDA4CC3E}"/>
              </a:ext>
            </a:extLst>
          </p:cNvPr>
          <p:cNvSpPr>
            <a:spLocks noGrp="1"/>
          </p:cNvSpPr>
          <p:nvPr>
            <p:ph type="title"/>
          </p:nvPr>
        </p:nvSpPr>
        <p:spPr>
          <a:xfrm>
            <a:off x="576072" y="385200"/>
            <a:ext cx="23282811" cy="2706074"/>
          </a:xfrm>
        </p:spPr>
        <p:txBody>
          <a:bodyPr/>
          <a:lstStyle/>
          <a:p>
            <a:r>
              <a:rPr kumimoji="0" lang="en-US" u="none" strike="noStrike" kern="0" cap="none" spc="0" normalizeH="0" baseline="0" noProof="0" dirty="0">
                <a:ln>
                  <a:noFill/>
                </a:ln>
                <a:solidFill>
                  <a:srgbClr val="000000"/>
                </a:solidFill>
                <a:effectLst/>
                <a:uLnTx/>
                <a:uFillTx/>
                <a:latin typeface="+mn-lt"/>
                <a:ea typeface="+mn-ea"/>
                <a:cs typeface="Arial"/>
                <a:sym typeface="Arial"/>
              </a:rPr>
              <a:t>IT teams have developed task-specific productivity tools, </a:t>
            </a:r>
            <a:br>
              <a:rPr kumimoji="0" lang="en-US" u="none" strike="noStrike" kern="0" cap="none" spc="0" normalizeH="0" baseline="0" noProof="0" dirty="0">
                <a:ln>
                  <a:noFill/>
                </a:ln>
                <a:solidFill>
                  <a:srgbClr val="000000"/>
                </a:solidFill>
                <a:effectLst/>
                <a:uLnTx/>
                <a:uFillTx/>
                <a:latin typeface="+mn-lt"/>
                <a:ea typeface="+mn-ea"/>
                <a:cs typeface="Arial"/>
                <a:sym typeface="Arial"/>
              </a:rPr>
            </a:br>
            <a:r>
              <a:rPr kumimoji="0" lang="en-US" u="none" strike="noStrike" kern="0" cap="none" spc="0" normalizeH="0" baseline="0" noProof="0" dirty="0">
                <a:ln>
                  <a:noFill/>
                </a:ln>
                <a:solidFill>
                  <a:srgbClr val="000000"/>
                </a:solidFill>
                <a:effectLst/>
                <a:uLnTx/>
                <a:uFillTx/>
                <a:latin typeface="+mn-lt"/>
                <a:ea typeface="+mn-ea"/>
                <a:cs typeface="Arial"/>
                <a:sym typeface="Arial"/>
              </a:rPr>
              <a:t>but democratized automation for end-to-end process </a:t>
            </a:r>
            <a:br>
              <a:rPr kumimoji="0" lang="en-US" u="none" strike="noStrike" kern="0" cap="none" spc="0" normalizeH="0" baseline="0" noProof="0" dirty="0">
                <a:ln>
                  <a:noFill/>
                </a:ln>
                <a:solidFill>
                  <a:srgbClr val="000000"/>
                </a:solidFill>
                <a:effectLst/>
                <a:uLnTx/>
                <a:uFillTx/>
                <a:latin typeface="+mn-lt"/>
                <a:ea typeface="+mn-ea"/>
                <a:cs typeface="Arial"/>
                <a:sym typeface="Arial"/>
              </a:rPr>
            </a:br>
            <a:r>
              <a:rPr kumimoji="0" lang="en-US" i="1" u="none" strike="noStrike" kern="0" cap="none" spc="0" normalizeH="0" baseline="0" noProof="0" dirty="0">
                <a:ln>
                  <a:noFill/>
                </a:ln>
                <a:solidFill>
                  <a:schemeClr val="accent1"/>
                </a:solidFill>
                <a:effectLst/>
                <a:uLnTx/>
                <a:uFillTx/>
                <a:latin typeface="+mn-lt"/>
                <a:cs typeface="Arial"/>
                <a:sym typeface="Arial"/>
              </a:rPr>
              <a:t>remains a gap</a:t>
            </a:r>
            <a:br>
              <a:rPr kumimoji="0" lang="en-US" i="1" u="none" strike="noStrike" kern="0" cap="none" spc="0" normalizeH="0" baseline="0" noProof="0" dirty="0">
                <a:ln>
                  <a:noFill/>
                </a:ln>
                <a:solidFill>
                  <a:schemeClr val="accent1"/>
                </a:solidFill>
                <a:effectLst/>
                <a:uLnTx/>
                <a:uFillTx/>
                <a:latin typeface="+mn-lt"/>
                <a:cs typeface="Arial"/>
                <a:sym typeface="Arial"/>
              </a:rPr>
            </a:br>
            <a:endParaRPr lang="en-US" dirty="0">
              <a:latin typeface="+mn-lt"/>
            </a:endParaRPr>
          </a:p>
        </p:txBody>
      </p:sp>
    </p:spTree>
    <p:extLst>
      <p:ext uri="{BB962C8B-B14F-4D97-AF65-F5344CB8AC3E}">
        <p14:creationId xmlns:p14="http://schemas.microsoft.com/office/powerpoint/2010/main" val="364611072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wipe(down)">
                                      <p:cBhvr>
                                        <p:cTn id="7" dur="1000"/>
                                        <p:tgtEl>
                                          <p:spTgt spid="61"/>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500"/>
                                        <p:tgtEl>
                                          <p:spTgt spid="40"/>
                                        </p:tgtEl>
                                      </p:cBhvr>
                                    </p:animEffect>
                                  </p:childTnLst>
                                </p:cTn>
                              </p:par>
                              <p:par>
                                <p:cTn id="16" presetID="22" presetClass="entr" presetSubtype="4" fill="hold" nodeType="withEffect">
                                  <p:stCondLst>
                                    <p:cond delay="0"/>
                                  </p:stCondLst>
                                  <p:childTnLst>
                                    <p:set>
                                      <p:cBhvr>
                                        <p:cTn id="17" dur="1" fill="hold">
                                          <p:stCondLst>
                                            <p:cond delay="0"/>
                                          </p:stCondLst>
                                        </p:cTn>
                                        <p:tgtEl>
                                          <p:spTgt spid="52"/>
                                        </p:tgtEl>
                                        <p:attrNameLst>
                                          <p:attrName>style.visibility</p:attrName>
                                        </p:attrNameLst>
                                      </p:cBhvr>
                                      <p:to>
                                        <p:strVal val="visible"/>
                                      </p:to>
                                    </p:set>
                                    <p:animEffect transition="in" filter="wipe(down)">
                                      <p:cBhvr>
                                        <p:cTn id="18" dur="1000"/>
                                        <p:tgtEl>
                                          <p:spTgt spid="52"/>
                                        </p:tgtEl>
                                      </p:cBhvr>
                                    </p:animEffect>
                                  </p:childTnLst>
                                </p:cTn>
                              </p:par>
                            </p:childTnLst>
                          </p:cTn>
                        </p:par>
                        <p:par>
                          <p:cTn id="19" fill="hold">
                            <p:stCondLst>
                              <p:cond delay="2500"/>
                            </p:stCondLst>
                            <p:childTnLst>
                              <p:par>
                                <p:cTn id="20" presetID="10" presetClass="entr" presetSubtype="0" fill="hold" nodeType="after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par>
                          <p:cTn id="23" fill="hold">
                            <p:stCondLst>
                              <p:cond delay="3000"/>
                            </p:stCondLst>
                            <p:childTnLst>
                              <p:par>
                                <p:cTn id="24" presetID="10" presetClass="entr" presetSubtype="0" fill="hold" nodeType="after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22" presetClass="entr" presetSubtype="1" fill="hold"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wipe(up)">
                                      <p:cBhvr>
                                        <p:cTn id="33" dur="1000"/>
                                        <p:tgtEl>
                                          <p:spTgt spid="58"/>
                                        </p:tgtEl>
                                      </p:cBhvr>
                                    </p:animEffect>
                                  </p:childTnLst>
                                </p:cTn>
                              </p:par>
                            </p:childTnLst>
                          </p:cTn>
                        </p:par>
                        <p:par>
                          <p:cTn id="34" fill="hold">
                            <p:stCondLst>
                              <p:cond delay="4500"/>
                            </p:stCondLst>
                            <p:childTnLst>
                              <p:par>
                                <p:cTn id="35" presetID="10" presetClass="entr" presetSubtype="0" fill="hold" nodeType="after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childTnLst>
                          </p:cTn>
                        </p:par>
                        <p:par>
                          <p:cTn id="38" fill="hold">
                            <p:stCondLst>
                              <p:cond delay="5000"/>
                            </p:stCondLst>
                            <p:childTnLst>
                              <p:par>
                                <p:cTn id="39" presetID="10" presetClass="entr" presetSubtype="0" fill="hold" nodeType="after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fade">
                                      <p:cBhvr>
                                        <p:cTn id="41" dur="500"/>
                                        <p:tgtEl>
                                          <p:spTgt spid="15"/>
                                        </p:tgtEl>
                                      </p:cBhvr>
                                    </p:animEffect>
                                  </p:childTnLst>
                                </p:cTn>
                              </p:par>
                            </p:childTnLst>
                          </p:cTn>
                        </p:par>
                        <p:par>
                          <p:cTn id="42" fill="hold">
                            <p:stCondLst>
                              <p:cond delay="5500"/>
                            </p:stCondLst>
                            <p:childTnLst>
                              <p:par>
                                <p:cTn id="43" presetID="10" presetClass="entr" presetSubtype="0" fill="hold" nodeType="after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par>
                                <p:cTn id="46" presetID="22" presetClass="entr" presetSubtype="1" fill="hold" nodeType="withEffect">
                                  <p:stCondLst>
                                    <p:cond delay="0"/>
                                  </p:stCondLst>
                                  <p:childTnLst>
                                    <p:set>
                                      <p:cBhvr>
                                        <p:cTn id="47" dur="1" fill="hold">
                                          <p:stCondLst>
                                            <p:cond delay="0"/>
                                          </p:stCondLst>
                                        </p:cTn>
                                        <p:tgtEl>
                                          <p:spTgt spid="44"/>
                                        </p:tgtEl>
                                        <p:attrNameLst>
                                          <p:attrName>style.visibility</p:attrName>
                                        </p:attrNameLst>
                                      </p:cBhvr>
                                      <p:to>
                                        <p:strVal val="visible"/>
                                      </p:to>
                                    </p:set>
                                    <p:animEffect transition="in" filter="wipe(up)">
                                      <p:cBhvr>
                                        <p:cTn id="48" dur="1000"/>
                                        <p:tgtEl>
                                          <p:spTgt spid="44"/>
                                        </p:tgtEl>
                                      </p:cBhvr>
                                    </p:animEffect>
                                  </p:childTnLst>
                                </p:cTn>
                              </p:par>
                            </p:childTnLst>
                          </p:cTn>
                        </p:par>
                        <p:par>
                          <p:cTn id="49" fill="hold">
                            <p:stCondLst>
                              <p:cond delay="6500"/>
                            </p:stCondLst>
                            <p:childTnLst>
                              <p:par>
                                <p:cTn id="50" presetID="10" presetClass="entr" presetSubtype="0" fill="hold" nodeType="afterEffect">
                                  <p:stCondLst>
                                    <p:cond delay="0"/>
                                  </p:stCondLst>
                                  <p:childTnLst>
                                    <p:set>
                                      <p:cBhvr>
                                        <p:cTn id="51" dur="1" fill="hold">
                                          <p:stCondLst>
                                            <p:cond delay="0"/>
                                          </p:stCondLst>
                                        </p:cTn>
                                        <p:tgtEl>
                                          <p:spTgt spid="23"/>
                                        </p:tgtEl>
                                        <p:attrNameLst>
                                          <p:attrName>style.visibility</p:attrName>
                                        </p:attrNameLst>
                                      </p:cBhvr>
                                      <p:to>
                                        <p:strVal val="visible"/>
                                      </p:to>
                                    </p:set>
                                    <p:animEffect transition="in" filter="fade">
                                      <p:cBhvr>
                                        <p:cTn id="52" dur="500"/>
                                        <p:tgtEl>
                                          <p:spTgt spid="23"/>
                                        </p:tgtEl>
                                      </p:cBhvr>
                                    </p:animEffect>
                                  </p:childTnLst>
                                </p:cTn>
                              </p:par>
                            </p:childTnLst>
                          </p:cTn>
                        </p:par>
                        <p:par>
                          <p:cTn id="53" fill="hold">
                            <p:stCondLst>
                              <p:cond delay="7000"/>
                            </p:stCondLst>
                            <p:childTnLst>
                              <p:par>
                                <p:cTn id="54" presetID="10" presetClass="entr" presetSubtype="0" fill="hold" nodeType="after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par>
                                <p:cTn id="57" presetID="22" presetClass="entr" presetSubtype="1" fill="hold" nodeType="withEffect">
                                  <p:stCondLst>
                                    <p:cond delay="0"/>
                                  </p:stCondLst>
                                  <p:childTnLst>
                                    <p:set>
                                      <p:cBhvr>
                                        <p:cTn id="58" dur="1" fill="hold">
                                          <p:stCondLst>
                                            <p:cond delay="0"/>
                                          </p:stCondLst>
                                        </p:cTn>
                                        <p:tgtEl>
                                          <p:spTgt spid="60"/>
                                        </p:tgtEl>
                                        <p:attrNameLst>
                                          <p:attrName>style.visibility</p:attrName>
                                        </p:attrNameLst>
                                      </p:cBhvr>
                                      <p:to>
                                        <p:strVal val="visible"/>
                                      </p:to>
                                    </p:set>
                                    <p:animEffect transition="in" filter="wipe(up)">
                                      <p:cBhvr>
                                        <p:cTn id="59" dur="1000"/>
                                        <p:tgtEl>
                                          <p:spTgt spid="60"/>
                                        </p:tgtEl>
                                      </p:cBhvr>
                                    </p:animEffect>
                                  </p:childTnLst>
                                </p:cTn>
                              </p:par>
                            </p:childTnLst>
                          </p:cTn>
                        </p:par>
                        <p:par>
                          <p:cTn id="60" fill="hold">
                            <p:stCondLst>
                              <p:cond delay="8000"/>
                            </p:stCondLst>
                            <p:childTnLst>
                              <p:par>
                                <p:cTn id="61" presetID="10" presetClass="entr" presetSubtype="0" fill="hold" grpId="0" nodeType="afterEffect">
                                  <p:stCondLst>
                                    <p:cond delay="0"/>
                                  </p:stCondLst>
                                  <p:childTnLst>
                                    <p:set>
                                      <p:cBhvr>
                                        <p:cTn id="62" dur="1" fill="hold">
                                          <p:stCondLst>
                                            <p:cond delay="0"/>
                                          </p:stCondLst>
                                        </p:cTn>
                                        <p:tgtEl>
                                          <p:spTgt spid="18"/>
                                        </p:tgtEl>
                                        <p:attrNameLst>
                                          <p:attrName>style.visibility</p:attrName>
                                        </p:attrNameLst>
                                      </p:cBhvr>
                                      <p:to>
                                        <p:strVal val="visible"/>
                                      </p:to>
                                    </p:set>
                                    <p:animEffect transition="in" filter="fade">
                                      <p:cBhvr>
                                        <p:cTn id="63" dur="500"/>
                                        <p:tgtEl>
                                          <p:spTgt spid="18"/>
                                        </p:tgtEl>
                                      </p:cBhvr>
                                    </p:animEffect>
                                  </p:childTnLst>
                                </p:cTn>
                              </p:par>
                            </p:childTnLst>
                          </p:cTn>
                        </p:par>
                        <p:par>
                          <p:cTn id="64" fill="hold">
                            <p:stCondLst>
                              <p:cond delay="8500"/>
                            </p:stCondLst>
                            <p:childTnLst>
                              <p:par>
                                <p:cTn id="65" presetID="10" presetClass="entr" presetSubtype="0" fill="hold" nodeType="afterEffect">
                                  <p:stCondLst>
                                    <p:cond delay="0"/>
                                  </p:stCondLst>
                                  <p:childTnLst>
                                    <p:set>
                                      <p:cBhvr>
                                        <p:cTn id="66" dur="1" fill="hold">
                                          <p:stCondLst>
                                            <p:cond delay="0"/>
                                          </p:stCondLst>
                                        </p:cTn>
                                        <p:tgtEl>
                                          <p:spTgt spid="17"/>
                                        </p:tgtEl>
                                        <p:attrNameLst>
                                          <p:attrName>style.visibility</p:attrName>
                                        </p:attrNameLst>
                                      </p:cBhvr>
                                      <p:to>
                                        <p:strVal val="visible"/>
                                      </p:to>
                                    </p:set>
                                    <p:animEffect transition="in" filter="fade">
                                      <p:cBhvr>
                                        <p:cTn id="67" dur="500"/>
                                        <p:tgtEl>
                                          <p:spTgt spid="17"/>
                                        </p:tgtEl>
                                      </p:cBhvr>
                                    </p:animEffect>
                                  </p:childTnLst>
                                </p:cTn>
                              </p:par>
                            </p:childTnLst>
                          </p:cTn>
                        </p:par>
                        <p:par>
                          <p:cTn id="68" fill="hold">
                            <p:stCondLst>
                              <p:cond delay="9000"/>
                            </p:stCondLst>
                            <p:childTnLst>
                              <p:par>
                                <p:cTn id="69" presetID="10" presetClass="entr" presetSubtype="0" fill="hold" nodeType="afterEffect">
                                  <p:stCondLst>
                                    <p:cond delay="0"/>
                                  </p:stCondLst>
                                  <p:childTnLst>
                                    <p:set>
                                      <p:cBhvr>
                                        <p:cTn id="70" dur="1" fill="hold">
                                          <p:stCondLst>
                                            <p:cond delay="0"/>
                                          </p:stCondLst>
                                        </p:cTn>
                                        <p:tgtEl>
                                          <p:spTgt spid="29"/>
                                        </p:tgtEl>
                                        <p:attrNameLst>
                                          <p:attrName>style.visibility</p:attrName>
                                        </p:attrNameLst>
                                      </p:cBhvr>
                                      <p:to>
                                        <p:strVal val="visible"/>
                                      </p:to>
                                    </p:set>
                                    <p:animEffect transition="in" filter="fade">
                                      <p:cBhvr>
                                        <p:cTn id="71" dur="500"/>
                                        <p:tgtEl>
                                          <p:spTgt spid="29"/>
                                        </p:tgtEl>
                                      </p:cBhvr>
                                    </p:animEffect>
                                  </p:childTnLst>
                                </p:cTn>
                              </p:par>
                            </p:childTnLst>
                          </p:cTn>
                        </p:par>
                        <p:par>
                          <p:cTn id="72" fill="hold">
                            <p:stCondLst>
                              <p:cond delay="9500"/>
                            </p:stCondLst>
                            <p:childTnLst>
                              <p:par>
                                <p:cTn id="73" presetID="10" presetClass="entr" presetSubtype="0" fill="hold" nodeType="afterEffect">
                                  <p:stCondLst>
                                    <p:cond delay="0"/>
                                  </p:stCondLst>
                                  <p:childTnLst>
                                    <p:set>
                                      <p:cBhvr>
                                        <p:cTn id="74" dur="1" fill="hold">
                                          <p:stCondLst>
                                            <p:cond delay="0"/>
                                          </p:stCondLst>
                                        </p:cTn>
                                        <p:tgtEl>
                                          <p:spTgt spid="12"/>
                                        </p:tgtEl>
                                        <p:attrNameLst>
                                          <p:attrName>style.visibility</p:attrName>
                                        </p:attrNameLst>
                                      </p:cBhvr>
                                      <p:to>
                                        <p:strVal val="visible"/>
                                      </p:to>
                                    </p:set>
                                    <p:animEffect transition="in" filter="fade">
                                      <p:cBhvr>
                                        <p:cTn id="75" dur="500"/>
                                        <p:tgtEl>
                                          <p:spTgt spid="12"/>
                                        </p:tgtEl>
                                      </p:cBhvr>
                                    </p:animEffect>
                                  </p:childTnLst>
                                </p:cTn>
                              </p:par>
                              <p:par>
                                <p:cTn id="76" presetID="22" presetClass="entr" presetSubtype="4" fill="hold" nodeType="withEffect">
                                  <p:stCondLst>
                                    <p:cond delay="0"/>
                                  </p:stCondLst>
                                  <p:childTnLst>
                                    <p:set>
                                      <p:cBhvr>
                                        <p:cTn id="77" dur="1" fill="hold">
                                          <p:stCondLst>
                                            <p:cond delay="0"/>
                                          </p:stCondLst>
                                        </p:cTn>
                                        <p:tgtEl>
                                          <p:spTgt spid="62"/>
                                        </p:tgtEl>
                                        <p:attrNameLst>
                                          <p:attrName>style.visibility</p:attrName>
                                        </p:attrNameLst>
                                      </p:cBhvr>
                                      <p:to>
                                        <p:strVal val="visible"/>
                                      </p:to>
                                    </p:set>
                                    <p:animEffect transition="in" filter="wipe(down)">
                                      <p:cBhvr>
                                        <p:cTn id="78" dur="1000"/>
                                        <p:tgtEl>
                                          <p:spTgt spid="62"/>
                                        </p:tgtEl>
                                      </p:cBhvr>
                                    </p:animEffect>
                                  </p:childTnLst>
                                </p:cTn>
                              </p:par>
                            </p:childTnLst>
                          </p:cTn>
                        </p:par>
                        <p:par>
                          <p:cTn id="79" fill="hold">
                            <p:stCondLst>
                              <p:cond delay="10500"/>
                            </p:stCondLst>
                            <p:childTnLst>
                              <p:par>
                                <p:cTn id="80" presetID="10" presetClass="entr" presetSubtype="0" fill="hold" nodeType="afterEffect">
                                  <p:stCondLst>
                                    <p:cond delay="0"/>
                                  </p:stCondLst>
                                  <p:childTnLst>
                                    <p:set>
                                      <p:cBhvr>
                                        <p:cTn id="81" dur="1" fill="hold">
                                          <p:stCondLst>
                                            <p:cond delay="0"/>
                                          </p:stCondLst>
                                        </p:cTn>
                                        <p:tgtEl>
                                          <p:spTgt spid="13"/>
                                        </p:tgtEl>
                                        <p:attrNameLst>
                                          <p:attrName>style.visibility</p:attrName>
                                        </p:attrNameLst>
                                      </p:cBhvr>
                                      <p:to>
                                        <p:strVal val="visible"/>
                                      </p:to>
                                    </p:set>
                                    <p:animEffect transition="in" filter="fade">
                                      <p:cBhvr>
                                        <p:cTn id="82" dur="500"/>
                                        <p:tgtEl>
                                          <p:spTgt spid="13"/>
                                        </p:tgtEl>
                                      </p:cBhvr>
                                    </p:animEffect>
                                  </p:childTnLst>
                                </p:cTn>
                              </p:par>
                            </p:childTnLst>
                          </p:cTn>
                        </p:par>
                        <p:par>
                          <p:cTn id="83" fill="hold">
                            <p:stCondLst>
                              <p:cond delay="11000"/>
                            </p:stCondLst>
                            <p:childTnLst>
                              <p:par>
                                <p:cTn id="84" presetID="10" presetClass="entr" presetSubtype="0" fill="hold" nodeType="afterEffect">
                                  <p:stCondLst>
                                    <p:cond delay="0"/>
                                  </p:stCondLst>
                                  <p:childTnLst>
                                    <p:set>
                                      <p:cBhvr>
                                        <p:cTn id="85" dur="1" fill="hold">
                                          <p:stCondLst>
                                            <p:cond delay="0"/>
                                          </p:stCondLst>
                                        </p:cTn>
                                        <p:tgtEl>
                                          <p:spTgt spid="27"/>
                                        </p:tgtEl>
                                        <p:attrNameLst>
                                          <p:attrName>style.visibility</p:attrName>
                                        </p:attrNameLst>
                                      </p:cBhvr>
                                      <p:to>
                                        <p:strVal val="visible"/>
                                      </p:to>
                                    </p:set>
                                    <p:animEffect transition="in" filter="fade">
                                      <p:cBhvr>
                                        <p:cTn id="86" dur="500"/>
                                        <p:tgtEl>
                                          <p:spTgt spid="27"/>
                                        </p:tgtEl>
                                      </p:cBhvr>
                                    </p:animEffect>
                                  </p:childTnLst>
                                </p:cTn>
                              </p:par>
                            </p:childTnLst>
                          </p:cTn>
                        </p:par>
                        <p:par>
                          <p:cTn id="87" fill="hold">
                            <p:stCondLst>
                              <p:cond delay="11500"/>
                            </p:stCondLst>
                            <p:childTnLst>
                              <p:par>
                                <p:cTn id="88" presetID="1" presetClass="entr" presetSubtype="0" fill="hold" nodeType="afterEffect">
                                  <p:stCondLst>
                                    <p:cond delay="0"/>
                                  </p:stCondLst>
                                  <p:childTnLst>
                                    <p:set>
                                      <p:cBhvr>
                                        <p:cTn id="89" dur="1" fill="hold">
                                          <p:stCondLst>
                                            <p:cond delay="0"/>
                                          </p:stCondLst>
                                        </p:cTn>
                                        <p:tgtEl>
                                          <p:spTgt spid="83"/>
                                        </p:tgtEl>
                                        <p:attrNameLst>
                                          <p:attrName>style.visibility</p:attrName>
                                        </p:attrNameLst>
                                      </p:cBhvr>
                                      <p:to>
                                        <p:strVal val="visible"/>
                                      </p:to>
                                    </p:set>
                                  </p:childTnLst>
                                </p:cTn>
                              </p:par>
                              <p:par>
                                <p:cTn id="90" presetID="32" presetClass="emph" presetSubtype="0" repeatCount="indefinite" fill="hold" nodeType="withEffect">
                                  <p:stCondLst>
                                    <p:cond delay="0"/>
                                  </p:stCondLst>
                                  <p:endCondLst>
                                    <p:cond evt="onNext" delay="0">
                                      <p:tgtEl>
                                        <p:sldTgt/>
                                      </p:tgtEl>
                                    </p:cond>
                                  </p:endCondLst>
                                  <p:childTnLst>
                                    <p:animRot by="120000">
                                      <p:cBhvr>
                                        <p:cTn id="91" dur="50" fill="hold">
                                          <p:stCondLst>
                                            <p:cond delay="0"/>
                                          </p:stCondLst>
                                        </p:cTn>
                                        <p:tgtEl>
                                          <p:spTgt spid="33"/>
                                        </p:tgtEl>
                                        <p:attrNameLst>
                                          <p:attrName>r</p:attrName>
                                        </p:attrNameLst>
                                      </p:cBhvr>
                                    </p:animRot>
                                    <p:animRot by="-240000">
                                      <p:cBhvr>
                                        <p:cTn id="92" dur="100" fill="hold">
                                          <p:stCondLst>
                                            <p:cond delay="100"/>
                                          </p:stCondLst>
                                        </p:cTn>
                                        <p:tgtEl>
                                          <p:spTgt spid="33"/>
                                        </p:tgtEl>
                                        <p:attrNameLst>
                                          <p:attrName>r</p:attrName>
                                        </p:attrNameLst>
                                      </p:cBhvr>
                                    </p:animRot>
                                    <p:animRot by="240000">
                                      <p:cBhvr>
                                        <p:cTn id="93" dur="100" fill="hold">
                                          <p:stCondLst>
                                            <p:cond delay="200"/>
                                          </p:stCondLst>
                                        </p:cTn>
                                        <p:tgtEl>
                                          <p:spTgt spid="33"/>
                                        </p:tgtEl>
                                        <p:attrNameLst>
                                          <p:attrName>r</p:attrName>
                                        </p:attrNameLst>
                                      </p:cBhvr>
                                    </p:animRot>
                                    <p:animRot by="-240000">
                                      <p:cBhvr>
                                        <p:cTn id="94" dur="100" fill="hold">
                                          <p:stCondLst>
                                            <p:cond delay="300"/>
                                          </p:stCondLst>
                                        </p:cTn>
                                        <p:tgtEl>
                                          <p:spTgt spid="33"/>
                                        </p:tgtEl>
                                        <p:attrNameLst>
                                          <p:attrName>r</p:attrName>
                                        </p:attrNameLst>
                                      </p:cBhvr>
                                    </p:animRot>
                                    <p:animRot by="120000">
                                      <p:cBhvr>
                                        <p:cTn id="95" dur="100" fill="hold">
                                          <p:stCondLst>
                                            <p:cond delay="400"/>
                                          </p:stCondLst>
                                        </p:cTn>
                                        <p:tgtEl>
                                          <p:spTgt spid="3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CED5F6D7-DB7D-47AE-1239-A3D27D44EEC7}"/>
              </a:ext>
            </a:extLst>
          </p:cNvPr>
          <p:cNvGrpSpPr/>
          <p:nvPr/>
        </p:nvGrpSpPr>
        <p:grpSpPr>
          <a:xfrm>
            <a:off x="15213888" y="3424427"/>
            <a:ext cx="7744404" cy="7744968"/>
            <a:chOff x="15213888" y="3424427"/>
            <a:chExt cx="7744404" cy="7744968"/>
          </a:xfrm>
        </p:grpSpPr>
        <p:sp>
          <p:nvSpPr>
            <p:cNvPr id="18" name="Oval 17">
              <a:extLst>
                <a:ext uri="{FF2B5EF4-FFF2-40B4-BE49-F238E27FC236}">
                  <a16:creationId xmlns:a16="http://schemas.microsoft.com/office/drawing/2014/main" id="{60DB8E86-DE51-7AD4-7A99-A2391895114D}"/>
                </a:ext>
              </a:extLst>
            </p:cNvPr>
            <p:cNvSpPr/>
            <p:nvPr/>
          </p:nvSpPr>
          <p:spPr bwMode="auto">
            <a:xfrm>
              <a:off x="15213888" y="3424427"/>
              <a:ext cx="7744404" cy="7744968"/>
            </a:xfrm>
            <a:prstGeom prst="ellipse">
              <a:avLst/>
            </a:prstGeom>
            <a:solidFill>
              <a:srgbClr val="FFF1F1"/>
            </a:solidFill>
            <a:ln w="25400">
              <a:solidFill>
                <a:srgbClr val="FA4D56"/>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algn="ctr"/>
              <a:endParaRPr lang="en-US" sz="4400" kern="0" dirty="0">
                <a:solidFill>
                  <a:schemeClr val="tx1"/>
                </a:solidFill>
              </a:endParaRPr>
            </a:p>
          </p:txBody>
        </p:sp>
        <p:sp>
          <p:nvSpPr>
            <p:cNvPr id="9" name="Text Placeholder 1">
              <a:extLst>
                <a:ext uri="{FF2B5EF4-FFF2-40B4-BE49-F238E27FC236}">
                  <a16:creationId xmlns:a16="http://schemas.microsoft.com/office/drawing/2014/main" id="{B82B1E08-29BE-ACC9-A79C-150AB559A12F}"/>
                </a:ext>
              </a:extLst>
            </p:cNvPr>
            <p:cNvSpPr txBox="1">
              <a:spLocks/>
            </p:cNvSpPr>
            <p:nvPr/>
          </p:nvSpPr>
          <p:spPr>
            <a:xfrm>
              <a:off x="16649214" y="4653229"/>
              <a:ext cx="4873752" cy="126498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800" i="1" kern="0" dirty="0">
                  <a:latin typeface="+mn-lt"/>
                </a:rPr>
                <a:t>Employees stepping </a:t>
              </a:r>
              <a:br>
                <a:rPr lang="en-US" sz="2800" i="1" kern="0" dirty="0">
                  <a:latin typeface="+mn-lt"/>
                </a:rPr>
              </a:br>
              <a:r>
                <a:rPr lang="en-US" sz="2800" i="1" kern="0" dirty="0">
                  <a:latin typeface="+mn-lt"/>
                </a:rPr>
                <a:t>through tasks they </a:t>
              </a:r>
              <a:br>
                <a:rPr lang="en-US" sz="2800" i="1" kern="0" dirty="0">
                  <a:latin typeface="+mn-lt"/>
                </a:rPr>
              </a:br>
              <a:r>
                <a:rPr lang="en-US" sz="2800" i="1" kern="0" dirty="0">
                  <a:latin typeface="+mn-lt"/>
                </a:rPr>
                <a:t>are not experts in</a:t>
              </a:r>
              <a:endParaRPr lang="en-US" sz="2800" kern="0" baseline="30000" dirty="0">
                <a:latin typeface="+mn-lt"/>
              </a:endParaRPr>
            </a:p>
          </p:txBody>
        </p:sp>
        <p:sp>
          <p:nvSpPr>
            <p:cNvPr id="14" name="Text Placeholder 1">
              <a:extLst>
                <a:ext uri="{FF2B5EF4-FFF2-40B4-BE49-F238E27FC236}">
                  <a16:creationId xmlns:a16="http://schemas.microsoft.com/office/drawing/2014/main" id="{22159353-53BF-84A9-D65A-A5102A5CDDD6}"/>
                </a:ext>
              </a:extLst>
            </p:cNvPr>
            <p:cNvSpPr txBox="1">
              <a:spLocks/>
            </p:cNvSpPr>
            <p:nvPr/>
          </p:nvSpPr>
          <p:spPr>
            <a:xfrm>
              <a:off x="16649213" y="6245895"/>
              <a:ext cx="5841517" cy="101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800" dirty="0">
                  <a:latin typeface="+mn-lt"/>
                </a:rPr>
                <a:t>Spend hours figuring </a:t>
              </a:r>
              <a:br>
                <a:rPr lang="en-US" sz="2800" dirty="0">
                  <a:latin typeface="+mn-lt"/>
                </a:rPr>
              </a:br>
              <a:r>
                <a:rPr lang="en-US" sz="2800" dirty="0">
                  <a:latin typeface="+mn-lt"/>
                </a:rPr>
                <a:t>out how to get something done</a:t>
              </a:r>
              <a:endParaRPr lang="en-US" sz="2800" kern="0" baseline="30000" dirty="0">
                <a:latin typeface="+mn-lt"/>
              </a:endParaRPr>
            </a:p>
          </p:txBody>
        </p:sp>
        <p:sp>
          <p:nvSpPr>
            <p:cNvPr id="15" name="Text Placeholder 1">
              <a:extLst>
                <a:ext uri="{FF2B5EF4-FFF2-40B4-BE49-F238E27FC236}">
                  <a16:creationId xmlns:a16="http://schemas.microsoft.com/office/drawing/2014/main" id="{36B54E68-EC4E-E713-071D-58D131EE123F}"/>
                </a:ext>
              </a:extLst>
            </p:cNvPr>
            <p:cNvSpPr txBox="1">
              <a:spLocks/>
            </p:cNvSpPr>
            <p:nvPr/>
          </p:nvSpPr>
          <p:spPr>
            <a:xfrm>
              <a:off x="16649214" y="7586688"/>
              <a:ext cx="4873752" cy="101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800" dirty="0">
                  <a:latin typeface="+mn-lt"/>
                </a:rPr>
                <a:t>No idea where to get help </a:t>
              </a:r>
              <a:br>
                <a:rPr lang="en-US" sz="2800" dirty="0">
                  <a:latin typeface="+mn-lt"/>
                </a:rPr>
              </a:br>
              <a:r>
                <a:rPr lang="en-US" sz="2800" dirty="0">
                  <a:latin typeface="+mn-lt"/>
                </a:rPr>
                <a:t>with over 1000 applications</a:t>
              </a:r>
              <a:endParaRPr lang="en-US" sz="2800" kern="0" baseline="30000" dirty="0">
                <a:latin typeface="+mn-lt"/>
              </a:endParaRPr>
            </a:p>
          </p:txBody>
        </p:sp>
        <p:sp>
          <p:nvSpPr>
            <p:cNvPr id="16" name="Text Placeholder 1">
              <a:extLst>
                <a:ext uri="{FF2B5EF4-FFF2-40B4-BE49-F238E27FC236}">
                  <a16:creationId xmlns:a16="http://schemas.microsoft.com/office/drawing/2014/main" id="{A896C92E-0651-AAE0-54D0-FE16FD5EA343}"/>
                </a:ext>
              </a:extLst>
            </p:cNvPr>
            <p:cNvSpPr txBox="1">
              <a:spLocks/>
            </p:cNvSpPr>
            <p:nvPr/>
          </p:nvSpPr>
          <p:spPr>
            <a:xfrm>
              <a:off x="16649214" y="8927482"/>
              <a:ext cx="4873752" cy="101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800" dirty="0">
                  <a:latin typeface="+mn-lt"/>
                </a:rPr>
                <a:t>Don’t know what kind </a:t>
              </a:r>
              <a:br>
                <a:rPr lang="en-US" sz="2800" dirty="0">
                  <a:latin typeface="+mn-lt"/>
                </a:rPr>
              </a:br>
              <a:r>
                <a:rPr lang="en-US" sz="2800" dirty="0">
                  <a:latin typeface="+mn-lt"/>
                </a:rPr>
                <a:t>of information they need</a:t>
              </a:r>
              <a:endParaRPr lang="en-US" sz="2800" kern="0" baseline="30000" dirty="0">
                <a:latin typeface="+mn-lt"/>
              </a:endParaRPr>
            </a:p>
          </p:txBody>
        </p:sp>
      </p:grpSp>
      <p:grpSp>
        <p:nvGrpSpPr>
          <p:cNvPr id="40" name="Group 39">
            <a:extLst>
              <a:ext uri="{FF2B5EF4-FFF2-40B4-BE49-F238E27FC236}">
                <a16:creationId xmlns:a16="http://schemas.microsoft.com/office/drawing/2014/main" id="{2F5E2EA9-5FC2-32B2-6B9C-926CB543A987}"/>
              </a:ext>
            </a:extLst>
          </p:cNvPr>
          <p:cNvGrpSpPr/>
          <p:nvPr/>
        </p:nvGrpSpPr>
        <p:grpSpPr>
          <a:xfrm>
            <a:off x="1435504" y="3424427"/>
            <a:ext cx="7744404" cy="7744968"/>
            <a:chOff x="1435504" y="3424427"/>
            <a:chExt cx="7744404" cy="7744968"/>
          </a:xfrm>
        </p:grpSpPr>
        <p:sp>
          <p:nvSpPr>
            <p:cNvPr id="19" name="Oval 18">
              <a:extLst>
                <a:ext uri="{FF2B5EF4-FFF2-40B4-BE49-F238E27FC236}">
                  <a16:creationId xmlns:a16="http://schemas.microsoft.com/office/drawing/2014/main" id="{2FFE6A03-6031-A5BA-2DC2-543D92A65C84}"/>
                </a:ext>
              </a:extLst>
            </p:cNvPr>
            <p:cNvSpPr/>
            <p:nvPr/>
          </p:nvSpPr>
          <p:spPr bwMode="auto">
            <a:xfrm>
              <a:off x="1435504" y="3424427"/>
              <a:ext cx="7744404" cy="7744968"/>
            </a:xfrm>
            <a:prstGeom prst="ellipse">
              <a:avLst/>
            </a:prstGeom>
            <a:solidFill>
              <a:srgbClr val="E5F6FF"/>
            </a:solidFill>
            <a:ln w="254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algn="ctr"/>
              <a:endParaRPr lang="en-US" sz="4400" kern="0" dirty="0">
                <a:solidFill>
                  <a:schemeClr val="tx1"/>
                </a:solidFill>
              </a:endParaRPr>
            </a:p>
          </p:txBody>
        </p:sp>
        <p:sp>
          <p:nvSpPr>
            <p:cNvPr id="34" name="Text Placeholder 1">
              <a:extLst>
                <a:ext uri="{FF2B5EF4-FFF2-40B4-BE49-F238E27FC236}">
                  <a16:creationId xmlns:a16="http://schemas.microsoft.com/office/drawing/2014/main" id="{22E63849-2D25-6D6C-CF2E-C1B0C412A7F1}"/>
                </a:ext>
              </a:extLst>
            </p:cNvPr>
            <p:cNvSpPr txBox="1">
              <a:spLocks/>
            </p:cNvSpPr>
            <p:nvPr/>
          </p:nvSpPr>
          <p:spPr>
            <a:xfrm>
              <a:off x="2870830" y="6245895"/>
              <a:ext cx="4873752" cy="101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800" dirty="0">
                  <a:latin typeface="+mn-lt"/>
                </a:rPr>
                <a:t>Spend hours performing manual cumbersome tasks</a:t>
              </a:r>
              <a:endParaRPr lang="en-US" sz="2800" kern="0" baseline="30000" dirty="0">
                <a:latin typeface="+mn-lt"/>
              </a:endParaRPr>
            </a:p>
          </p:txBody>
        </p:sp>
        <p:sp>
          <p:nvSpPr>
            <p:cNvPr id="12" name="Text Placeholder 1">
              <a:extLst>
                <a:ext uri="{FF2B5EF4-FFF2-40B4-BE49-F238E27FC236}">
                  <a16:creationId xmlns:a16="http://schemas.microsoft.com/office/drawing/2014/main" id="{90D352F6-D249-84EC-399E-1122C3F6CBC1}"/>
                </a:ext>
              </a:extLst>
            </p:cNvPr>
            <p:cNvSpPr txBox="1">
              <a:spLocks/>
            </p:cNvSpPr>
            <p:nvPr/>
          </p:nvSpPr>
          <p:spPr>
            <a:xfrm>
              <a:off x="2870830" y="7586688"/>
              <a:ext cx="4873752" cy="101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800" dirty="0">
                  <a:latin typeface="+mn-lt"/>
                </a:rPr>
                <a:t>Have to use 13+ applications </a:t>
              </a:r>
              <a:br>
                <a:rPr lang="en-US" sz="2800" dirty="0">
                  <a:latin typeface="+mn-lt"/>
                </a:rPr>
              </a:br>
              <a:r>
                <a:rPr lang="en-US" sz="2800" dirty="0">
                  <a:latin typeface="+mn-lt"/>
                </a:rPr>
                <a:t>and systems</a:t>
              </a:r>
              <a:endParaRPr lang="en-US" sz="2800" kern="0" baseline="30000" dirty="0">
                <a:latin typeface="+mn-lt"/>
              </a:endParaRPr>
            </a:p>
          </p:txBody>
        </p:sp>
        <p:sp>
          <p:nvSpPr>
            <p:cNvPr id="13" name="Text Placeholder 1">
              <a:extLst>
                <a:ext uri="{FF2B5EF4-FFF2-40B4-BE49-F238E27FC236}">
                  <a16:creationId xmlns:a16="http://schemas.microsoft.com/office/drawing/2014/main" id="{23599C8B-569A-EC13-38B5-6121705D3272}"/>
                </a:ext>
              </a:extLst>
            </p:cNvPr>
            <p:cNvSpPr txBox="1">
              <a:spLocks/>
            </p:cNvSpPr>
            <p:nvPr/>
          </p:nvSpPr>
          <p:spPr>
            <a:xfrm>
              <a:off x="2870830" y="8927482"/>
              <a:ext cx="4873752" cy="101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800" dirty="0">
                  <a:latin typeface="+mn-lt"/>
                </a:rPr>
                <a:t>Struggle to stay up-to-date </a:t>
              </a:r>
              <a:br>
                <a:rPr lang="en-US" sz="2800" dirty="0">
                  <a:latin typeface="+mn-lt"/>
                </a:rPr>
              </a:br>
              <a:r>
                <a:rPr lang="en-US" sz="2800" dirty="0">
                  <a:latin typeface="+mn-lt"/>
                </a:rPr>
                <a:t>on relevant information </a:t>
              </a:r>
              <a:endParaRPr lang="en-US" sz="2800" kern="0" baseline="30000" dirty="0">
                <a:latin typeface="+mn-lt"/>
              </a:endParaRPr>
            </a:p>
          </p:txBody>
        </p:sp>
        <p:sp>
          <p:nvSpPr>
            <p:cNvPr id="20" name="Text Placeholder 1">
              <a:extLst>
                <a:ext uri="{FF2B5EF4-FFF2-40B4-BE49-F238E27FC236}">
                  <a16:creationId xmlns:a16="http://schemas.microsoft.com/office/drawing/2014/main" id="{F65A1304-DD5F-D2C0-D2A9-9820FA87ED68}"/>
                </a:ext>
              </a:extLst>
            </p:cNvPr>
            <p:cNvSpPr txBox="1">
              <a:spLocks/>
            </p:cNvSpPr>
            <p:nvPr/>
          </p:nvSpPr>
          <p:spPr>
            <a:xfrm>
              <a:off x="2870830" y="4653229"/>
              <a:ext cx="4873752" cy="126498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800" i="1" kern="0" dirty="0">
                  <a:latin typeface="+mn-lt"/>
                </a:rPr>
                <a:t>Employees stepping </a:t>
              </a:r>
              <a:br>
                <a:rPr lang="en-US" sz="2800" i="1" kern="0" dirty="0">
                  <a:latin typeface="+mn-lt"/>
                </a:rPr>
              </a:br>
              <a:r>
                <a:rPr lang="en-US" sz="2800" i="1" kern="0" dirty="0">
                  <a:latin typeface="+mn-lt"/>
                </a:rPr>
                <a:t>through expert level tasks</a:t>
              </a:r>
              <a:endParaRPr lang="en-US" sz="2800" kern="0" baseline="30000" dirty="0">
                <a:latin typeface="+mn-lt"/>
              </a:endParaRPr>
            </a:p>
          </p:txBody>
        </p:sp>
      </p:grpSp>
      <p:sp>
        <p:nvSpPr>
          <p:cNvPr id="7" name="Oval 6">
            <a:extLst>
              <a:ext uri="{FF2B5EF4-FFF2-40B4-BE49-F238E27FC236}">
                <a16:creationId xmlns:a16="http://schemas.microsoft.com/office/drawing/2014/main" id="{04500E3C-242A-1563-E0F7-C26FCF9C8B79}"/>
              </a:ext>
            </a:extLst>
          </p:cNvPr>
          <p:cNvSpPr/>
          <p:nvPr/>
        </p:nvSpPr>
        <p:spPr bwMode="auto">
          <a:xfrm>
            <a:off x="8321385" y="3424427"/>
            <a:ext cx="7744404" cy="7744968"/>
          </a:xfrm>
          <a:prstGeom prst="ellipse">
            <a:avLst/>
          </a:prstGeom>
          <a:solidFill>
            <a:schemeClr val="bg1"/>
          </a:solidFill>
          <a:ln w="25400">
            <a:solidFill>
              <a:srgbClr val="A56E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algn="ctr"/>
            <a:endParaRPr lang="en-US" sz="4400" kern="0" dirty="0">
              <a:solidFill>
                <a:schemeClr val="tx1"/>
              </a:solidFill>
            </a:endParaRPr>
          </a:p>
        </p:txBody>
      </p:sp>
      <p:grpSp>
        <p:nvGrpSpPr>
          <p:cNvPr id="137" name="Group 136">
            <a:extLst>
              <a:ext uri="{FF2B5EF4-FFF2-40B4-BE49-F238E27FC236}">
                <a16:creationId xmlns:a16="http://schemas.microsoft.com/office/drawing/2014/main" id="{7B8582CE-62F1-142E-459F-DF891C87F734}"/>
              </a:ext>
            </a:extLst>
          </p:cNvPr>
          <p:cNvGrpSpPr/>
          <p:nvPr/>
        </p:nvGrpSpPr>
        <p:grpSpPr>
          <a:xfrm>
            <a:off x="11006815" y="5925311"/>
            <a:ext cx="2364962" cy="2743200"/>
            <a:chOff x="1196696" y="5927263"/>
            <a:chExt cx="2364962" cy="2743200"/>
          </a:xfrm>
        </p:grpSpPr>
        <p:sp>
          <p:nvSpPr>
            <p:cNvPr id="46" name="Hexagon 45">
              <a:extLst>
                <a:ext uri="{FF2B5EF4-FFF2-40B4-BE49-F238E27FC236}">
                  <a16:creationId xmlns:a16="http://schemas.microsoft.com/office/drawing/2014/main" id="{C8B7C3E7-1A57-57FA-B0F5-3A0E31BBFE02}"/>
                </a:ext>
              </a:extLst>
            </p:cNvPr>
            <p:cNvSpPr>
              <a:spLocks noChangeAspect="1"/>
            </p:cNvSpPr>
            <p:nvPr/>
          </p:nvSpPr>
          <p:spPr bwMode="auto">
            <a:xfrm rot="16200000">
              <a:off x="1007577" y="6116382"/>
              <a:ext cx="2743200" cy="2364962"/>
            </a:xfrm>
            <a:prstGeom prst="hexagon">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47" name="Freeform 46">
              <a:extLst>
                <a:ext uri="{FF2B5EF4-FFF2-40B4-BE49-F238E27FC236}">
                  <a16:creationId xmlns:a16="http://schemas.microsoft.com/office/drawing/2014/main" id="{ABBD719F-D91F-D8AB-AFC2-8E5E24D688B1}"/>
                </a:ext>
              </a:extLst>
            </p:cNvPr>
            <p:cNvSpPr/>
            <p:nvPr/>
          </p:nvSpPr>
          <p:spPr>
            <a:xfrm>
              <a:off x="1810616" y="6697876"/>
              <a:ext cx="1137121" cy="1201974"/>
            </a:xfrm>
            <a:custGeom>
              <a:avLst/>
              <a:gdLst>
                <a:gd name="connsiteX0" fmla="*/ 1460754 w 1846580"/>
                <a:gd name="connsiteY0" fmla="*/ 1951894 h 1951893"/>
                <a:gd name="connsiteX1" fmla="*/ 1414463 w 1846580"/>
                <a:gd name="connsiteY1" fmla="*/ 1951894 h 1951893"/>
                <a:gd name="connsiteX2" fmla="*/ 1414463 w 1846580"/>
                <a:gd name="connsiteY2" fmla="*/ 1469691 h 1951893"/>
                <a:gd name="connsiteX3" fmla="*/ 1036930 w 1846580"/>
                <a:gd name="connsiteY3" fmla="*/ 992374 h 1951893"/>
                <a:gd name="connsiteX4" fmla="*/ 1019249 w 1846580"/>
                <a:gd name="connsiteY4" fmla="*/ 972057 h 1951893"/>
                <a:gd name="connsiteX5" fmla="*/ 1032879 w 1846580"/>
                <a:gd name="connsiteY5" fmla="*/ 948719 h 1951893"/>
                <a:gd name="connsiteX6" fmla="*/ 1193356 w 1846580"/>
                <a:gd name="connsiteY6" fmla="*/ 702088 h 1951893"/>
                <a:gd name="connsiteX7" fmla="*/ 923323 w 1846580"/>
                <a:gd name="connsiteY7" fmla="*/ 431990 h 1951893"/>
                <a:gd name="connsiteX8" fmla="*/ 653225 w 1846580"/>
                <a:gd name="connsiteY8" fmla="*/ 702088 h 1951893"/>
                <a:gd name="connsiteX9" fmla="*/ 813702 w 1846580"/>
                <a:gd name="connsiteY9" fmla="*/ 948719 h 1951893"/>
                <a:gd name="connsiteX10" fmla="*/ 827332 w 1846580"/>
                <a:gd name="connsiteY10" fmla="*/ 972057 h 1951893"/>
                <a:gd name="connsiteX11" fmla="*/ 809651 w 1846580"/>
                <a:gd name="connsiteY11" fmla="*/ 992374 h 1951893"/>
                <a:gd name="connsiteX12" fmla="*/ 432118 w 1846580"/>
                <a:gd name="connsiteY12" fmla="*/ 1469691 h 1951893"/>
                <a:gd name="connsiteX13" fmla="*/ 432118 w 1846580"/>
                <a:gd name="connsiteY13" fmla="*/ 1951894 h 1951893"/>
                <a:gd name="connsiteX14" fmla="*/ 385763 w 1846580"/>
                <a:gd name="connsiteY14" fmla="*/ 1951894 h 1951893"/>
                <a:gd name="connsiteX15" fmla="*/ 385763 w 1846580"/>
                <a:gd name="connsiteY15" fmla="*/ 1469691 h 1951893"/>
                <a:gd name="connsiteX16" fmla="*/ 744843 w 1846580"/>
                <a:gd name="connsiteY16" fmla="*/ 963120 h 1951893"/>
                <a:gd name="connsiteX17" fmla="*/ 606869 w 1846580"/>
                <a:gd name="connsiteY17" fmla="*/ 702024 h 1951893"/>
                <a:gd name="connsiteX18" fmla="*/ 788563 w 1846580"/>
                <a:gd name="connsiteY18" fmla="*/ 415788 h 1951893"/>
                <a:gd name="connsiteX19" fmla="*/ 807530 w 1846580"/>
                <a:gd name="connsiteY19" fmla="*/ 316325 h 1951893"/>
                <a:gd name="connsiteX20" fmla="*/ 537496 w 1846580"/>
                <a:gd name="connsiteY20" fmla="*/ 46227 h 1951893"/>
                <a:gd name="connsiteX21" fmla="*/ 267398 w 1846580"/>
                <a:gd name="connsiteY21" fmla="*/ 316325 h 1951893"/>
                <a:gd name="connsiteX22" fmla="*/ 427875 w 1846580"/>
                <a:gd name="connsiteY22" fmla="*/ 562956 h 1951893"/>
                <a:gd name="connsiteX23" fmla="*/ 441505 w 1846580"/>
                <a:gd name="connsiteY23" fmla="*/ 586295 h 1951893"/>
                <a:gd name="connsiteX24" fmla="*/ 423824 w 1846580"/>
                <a:gd name="connsiteY24" fmla="*/ 606612 h 1951893"/>
                <a:gd name="connsiteX25" fmla="*/ 46291 w 1846580"/>
                <a:gd name="connsiteY25" fmla="*/ 1083928 h 1951893"/>
                <a:gd name="connsiteX26" fmla="*/ 46291 w 1846580"/>
                <a:gd name="connsiteY26" fmla="*/ 1566132 h 1951893"/>
                <a:gd name="connsiteX27" fmla="*/ 0 w 1846580"/>
                <a:gd name="connsiteY27" fmla="*/ 1566132 h 1951893"/>
                <a:gd name="connsiteX28" fmla="*/ 0 w 1846580"/>
                <a:gd name="connsiteY28" fmla="*/ 1083928 h 1951893"/>
                <a:gd name="connsiteX29" fmla="*/ 359081 w 1846580"/>
                <a:gd name="connsiteY29" fmla="*/ 577358 h 1951893"/>
                <a:gd name="connsiteX30" fmla="*/ 221171 w 1846580"/>
                <a:gd name="connsiteY30" fmla="*/ 316325 h 1951893"/>
                <a:gd name="connsiteX31" fmla="*/ 537496 w 1846580"/>
                <a:gd name="connsiteY31" fmla="*/ 0 h 1951893"/>
                <a:gd name="connsiteX32" fmla="*/ 853821 w 1846580"/>
                <a:gd name="connsiteY32" fmla="*/ 316325 h 1951893"/>
                <a:gd name="connsiteX33" fmla="*/ 843727 w 1846580"/>
                <a:gd name="connsiteY33" fmla="*/ 395857 h 1951893"/>
                <a:gd name="connsiteX34" fmla="*/ 1002725 w 1846580"/>
                <a:gd name="connsiteY34" fmla="*/ 395857 h 1951893"/>
                <a:gd name="connsiteX35" fmla="*/ 992631 w 1846580"/>
                <a:gd name="connsiteY35" fmla="*/ 316325 h 1951893"/>
                <a:gd name="connsiteX36" fmla="*/ 1309021 w 1846580"/>
                <a:gd name="connsiteY36" fmla="*/ 0 h 1951893"/>
                <a:gd name="connsiteX37" fmla="*/ 1625410 w 1846580"/>
                <a:gd name="connsiteY37" fmla="*/ 316325 h 1951893"/>
                <a:gd name="connsiteX38" fmla="*/ 1487436 w 1846580"/>
                <a:gd name="connsiteY38" fmla="*/ 577422 h 1951893"/>
                <a:gd name="connsiteX39" fmla="*/ 1846581 w 1846580"/>
                <a:gd name="connsiteY39" fmla="*/ 1083993 h 1951893"/>
                <a:gd name="connsiteX40" fmla="*/ 1846581 w 1846580"/>
                <a:gd name="connsiteY40" fmla="*/ 1566132 h 1951893"/>
                <a:gd name="connsiteX41" fmla="*/ 1800225 w 1846580"/>
                <a:gd name="connsiteY41" fmla="*/ 1566132 h 1951893"/>
                <a:gd name="connsiteX42" fmla="*/ 1800225 w 1846580"/>
                <a:gd name="connsiteY42" fmla="*/ 1083928 h 1951893"/>
                <a:gd name="connsiteX43" fmla="*/ 1422692 w 1846580"/>
                <a:gd name="connsiteY43" fmla="*/ 606612 h 1951893"/>
                <a:gd name="connsiteX44" fmla="*/ 1405011 w 1846580"/>
                <a:gd name="connsiteY44" fmla="*/ 586295 h 1951893"/>
                <a:gd name="connsiteX45" fmla="*/ 1418642 w 1846580"/>
                <a:gd name="connsiteY45" fmla="*/ 562956 h 1951893"/>
                <a:gd name="connsiteX46" fmla="*/ 1579055 w 1846580"/>
                <a:gd name="connsiteY46" fmla="*/ 316325 h 1951893"/>
                <a:gd name="connsiteX47" fmla="*/ 1309021 w 1846580"/>
                <a:gd name="connsiteY47" fmla="*/ 46227 h 1951893"/>
                <a:gd name="connsiteX48" fmla="*/ 1038987 w 1846580"/>
                <a:gd name="connsiteY48" fmla="*/ 316325 h 1951893"/>
                <a:gd name="connsiteX49" fmla="*/ 1057954 w 1846580"/>
                <a:gd name="connsiteY49" fmla="*/ 415852 h 1951893"/>
                <a:gd name="connsiteX50" fmla="*/ 1239648 w 1846580"/>
                <a:gd name="connsiteY50" fmla="*/ 702088 h 1951893"/>
                <a:gd name="connsiteX51" fmla="*/ 1101673 w 1846580"/>
                <a:gd name="connsiteY51" fmla="*/ 963185 h 1951893"/>
                <a:gd name="connsiteX52" fmla="*/ 1460818 w 1846580"/>
                <a:gd name="connsiteY52" fmla="*/ 1469755 h 1951893"/>
                <a:gd name="connsiteX53" fmla="*/ 1460754 w 1846580"/>
                <a:gd name="connsiteY53" fmla="*/ 1951894 h 1951893"/>
                <a:gd name="connsiteX54" fmla="*/ 1460754 w 1846580"/>
                <a:gd name="connsiteY54" fmla="*/ 1951894 h 195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580" h="1951893">
                  <a:moveTo>
                    <a:pt x="1460754" y="1951894"/>
                  </a:moveTo>
                  <a:lnTo>
                    <a:pt x="1414463" y="1951894"/>
                  </a:lnTo>
                  <a:lnTo>
                    <a:pt x="1414463" y="1469691"/>
                  </a:lnTo>
                  <a:cubicBezTo>
                    <a:pt x="1414463" y="1241319"/>
                    <a:pt x="1259257" y="1045095"/>
                    <a:pt x="1036930" y="992374"/>
                  </a:cubicBezTo>
                  <a:cubicBezTo>
                    <a:pt x="1027286" y="990060"/>
                    <a:pt x="1020149" y="981894"/>
                    <a:pt x="1019249" y="972057"/>
                  </a:cubicBezTo>
                  <a:cubicBezTo>
                    <a:pt x="1018284" y="962156"/>
                    <a:pt x="1023814" y="952769"/>
                    <a:pt x="1032879" y="948719"/>
                  </a:cubicBezTo>
                  <a:cubicBezTo>
                    <a:pt x="1130413" y="905320"/>
                    <a:pt x="1193356" y="808494"/>
                    <a:pt x="1193356" y="702088"/>
                  </a:cubicBezTo>
                  <a:cubicBezTo>
                    <a:pt x="1193356" y="553183"/>
                    <a:pt x="1072227" y="431990"/>
                    <a:pt x="923323" y="431990"/>
                  </a:cubicBezTo>
                  <a:cubicBezTo>
                    <a:pt x="774418" y="431990"/>
                    <a:pt x="653225" y="553119"/>
                    <a:pt x="653225" y="702088"/>
                  </a:cubicBezTo>
                  <a:cubicBezTo>
                    <a:pt x="653225" y="808494"/>
                    <a:pt x="716232" y="905385"/>
                    <a:pt x="813702" y="948719"/>
                  </a:cubicBezTo>
                  <a:cubicBezTo>
                    <a:pt x="822767" y="952769"/>
                    <a:pt x="828296" y="962156"/>
                    <a:pt x="827332" y="972057"/>
                  </a:cubicBezTo>
                  <a:cubicBezTo>
                    <a:pt x="826432" y="981894"/>
                    <a:pt x="819295" y="990124"/>
                    <a:pt x="809651" y="992374"/>
                  </a:cubicBezTo>
                  <a:cubicBezTo>
                    <a:pt x="587323" y="1045095"/>
                    <a:pt x="432118" y="1241319"/>
                    <a:pt x="432118" y="1469691"/>
                  </a:cubicBezTo>
                  <a:lnTo>
                    <a:pt x="432118" y="1951894"/>
                  </a:lnTo>
                  <a:lnTo>
                    <a:pt x="385763" y="1951894"/>
                  </a:lnTo>
                  <a:lnTo>
                    <a:pt x="385763" y="1469691"/>
                  </a:lnTo>
                  <a:cubicBezTo>
                    <a:pt x="385763" y="1238748"/>
                    <a:pt x="530874" y="1037765"/>
                    <a:pt x="744843" y="963120"/>
                  </a:cubicBezTo>
                  <a:cubicBezTo>
                    <a:pt x="659590" y="904806"/>
                    <a:pt x="606869" y="807465"/>
                    <a:pt x="606869" y="702024"/>
                  </a:cubicBezTo>
                  <a:cubicBezTo>
                    <a:pt x="606869" y="575751"/>
                    <a:pt x="681257" y="466451"/>
                    <a:pt x="788563" y="415788"/>
                  </a:cubicBezTo>
                  <a:cubicBezTo>
                    <a:pt x="801164" y="384219"/>
                    <a:pt x="807530" y="350787"/>
                    <a:pt x="807530" y="316325"/>
                  </a:cubicBezTo>
                  <a:cubicBezTo>
                    <a:pt x="807530" y="167421"/>
                    <a:pt x="686400" y="46227"/>
                    <a:pt x="537496" y="46227"/>
                  </a:cubicBezTo>
                  <a:cubicBezTo>
                    <a:pt x="388591" y="46227"/>
                    <a:pt x="267398" y="167357"/>
                    <a:pt x="267398" y="316325"/>
                  </a:cubicBezTo>
                  <a:cubicBezTo>
                    <a:pt x="267398" y="422796"/>
                    <a:pt x="330406" y="519622"/>
                    <a:pt x="427875" y="562956"/>
                  </a:cubicBezTo>
                  <a:cubicBezTo>
                    <a:pt x="437005" y="567007"/>
                    <a:pt x="442405" y="576393"/>
                    <a:pt x="441505" y="586295"/>
                  </a:cubicBezTo>
                  <a:cubicBezTo>
                    <a:pt x="440605" y="596132"/>
                    <a:pt x="433468" y="604361"/>
                    <a:pt x="423824" y="606612"/>
                  </a:cubicBezTo>
                  <a:cubicBezTo>
                    <a:pt x="201497" y="659332"/>
                    <a:pt x="46291" y="855557"/>
                    <a:pt x="46291" y="1083928"/>
                  </a:cubicBezTo>
                  <a:lnTo>
                    <a:pt x="46291" y="1566132"/>
                  </a:lnTo>
                  <a:lnTo>
                    <a:pt x="0" y="1566132"/>
                  </a:lnTo>
                  <a:lnTo>
                    <a:pt x="0" y="1083928"/>
                  </a:lnTo>
                  <a:cubicBezTo>
                    <a:pt x="0" y="852985"/>
                    <a:pt x="145111" y="652003"/>
                    <a:pt x="359081" y="577358"/>
                  </a:cubicBezTo>
                  <a:cubicBezTo>
                    <a:pt x="273827" y="519043"/>
                    <a:pt x="221171" y="421703"/>
                    <a:pt x="221171" y="316325"/>
                  </a:cubicBezTo>
                  <a:cubicBezTo>
                    <a:pt x="221171" y="141896"/>
                    <a:pt x="363067" y="0"/>
                    <a:pt x="537496" y="0"/>
                  </a:cubicBezTo>
                  <a:cubicBezTo>
                    <a:pt x="711925" y="0"/>
                    <a:pt x="853821" y="141896"/>
                    <a:pt x="853821" y="316325"/>
                  </a:cubicBezTo>
                  <a:cubicBezTo>
                    <a:pt x="853821" y="343457"/>
                    <a:pt x="850478" y="370075"/>
                    <a:pt x="843727" y="395857"/>
                  </a:cubicBezTo>
                  <a:cubicBezTo>
                    <a:pt x="894583" y="382676"/>
                    <a:pt x="951933" y="382676"/>
                    <a:pt x="1002725" y="395857"/>
                  </a:cubicBezTo>
                  <a:cubicBezTo>
                    <a:pt x="996039" y="370075"/>
                    <a:pt x="992631" y="343457"/>
                    <a:pt x="992631" y="316325"/>
                  </a:cubicBezTo>
                  <a:cubicBezTo>
                    <a:pt x="992631" y="141896"/>
                    <a:pt x="1134592" y="0"/>
                    <a:pt x="1309021" y="0"/>
                  </a:cubicBezTo>
                  <a:cubicBezTo>
                    <a:pt x="1483450" y="0"/>
                    <a:pt x="1625410" y="141896"/>
                    <a:pt x="1625410" y="316325"/>
                  </a:cubicBezTo>
                  <a:cubicBezTo>
                    <a:pt x="1625410" y="421767"/>
                    <a:pt x="1572689" y="519108"/>
                    <a:pt x="1487436" y="577422"/>
                  </a:cubicBezTo>
                  <a:cubicBezTo>
                    <a:pt x="1701470" y="652067"/>
                    <a:pt x="1846581" y="853050"/>
                    <a:pt x="1846581" y="1083993"/>
                  </a:cubicBezTo>
                  <a:lnTo>
                    <a:pt x="1846581" y="1566132"/>
                  </a:lnTo>
                  <a:lnTo>
                    <a:pt x="1800225" y="1566132"/>
                  </a:lnTo>
                  <a:lnTo>
                    <a:pt x="1800225" y="1083928"/>
                  </a:lnTo>
                  <a:cubicBezTo>
                    <a:pt x="1800225" y="855557"/>
                    <a:pt x="1645020" y="659332"/>
                    <a:pt x="1422692" y="606612"/>
                  </a:cubicBezTo>
                  <a:cubicBezTo>
                    <a:pt x="1413048" y="604297"/>
                    <a:pt x="1405911" y="596132"/>
                    <a:pt x="1405011" y="586295"/>
                  </a:cubicBezTo>
                  <a:cubicBezTo>
                    <a:pt x="1404047" y="576393"/>
                    <a:pt x="1409576" y="567007"/>
                    <a:pt x="1418642" y="562956"/>
                  </a:cubicBezTo>
                  <a:cubicBezTo>
                    <a:pt x="1516111" y="519558"/>
                    <a:pt x="1579055" y="422731"/>
                    <a:pt x="1579055" y="316325"/>
                  </a:cubicBezTo>
                  <a:cubicBezTo>
                    <a:pt x="1579055" y="167421"/>
                    <a:pt x="1457925" y="46227"/>
                    <a:pt x="1309021" y="46227"/>
                  </a:cubicBezTo>
                  <a:cubicBezTo>
                    <a:pt x="1160116" y="46227"/>
                    <a:pt x="1038987" y="167357"/>
                    <a:pt x="1038987" y="316325"/>
                  </a:cubicBezTo>
                  <a:cubicBezTo>
                    <a:pt x="1038987" y="350787"/>
                    <a:pt x="1045352" y="384219"/>
                    <a:pt x="1057954" y="415852"/>
                  </a:cubicBezTo>
                  <a:cubicBezTo>
                    <a:pt x="1165260" y="466580"/>
                    <a:pt x="1239648" y="575815"/>
                    <a:pt x="1239648" y="702088"/>
                  </a:cubicBezTo>
                  <a:cubicBezTo>
                    <a:pt x="1239648" y="807530"/>
                    <a:pt x="1186927" y="904870"/>
                    <a:pt x="1101673" y="963185"/>
                  </a:cubicBezTo>
                  <a:cubicBezTo>
                    <a:pt x="1315707" y="1037830"/>
                    <a:pt x="1460818" y="1238812"/>
                    <a:pt x="1460818" y="1469755"/>
                  </a:cubicBezTo>
                  <a:lnTo>
                    <a:pt x="1460754" y="1951894"/>
                  </a:lnTo>
                  <a:lnTo>
                    <a:pt x="1460754" y="1951894"/>
                  </a:lnTo>
                  <a:close/>
                </a:path>
              </a:pathLst>
            </a:custGeom>
            <a:solidFill>
              <a:srgbClr val="0F62FE"/>
            </a:solidFill>
            <a:ln w="64294" cap="flat">
              <a:noFill/>
              <a:prstDash val="solid"/>
              <a:miter/>
            </a:ln>
          </p:spPr>
          <p:txBody>
            <a:bodyPr rtlCol="0" anchor="ctr"/>
            <a:lstStyle/>
            <a:p>
              <a:endParaRPr lang="en-US"/>
            </a:p>
          </p:txBody>
        </p:sp>
      </p:grpSp>
      <p:grpSp>
        <p:nvGrpSpPr>
          <p:cNvPr id="3" name="Group 2">
            <a:extLst>
              <a:ext uri="{FF2B5EF4-FFF2-40B4-BE49-F238E27FC236}">
                <a16:creationId xmlns:a16="http://schemas.microsoft.com/office/drawing/2014/main" id="{A9372001-BED4-20C9-104E-311E7BF5D5F3}"/>
              </a:ext>
            </a:extLst>
          </p:cNvPr>
          <p:cNvGrpSpPr/>
          <p:nvPr/>
        </p:nvGrpSpPr>
        <p:grpSpPr>
          <a:xfrm>
            <a:off x="8321385" y="3424427"/>
            <a:ext cx="7744404" cy="7744968"/>
            <a:chOff x="8321385" y="3424427"/>
            <a:chExt cx="7744404" cy="7744968"/>
          </a:xfrm>
        </p:grpSpPr>
        <p:sp>
          <p:nvSpPr>
            <p:cNvPr id="5" name="Oval 4">
              <a:extLst>
                <a:ext uri="{FF2B5EF4-FFF2-40B4-BE49-F238E27FC236}">
                  <a16:creationId xmlns:a16="http://schemas.microsoft.com/office/drawing/2014/main" id="{20EB7755-A308-7525-B4DE-B0626FD6D47D}"/>
                </a:ext>
              </a:extLst>
            </p:cNvPr>
            <p:cNvSpPr/>
            <p:nvPr/>
          </p:nvSpPr>
          <p:spPr bwMode="auto">
            <a:xfrm>
              <a:off x="8321385" y="3424427"/>
              <a:ext cx="7744404" cy="7744968"/>
            </a:xfrm>
            <a:prstGeom prst="ellipse">
              <a:avLst/>
            </a:prstGeom>
            <a:solidFill>
              <a:srgbClr val="A56EFF">
                <a:alpha val="10000"/>
              </a:srgbClr>
            </a:solidFill>
            <a:ln w="25400">
              <a:solidFill>
                <a:srgbClr val="A56E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algn="ctr"/>
              <a:endParaRPr lang="en-US" sz="4400" kern="0" dirty="0">
                <a:solidFill>
                  <a:schemeClr val="tx1"/>
                </a:solidFill>
              </a:endParaRPr>
            </a:p>
          </p:txBody>
        </p:sp>
        <p:grpSp>
          <p:nvGrpSpPr>
            <p:cNvPr id="6" name="Group 5">
              <a:extLst>
                <a:ext uri="{FF2B5EF4-FFF2-40B4-BE49-F238E27FC236}">
                  <a16:creationId xmlns:a16="http://schemas.microsoft.com/office/drawing/2014/main" id="{CB2F1B53-D65A-C8F3-A823-325DE22E5045}"/>
                </a:ext>
              </a:extLst>
            </p:cNvPr>
            <p:cNvGrpSpPr/>
            <p:nvPr/>
          </p:nvGrpSpPr>
          <p:grpSpPr>
            <a:xfrm>
              <a:off x="11011106" y="5927263"/>
              <a:ext cx="2364962" cy="2743200"/>
              <a:chOff x="1196696" y="5927263"/>
              <a:chExt cx="2364962" cy="2743200"/>
            </a:xfrm>
          </p:grpSpPr>
          <p:sp>
            <p:nvSpPr>
              <p:cNvPr id="10" name="Hexagon 9">
                <a:extLst>
                  <a:ext uri="{FF2B5EF4-FFF2-40B4-BE49-F238E27FC236}">
                    <a16:creationId xmlns:a16="http://schemas.microsoft.com/office/drawing/2014/main" id="{D419A488-94DA-F7CD-5B43-C4C22603C283}"/>
                  </a:ext>
                </a:extLst>
              </p:cNvPr>
              <p:cNvSpPr>
                <a:spLocks noChangeAspect="1"/>
              </p:cNvSpPr>
              <p:nvPr/>
            </p:nvSpPr>
            <p:spPr bwMode="auto">
              <a:xfrm rot="16200000">
                <a:off x="1007577" y="6116382"/>
                <a:ext cx="2743200" cy="2364962"/>
              </a:xfrm>
              <a:prstGeom prst="hexagon">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11" name="Freeform 10">
                <a:extLst>
                  <a:ext uri="{FF2B5EF4-FFF2-40B4-BE49-F238E27FC236}">
                    <a16:creationId xmlns:a16="http://schemas.microsoft.com/office/drawing/2014/main" id="{80F7861B-779A-D153-FDF2-072B7A773A14}"/>
                  </a:ext>
                </a:extLst>
              </p:cNvPr>
              <p:cNvSpPr/>
              <p:nvPr/>
            </p:nvSpPr>
            <p:spPr>
              <a:xfrm>
                <a:off x="1810616" y="6697876"/>
                <a:ext cx="1137121" cy="1201974"/>
              </a:xfrm>
              <a:custGeom>
                <a:avLst/>
                <a:gdLst>
                  <a:gd name="connsiteX0" fmla="*/ 1460754 w 1846580"/>
                  <a:gd name="connsiteY0" fmla="*/ 1951894 h 1951893"/>
                  <a:gd name="connsiteX1" fmla="*/ 1414463 w 1846580"/>
                  <a:gd name="connsiteY1" fmla="*/ 1951894 h 1951893"/>
                  <a:gd name="connsiteX2" fmla="*/ 1414463 w 1846580"/>
                  <a:gd name="connsiteY2" fmla="*/ 1469691 h 1951893"/>
                  <a:gd name="connsiteX3" fmla="*/ 1036930 w 1846580"/>
                  <a:gd name="connsiteY3" fmla="*/ 992374 h 1951893"/>
                  <a:gd name="connsiteX4" fmla="*/ 1019249 w 1846580"/>
                  <a:gd name="connsiteY4" fmla="*/ 972057 h 1951893"/>
                  <a:gd name="connsiteX5" fmla="*/ 1032879 w 1846580"/>
                  <a:gd name="connsiteY5" fmla="*/ 948719 h 1951893"/>
                  <a:gd name="connsiteX6" fmla="*/ 1193356 w 1846580"/>
                  <a:gd name="connsiteY6" fmla="*/ 702088 h 1951893"/>
                  <a:gd name="connsiteX7" fmla="*/ 923323 w 1846580"/>
                  <a:gd name="connsiteY7" fmla="*/ 431990 h 1951893"/>
                  <a:gd name="connsiteX8" fmla="*/ 653225 w 1846580"/>
                  <a:gd name="connsiteY8" fmla="*/ 702088 h 1951893"/>
                  <a:gd name="connsiteX9" fmla="*/ 813702 w 1846580"/>
                  <a:gd name="connsiteY9" fmla="*/ 948719 h 1951893"/>
                  <a:gd name="connsiteX10" fmla="*/ 827332 w 1846580"/>
                  <a:gd name="connsiteY10" fmla="*/ 972057 h 1951893"/>
                  <a:gd name="connsiteX11" fmla="*/ 809651 w 1846580"/>
                  <a:gd name="connsiteY11" fmla="*/ 992374 h 1951893"/>
                  <a:gd name="connsiteX12" fmla="*/ 432118 w 1846580"/>
                  <a:gd name="connsiteY12" fmla="*/ 1469691 h 1951893"/>
                  <a:gd name="connsiteX13" fmla="*/ 432118 w 1846580"/>
                  <a:gd name="connsiteY13" fmla="*/ 1951894 h 1951893"/>
                  <a:gd name="connsiteX14" fmla="*/ 385763 w 1846580"/>
                  <a:gd name="connsiteY14" fmla="*/ 1951894 h 1951893"/>
                  <a:gd name="connsiteX15" fmla="*/ 385763 w 1846580"/>
                  <a:gd name="connsiteY15" fmla="*/ 1469691 h 1951893"/>
                  <a:gd name="connsiteX16" fmla="*/ 744843 w 1846580"/>
                  <a:gd name="connsiteY16" fmla="*/ 963120 h 1951893"/>
                  <a:gd name="connsiteX17" fmla="*/ 606869 w 1846580"/>
                  <a:gd name="connsiteY17" fmla="*/ 702024 h 1951893"/>
                  <a:gd name="connsiteX18" fmla="*/ 788563 w 1846580"/>
                  <a:gd name="connsiteY18" fmla="*/ 415788 h 1951893"/>
                  <a:gd name="connsiteX19" fmla="*/ 807530 w 1846580"/>
                  <a:gd name="connsiteY19" fmla="*/ 316325 h 1951893"/>
                  <a:gd name="connsiteX20" fmla="*/ 537496 w 1846580"/>
                  <a:gd name="connsiteY20" fmla="*/ 46227 h 1951893"/>
                  <a:gd name="connsiteX21" fmla="*/ 267398 w 1846580"/>
                  <a:gd name="connsiteY21" fmla="*/ 316325 h 1951893"/>
                  <a:gd name="connsiteX22" fmla="*/ 427875 w 1846580"/>
                  <a:gd name="connsiteY22" fmla="*/ 562956 h 1951893"/>
                  <a:gd name="connsiteX23" fmla="*/ 441505 w 1846580"/>
                  <a:gd name="connsiteY23" fmla="*/ 586295 h 1951893"/>
                  <a:gd name="connsiteX24" fmla="*/ 423824 w 1846580"/>
                  <a:gd name="connsiteY24" fmla="*/ 606612 h 1951893"/>
                  <a:gd name="connsiteX25" fmla="*/ 46291 w 1846580"/>
                  <a:gd name="connsiteY25" fmla="*/ 1083928 h 1951893"/>
                  <a:gd name="connsiteX26" fmla="*/ 46291 w 1846580"/>
                  <a:gd name="connsiteY26" fmla="*/ 1566132 h 1951893"/>
                  <a:gd name="connsiteX27" fmla="*/ 0 w 1846580"/>
                  <a:gd name="connsiteY27" fmla="*/ 1566132 h 1951893"/>
                  <a:gd name="connsiteX28" fmla="*/ 0 w 1846580"/>
                  <a:gd name="connsiteY28" fmla="*/ 1083928 h 1951893"/>
                  <a:gd name="connsiteX29" fmla="*/ 359081 w 1846580"/>
                  <a:gd name="connsiteY29" fmla="*/ 577358 h 1951893"/>
                  <a:gd name="connsiteX30" fmla="*/ 221171 w 1846580"/>
                  <a:gd name="connsiteY30" fmla="*/ 316325 h 1951893"/>
                  <a:gd name="connsiteX31" fmla="*/ 537496 w 1846580"/>
                  <a:gd name="connsiteY31" fmla="*/ 0 h 1951893"/>
                  <a:gd name="connsiteX32" fmla="*/ 853821 w 1846580"/>
                  <a:gd name="connsiteY32" fmla="*/ 316325 h 1951893"/>
                  <a:gd name="connsiteX33" fmla="*/ 843727 w 1846580"/>
                  <a:gd name="connsiteY33" fmla="*/ 395857 h 1951893"/>
                  <a:gd name="connsiteX34" fmla="*/ 1002725 w 1846580"/>
                  <a:gd name="connsiteY34" fmla="*/ 395857 h 1951893"/>
                  <a:gd name="connsiteX35" fmla="*/ 992631 w 1846580"/>
                  <a:gd name="connsiteY35" fmla="*/ 316325 h 1951893"/>
                  <a:gd name="connsiteX36" fmla="*/ 1309021 w 1846580"/>
                  <a:gd name="connsiteY36" fmla="*/ 0 h 1951893"/>
                  <a:gd name="connsiteX37" fmla="*/ 1625410 w 1846580"/>
                  <a:gd name="connsiteY37" fmla="*/ 316325 h 1951893"/>
                  <a:gd name="connsiteX38" fmla="*/ 1487436 w 1846580"/>
                  <a:gd name="connsiteY38" fmla="*/ 577422 h 1951893"/>
                  <a:gd name="connsiteX39" fmla="*/ 1846581 w 1846580"/>
                  <a:gd name="connsiteY39" fmla="*/ 1083993 h 1951893"/>
                  <a:gd name="connsiteX40" fmla="*/ 1846581 w 1846580"/>
                  <a:gd name="connsiteY40" fmla="*/ 1566132 h 1951893"/>
                  <a:gd name="connsiteX41" fmla="*/ 1800225 w 1846580"/>
                  <a:gd name="connsiteY41" fmla="*/ 1566132 h 1951893"/>
                  <a:gd name="connsiteX42" fmla="*/ 1800225 w 1846580"/>
                  <a:gd name="connsiteY42" fmla="*/ 1083928 h 1951893"/>
                  <a:gd name="connsiteX43" fmla="*/ 1422692 w 1846580"/>
                  <a:gd name="connsiteY43" fmla="*/ 606612 h 1951893"/>
                  <a:gd name="connsiteX44" fmla="*/ 1405011 w 1846580"/>
                  <a:gd name="connsiteY44" fmla="*/ 586295 h 1951893"/>
                  <a:gd name="connsiteX45" fmla="*/ 1418642 w 1846580"/>
                  <a:gd name="connsiteY45" fmla="*/ 562956 h 1951893"/>
                  <a:gd name="connsiteX46" fmla="*/ 1579055 w 1846580"/>
                  <a:gd name="connsiteY46" fmla="*/ 316325 h 1951893"/>
                  <a:gd name="connsiteX47" fmla="*/ 1309021 w 1846580"/>
                  <a:gd name="connsiteY47" fmla="*/ 46227 h 1951893"/>
                  <a:gd name="connsiteX48" fmla="*/ 1038987 w 1846580"/>
                  <a:gd name="connsiteY48" fmla="*/ 316325 h 1951893"/>
                  <a:gd name="connsiteX49" fmla="*/ 1057954 w 1846580"/>
                  <a:gd name="connsiteY49" fmla="*/ 415852 h 1951893"/>
                  <a:gd name="connsiteX50" fmla="*/ 1239648 w 1846580"/>
                  <a:gd name="connsiteY50" fmla="*/ 702088 h 1951893"/>
                  <a:gd name="connsiteX51" fmla="*/ 1101673 w 1846580"/>
                  <a:gd name="connsiteY51" fmla="*/ 963185 h 1951893"/>
                  <a:gd name="connsiteX52" fmla="*/ 1460818 w 1846580"/>
                  <a:gd name="connsiteY52" fmla="*/ 1469755 h 1951893"/>
                  <a:gd name="connsiteX53" fmla="*/ 1460754 w 1846580"/>
                  <a:gd name="connsiteY53" fmla="*/ 1951894 h 1951893"/>
                  <a:gd name="connsiteX54" fmla="*/ 1460754 w 1846580"/>
                  <a:gd name="connsiteY54" fmla="*/ 1951894 h 195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580" h="1951893">
                    <a:moveTo>
                      <a:pt x="1460754" y="1951894"/>
                    </a:moveTo>
                    <a:lnTo>
                      <a:pt x="1414463" y="1951894"/>
                    </a:lnTo>
                    <a:lnTo>
                      <a:pt x="1414463" y="1469691"/>
                    </a:lnTo>
                    <a:cubicBezTo>
                      <a:pt x="1414463" y="1241319"/>
                      <a:pt x="1259257" y="1045095"/>
                      <a:pt x="1036930" y="992374"/>
                    </a:cubicBezTo>
                    <a:cubicBezTo>
                      <a:pt x="1027286" y="990060"/>
                      <a:pt x="1020149" y="981894"/>
                      <a:pt x="1019249" y="972057"/>
                    </a:cubicBezTo>
                    <a:cubicBezTo>
                      <a:pt x="1018284" y="962156"/>
                      <a:pt x="1023814" y="952769"/>
                      <a:pt x="1032879" y="948719"/>
                    </a:cubicBezTo>
                    <a:cubicBezTo>
                      <a:pt x="1130413" y="905320"/>
                      <a:pt x="1193356" y="808494"/>
                      <a:pt x="1193356" y="702088"/>
                    </a:cubicBezTo>
                    <a:cubicBezTo>
                      <a:pt x="1193356" y="553183"/>
                      <a:pt x="1072227" y="431990"/>
                      <a:pt x="923323" y="431990"/>
                    </a:cubicBezTo>
                    <a:cubicBezTo>
                      <a:pt x="774418" y="431990"/>
                      <a:pt x="653225" y="553119"/>
                      <a:pt x="653225" y="702088"/>
                    </a:cubicBezTo>
                    <a:cubicBezTo>
                      <a:pt x="653225" y="808494"/>
                      <a:pt x="716232" y="905385"/>
                      <a:pt x="813702" y="948719"/>
                    </a:cubicBezTo>
                    <a:cubicBezTo>
                      <a:pt x="822767" y="952769"/>
                      <a:pt x="828296" y="962156"/>
                      <a:pt x="827332" y="972057"/>
                    </a:cubicBezTo>
                    <a:cubicBezTo>
                      <a:pt x="826432" y="981894"/>
                      <a:pt x="819295" y="990124"/>
                      <a:pt x="809651" y="992374"/>
                    </a:cubicBezTo>
                    <a:cubicBezTo>
                      <a:pt x="587323" y="1045095"/>
                      <a:pt x="432118" y="1241319"/>
                      <a:pt x="432118" y="1469691"/>
                    </a:cubicBezTo>
                    <a:lnTo>
                      <a:pt x="432118" y="1951894"/>
                    </a:lnTo>
                    <a:lnTo>
                      <a:pt x="385763" y="1951894"/>
                    </a:lnTo>
                    <a:lnTo>
                      <a:pt x="385763" y="1469691"/>
                    </a:lnTo>
                    <a:cubicBezTo>
                      <a:pt x="385763" y="1238748"/>
                      <a:pt x="530874" y="1037765"/>
                      <a:pt x="744843" y="963120"/>
                    </a:cubicBezTo>
                    <a:cubicBezTo>
                      <a:pt x="659590" y="904806"/>
                      <a:pt x="606869" y="807465"/>
                      <a:pt x="606869" y="702024"/>
                    </a:cubicBezTo>
                    <a:cubicBezTo>
                      <a:pt x="606869" y="575751"/>
                      <a:pt x="681257" y="466451"/>
                      <a:pt x="788563" y="415788"/>
                    </a:cubicBezTo>
                    <a:cubicBezTo>
                      <a:pt x="801164" y="384219"/>
                      <a:pt x="807530" y="350787"/>
                      <a:pt x="807530" y="316325"/>
                    </a:cubicBezTo>
                    <a:cubicBezTo>
                      <a:pt x="807530" y="167421"/>
                      <a:pt x="686400" y="46227"/>
                      <a:pt x="537496" y="46227"/>
                    </a:cubicBezTo>
                    <a:cubicBezTo>
                      <a:pt x="388591" y="46227"/>
                      <a:pt x="267398" y="167357"/>
                      <a:pt x="267398" y="316325"/>
                    </a:cubicBezTo>
                    <a:cubicBezTo>
                      <a:pt x="267398" y="422796"/>
                      <a:pt x="330406" y="519622"/>
                      <a:pt x="427875" y="562956"/>
                    </a:cubicBezTo>
                    <a:cubicBezTo>
                      <a:pt x="437005" y="567007"/>
                      <a:pt x="442405" y="576393"/>
                      <a:pt x="441505" y="586295"/>
                    </a:cubicBezTo>
                    <a:cubicBezTo>
                      <a:pt x="440605" y="596132"/>
                      <a:pt x="433468" y="604361"/>
                      <a:pt x="423824" y="606612"/>
                    </a:cubicBezTo>
                    <a:cubicBezTo>
                      <a:pt x="201497" y="659332"/>
                      <a:pt x="46291" y="855557"/>
                      <a:pt x="46291" y="1083928"/>
                    </a:cubicBezTo>
                    <a:lnTo>
                      <a:pt x="46291" y="1566132"/>
                    </a:lnTo>
                    <a:lnTo>
                      <a:pt x="0" y="1566132"/>
                    </a:lnTo>
                    <a:lnTo>
                      <a:pt x="0" y="1083928"/>
                    </a:lnTo>
                    <a:cubicBezTo>
                      <a:pt x="0" y="852985"/>
                      <a:pt x="145111" y="652003"/>
                      <a:pt x="359081" y="577358"/>
                    </a:cubicBezTo>
                    <a:cubicBezTo>
                      <a:pt x="273827" y="519043"/>
                      <a:pt x="221171" y="421703"/>
                      <a:pt x="221171" y="316325"/>
                    </a:cubicBezTo>
                    <a:cubicBezTo>
                      <a:pt x="221171" y="141896"/>
                      <a:pt x="363067" y="0"/>
                      <a:pt x="537496" y="0"/>
                    </a:cubicBezTo>
                    <a:cubicBezTo>
                      <a:pt x="711925" y="0"/>
                      <a:pt x="853821" y="141896"/>
                      <a:pt x="853821" y="316325"/>
                    </a:cubicBezTo>
                    <a:cubicBezTo>
                      <a:pt x="853821" y="343457"/>
                      <a:pt x="850478" y="370075"/>
                      <a:pt x="843727" y="395857"/>
                    </a:cubicBezTo>
                    <a:cubicBezTo>
                      <a:pt x="894583" y="382676"/>
                      <a:pt x="951933" y="382676"/>
                      <a:pt x="1002725" y="395857"/>
                    </a:cubicBezTo>
                    <a:cubicBezTo>
                      <a:pt x="996039" y="370075"/>
                      <a:pt x="992631" y="343457"/>
                      <a:pt x="992631" y="316325"/>
                    </a:cubicBezTo>
                    <a:cubicBezTo>
                      <a:pt x="992631" y="141896"/>
                      <a:pt x="1134592" y="0"/>
                      <a:pt x="1309021" y="0"/>
                    </a:cubicBezTo>
                    <a:cubicBezTo>
                      <a:pt x="1483450" y="0"/>
                      <a:pt x="1625410" y="141896"/>
                      <a:pt x="1625410" y="316325"/>
                    </a:cubicBezTo>
                    <a:cubicBezTo>
                      <a:pt x="1625410" y="421767"/>
                      <a:pt x="1572689" y="519108"/>
                      <a:pt x="1487436" y="577422"/>
                    </a:cubicBezTo>
                    <a:cubicBezTo>
                      <a:pt x="1701470" y="652067"/>
                      <a:pt x="1846581" y="853050"/>
                      <a:pt x="1846581" y="1083993"/>
                    </a:cubicBezTo>
                    <a:lnTo>
                      <a:pt x="1846581" y="1566132"/>
                    </a:lnTo>
                    <a:lnTo>
                      <a:pt x="1800225" y="1566132"/>
                    </a:lnTo>
                    <a:lnTo>
                      <a:pt x="1800225" y="1083928"/>
                    </a:lnTo>
                    <a:cubicBezTo>
                      <a:pt x="1800225" y="855557"/>
                      <a:pt x="1645020" y="659332"/>
                      <a:pt x="1422692" y="606612"/>
                    </a:cubicBezTo>
                    <a:cubicBezTo>
                      <a:pt x="1413048" y="604297"/>
                      <a:pt x="1405911" y="596132"/>
                      <a:pt x="1405011" y="586295"/>
                    </a:cubicBezTo>
                    <a:cubicBezTo>
                      <a:pt x="1404047" y="576393"/>
                      <a:pt x="1409576" y="567007"/>
                      <a:pt x="1418642" y="562956"/>
                    </a:cubicBezTo>
                    <a:cubicBezTo>
                      <a:pt x="1516111" y="519558"/>
                      <a:pt x="1579055" y="422731"/>
                      <a:pt x="1579055" y="316325"/>
                    </a:cubicBezTo>
                    <a:cubicBezTo>
                      <a:pt x="1579055" y="167421"/>
                      <a:pt x="1457925" y="46227"/>
                      <a:pt x="1309021" y="46227"/>
                    </a:cubicBezTo>
                    <a:cubicBezTo>
                      <a:pt x="1160116" y="46227"/>
                      <a:pt x="1038987" y="167357"/>
                      <a:pt x="1038987" y="316325"/>
                    </a:cubicBezTo>
                    <a:cubicBezTo>
                      <a:pt x="1038987" y="350787"/>
                      <a:pt x="1045352" y="384219"/>
                      <a:pt x="1057954" y="415852"/>
                    </a:cubicBezTo>
                    <a:cubicBezTo>
                      <a:pt x="1165260" y="466580"/>
                      <a:pt x="1239648" y="575815"/>
                      <a:pt x="1239648" y="702088"/>
                    </a:cubicBezTo>
                    <a:cubicBezTo>
                      <a:pt x="1239648" y="807530"/>
                      <a:pt x="1186927" y="904870"/>
                      <a:pt x="1101673" y="963185"/>
                    </a:cubicBezTo>
                    <a:cubicBezTo>
                      <a:pt x="1315707" y="1037830"/>
                      <a:pt x="1460818" y="1238812"/>
                      <a:pt x="1460818" y="1469755"/>
                    </a:cubicBezTo>
                    <a:lnTo>
                      <a:pt x="1460754" y="1951894"/>
                    </a:lnTo>
                    <a:lnTo>
                      <a:pt x="1460754" y="1951894"/>
                    </a:lnTo>
                    <a:close/>
                  </a:path>
                </a:pathLst>
              </a:custGeom>
              <a:solidFill>
                <a:srgbClr val="0F62FE"/>
              </a:solidFill>
              <a:ln w="64294" cap="flat">
                <a:noFill/>
                <a:prstDash val="solid"/>
                <a:miter/>
              </a:ln>
            </p:spPr>
            <p:txBody>
              <a:bodyPr rtlCol="0" anchor="ctr"/>
              <a:lstStyle/>
              <a:p>
                <a:endParaRPr lang="en-US"/>
              </a:p>
            </p:txBody>
          </p:sp>
        </p:grpSp>
      </p:grpSp>
      <p:sp>
        <p:nvSpPr>
          <p:cNvPr id="17" name="Title 16">
            <a:extLst>
              <a:ext uri="{FF2B5EF4-FFF2-40B4-BE49-F238E27FC236}">
                <a16:creationId xmlns:a16="http://schemas.microsoft.com/office/drawing/2014/main" id="{B0DA0180-102F-38B6-9D5A-C664B6AC63E4}"/>
              </a:ext>
            </a:extLst>
          </p:cNvPr>
          <p:cNvSpPr>
            <a:spLocks noGrp="1"/>
          </p:cNvSpPr>
          <p:nvPr>
            <p:ph type="title"/>
          </p:nvPr>
        </p:nvSpPr>
        <p:spPr>
          <a:xfrm>
            <a:off x="576072" y="385200"/>
            <a:ext cx="22922771" cy="1527048"/>
          </a:xfrm>
        </p:spPr>
        <p:txBody>
          <a:bodyPr/>
          <a:lstStyle/>
          <a:p>
            <a:r>
              <a:rPr lang="en-US" i="1" kern="0" dirty="0">
                <a:solidFill>
                  <a:schemeClr val="accent1"/>
                </a:solidFill>
                <a:latin typeface="+mn-lt"/>
                <a:cs typeface="Arial"/>
                <a:sym typeface="Arial"/>
              </a:rPr>
              <a:t>Friction points </a:t>
            </a:r>
            <a:r>
              <a:rPr lang="en-US" kern="0" dirty="0">
                <a:solidFill>
                  <a:srgbClr val="000000"/>
                </a:solidFill>
                <a:latin typeface="+mn-lt"/>
                <a:cs typeface="Arial"/>
                <a:sym typeface="Arial"/>
              </a:rPr>
              <a:t>behind employee productivity</a:t>
            </a:r>
            <a:br>
              <a:rPr kumimoji="0" lang="en-US" u="none" strike="noStrike" kern="0" cap="none" spc="0" normalizeH="0" baseline="0" noProof="0" dirty="0">
                <a:ln>
                  <a:noFill/>
                </a:ln>
                <a:solidFill>
                  <a:schemeClr val="accent1"/>
                </a:solidFill>
                <a:effectLst/>
                <a:uLnTx/>
                <a:uFillTx/>
                <a:latin typeface="+mn-lt"/>
                <a:ea typeface="+mn-ea"/>
                <a:cs typeface="Arial"/>
                <a:sym typeface="Arial"/>
              </a:rPr>
            </a:br>
            <a:endParaRPr lang="en-US" dirty="0">
              <a:latin typeface="+mn-lt"/>
            </a:endParaRPr>
          </a:p>
        </p:txBody>
      </p:sp>
    </p:spTree>
    <p:extLst>
      <p:ext uri="{BB962C8B-B14F-4D97-AF65-F5344CB8AC3E}">
        <p14:creationId xmlns:p14="http://schemas.microsoft.com/office/powerpoint/2010/main" val="33960358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500"/>
                                        <p:tgtEl>
                                          <p:spTgt spid="40"/>
                                        </p:tgtEl>
                                      </p:cBhvr>
                                    </p:animEffect>
                                  </p:childTnLst>
                                </p:cTn>
                              </p:par>
                            </p:childTnLst>
                          </p:cTn>
                        </p:par>
                        <p:par>
                          <p:cTn id="14" fill="hold">
                            <p:stCondLst>
                              <p:cond delay="1000"/>
                            </p:stCondLst>
                            <p:childTnLst>
                              <p:par>
                                <p:cTn id="15" presetID="10" presetClass="exit" presetSubtype="0" fill="hold" grpId="0" nodeType="after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descr="Vertical half slide background in blue 10">
            <a:extLst>
              <a:ext uri="{FF2B5EF4-FFF2-40B4-BE49-F238E27FC236}">
                <a16:creationId xmlns:a16="http://schemas.microsoft.com/office/drawing/2014/main" id="{7D4B3C9E-044D-58F7-D87C-7DADF40011E7}"/>
              </a:ext>
            </a:extLst>
          </p:cNvPr>
          <p:cNvSpPr/>
          <p:nvPr/>
        </p:nvSpPr>
        <p:spPr bwMode="auto">
          <a:xfrm>
            <a:off x="12195175" y="0"/>
            <a:ext cx="12192000" cy="13716000"/>
          </a:xfrm>
          <a:prstGeom prst="rect">
            <a:avLst/>
          </a:prstGeom>
          <a:solidFill>
            <a:srgbClr val="F6F2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endParaRPr>
          </a:p>
        </p:txBody>
      </p:sp>
      <p:grpSp>
        <p:nvGrpSpPr>
          <p:cNvPr id="15" name="Group 14">
            <a:extLst>
              <a:ext uri="{FF2B5EF4-FFF2-40B4-BE49-F238E27FC236}">
                <a16:creationId xmlns:a16="http://schemas.microsoft.com/office/drawing/2014/main" id="{BFB5439A-935C-CD64-F8E4-0A505A91C075}"/>
              </a:ext>
            </a:extLst>
          </p:cNvPr>
          <p:cNvGrpSpPr/>
          <p:nvPr/>
        </p:nvGrpSpPr>
        <p:grpSpPr>
          <a:xfrm>
            <a:off x="2226846" y="3424427"/>
            <a:ext cx="7744404" cy="7744968"/>
            <a:chOff x="1435504" y="3424427"/>
            <a:chExt cx="7744404" cy="7744968"/>
          </a:xfrm>
        </p:grpSpPr>
        <p:sp>
          <p:nvSpPr>
            <p:cNvPr id="16" name="Oval 15">
              <a:extLst>
                <a:ext uri="{FF2B5EF4-FFF2-40B4-BE49-F238E27FC236}">
                  <a16:creationId xmlns:a16="http://schemas.microsoft.com/office/drawing/2014/main" id="{194F0A43-1B67-D3AD-DAF9-4A18DE1C82D8}"/>
                </a:ext>
              </a:extLst>
            </p:cNvPr>
            <p:cNvSpPr/>
            <p:nvPr/>
          </p:nvSpPr>
          <p:spPr bwMode="auto">
            <a:xfrm>
              <a:off x="1435504" y="3424427"/>
              <a:ext cx="7744404" cy="7744968"/>
            </a:xfrm>
            <a:prstGeom prst="ellipse">
              <a:avLst/>
            </a:prstGeom>
            <a:solidFill>
              <a:srgbClr val="E5F6FF"/>
            </a:solidFill>
            <a:ln w="254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algn="ctr"/>
              <a:endParaRPr lang="en-US" sz="4400" kern="0" dirty="0">
                <a:solidFill>
                  <a:schemeClr val="tx1"/>
                </a:solidFill>
              </a:endParaRPr>
            </a:p>
          </p:txBody>
        </p:sp>
        <p:sp>
          <p:nvSpPr>
            <p:cNvPr id="17" name="Text Placeholder 1">
              <a:extLst>
                <a:ext uri="{FF2B5EF4-FFF2-40B4-BE49-F238E27FC236}">
                  <a16:creationId xmlns:a16="http://schemas.microsoft.com/office/drawing/2014/main" id="{EC8F8ABC-6EA8-66A2-8A6D-27E1E7C382F4}"/>
                </a:ext>
              </a:extLst>
            </p:cNvPr>
            <p:cNvSpPr txBox="1">
              <a:spLocks/>
            </p:cNvSpPr>
            <p:nvPr/>
          </p:nvSpPr>
          <p:spPr>
            <a:xfrm>
              <a:off x="2870830" y="6245895"/>
              <a:ext cx="4873752" cy="101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400" dirty="0">
                  <a:latin typeface="+mn-lt"/>
                </a:rPr>
                <a:t>Spend hours performing manual cumbersome tasks</a:t>
              </a:r>
              <a:endParaRPr lang="en-US" sz="2400" kern="0" baseline="30000" dirty="0">
                <a:latin typeface="+mn-lt"/>
              </a:endParaRPr>
            </a:p>
          </p:txBody>
        </p:sp>
        <p:sp>
          <p:nvSpPr>
            <p:cNvPr id="18" name="Text Placeholder 1">
              <a:extLst>
                <a:ext uri="{FF2B5EF4-FFF2-40B4-BE49-F238E27FC236}">
                  <a16:creationId xmlns:a16="http://schemas.microsoft.com/office/drawing/2014/main" id="{2E9A6E36-6CF7-6745-5C4E-46E0A8EE93E8}"/>
                </a:ext>
              </a:extLst>
            </p:cNvPr>
            <p:cNvSpPr txBox="1">
              <a:spLocks/>
            </p:cNvSpPr>
            <p:nvPr/>
          </p:nvSpPr>
          <p:spPr>
            <a:xfrm>
              <a:off x="2870830" y="7586688"/>
              <a:ext cx="4873752" cy="101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400" dirty="0">
                  <a:latin typeface="+mn-lt"/>
                </a:rPr>
                <a:t>Have to use 13+ applications </a:t>
              </a:r>
              <a:br>
                <a:rPr lang="en-US" sz="2400" dirty="0">
                  <a:latin typeface="+mn-lt"/>
                </a:rPr>
              </a:br>
              <a:r>
                <a:rPr lang="en-US" sz="2400" dirty="0">
                  <a:latin typeface="+mn-lt"/>
                </a:rPr>
                <a:t>&amp; systems</a:t>
              </a:r>
              <a:endParaRPr lang="en-US" sz="2400" kern="0" baseline="30000" dirty="0">
                <a:latin typeface="+mn-lt"/>
              </a:endParaRPr>
            </a:p>
          </p:txBody>
        </p:sp>
        <p:sp>
          <p:nvSpPr>
            <p:cNvPr id="19" name="Text Placeholder 1">
              <a:extLst>
                <a:ext uri="{FF2B5EF4-FFF2-40B4-BE49-F238E27FC236}">
                  <a16:creationId xmlns:a16="http://schemas.microsoft.com/office/drawing/2014/main" id="{42749E85-BEF3-5040-F4E2-F45FE6DB684F}"/>
                </a:ext>
              </a:extLst>
            </p:cNvPr>
            <p:cNvSpPr txBox="1">
              <a:spLocks/>
            </p:cNvSpPr>
            <p:nvPr/>
          </p:nvSpPr>
          <p:spPr>
            <a:xfrm>
              <a:off x="2870830" y="8927482"/>
              <a:ext cx="4873752" cy="101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400" dirty="0">
                  <a:latin typeface="+mn-lt"/>
                </a:rPr>
                <a:t>Struggle to stay up-to-date </a:t>
              </a:r>
              <a:br>
                <a:rPr lang="en-US" sz="2400" dirty="0">
                  <a:latin typeface="+mn-lt"/>
                </a:rPr>
              </a:br>
              <a:r>
                <a:rPr lang="en-US" sz="2400" dirty="0">
                  <a:latin typeface="+mn-lt"/>
                </a:rPr>
                <a:t>on relevant information </a:t>
              </a:r>
              <a:endParaRPr lang="en-US" sz="2400" kern="0" baseline="30000" dirty="0">
                <a:latin typeface="+mn-lt"/>
              </a:endParaRPr>
            </a:p>
          </p:txBody>
        </p:sp>
        <p:sp>
          <p:nvSpPr>
            <p:cNvPr id="20" name="Text Placeholder 1">
              <a:extLst>
                <a:ext uri="{FF2B5EF4-FFF2-40B4-BE49-F238E27FC236}">
                  <a16:creationId xmlns:a16="http://schemas.microsoft.com/office/drawing/2014/main" id="{82B70D52-5324-8FDF-28E9-DA2AA0D3B8F4}"/>
                </a:ext>
              </a:extLst>
            </p:cNvPr>
            <p:cNvSpPr txBox="1">
              <a:spLocks/>
            </p:cNvSpPr>
            <p:nvPr/>
          </p:nvSpPr>
          <p:spPr>
            <a:xfrm>
              <a:off x="2870830" y="4653229"/>
              <a:ext cx="4873752" cy="126498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400" i="1" kern="0" dirty="0">
                  <a:latin typeface="+mn-lt"/>
                </a:rPr>
                <a:t>Employees stepping through </a:t>
              </a:r>
              <a:br>
                <a:rPr lang="en-US" sz="2400" i="1" kern="0" dirty="0">
                  <a:latin typeface="+mn-lt"/>
                </a:rPr>
              </a:br>
              <a:r>
                <a:rPr lang="en-US" sz="2400" i="1" kern="0" dirty="0">
                  <a:latin typeface="+mn-lt"/>
                </a:rPr>
                <a:t>expert level tasks</a:t>
              </a:r>
              <a:endParaRPr lang="en-US" sz="2400" kern="0" baseline="30000" dirty="0">
                <a:latin typeface="+mn-lt"/>
              </a:endParaRPr>
            </a:p>
          </p:txBody>
        </p:sp>
      </p:grpSp>
      <p:grpSp>
        <p:nvGrpSpPr>
          <p:cNvPr id="9" name="Group 8">
            <a:extLst>
              <a:ext uri="{FF2B5EF4-FFF2-40B4-BE49-F238E27FC236}">
                <a16:creationId xmlns:a16="http://schemas.microsoft.com/office/drawing/2014/main" id="{4AD9174F-98F0-BA14-5196-4E8602B55A2C}"/>
              </a:ext>
            </a:extLst>
          </p:cNvPr>
          <p:cNvGrpSpPr/>
          <p:nvPr/>
        </p:nvGrpSpPr>
        <p:grpSpPr>
          <a:xfrm>
            <a:off x="2226846" y="3424427"/>
            <a:ext cx="7744404" cy="7744968"/>
            <a:chOff x="15213888" y="3424427"/>
            <a:chExt cx="7744404" cy="7744968"/>
          </a:xfrm>
        </p:grpSpPr>
        <p:sp>
          <p:nvSpPr>
            <p:cNvPr id="10" name="Oval 9">
              <a:extLst>
                <a:ext uri="{FF2B5EF4-FFF2-40B4-BE49-F238E27FC236}">
                  <a16:creationId xmlns:a16="http://schemas.microsoft.com/office/drawing/2014/main" id="{CA765EE1-DCAE-6B2B-A074-4D1E3076F02F}"/>
                </a:ext>
              </a:extLst>
            </p:cNvPr>
            <p:cNvSpPr/>
            <p:nvPr/>
          </p:nvSpPr>
          <p:spPr bwMode="auto">
            <a:xfrm>
              <a:off x="15213888" y="3424427"/>
              <a:ext cx="7744404" cy="7744968"/>
            </a:xfrm>
            <a:prstGeom prst="ellipse">
              <a:avLst/>
            </a:prstGeom>
            <a:solidFill>
              <a:srgbClr val="FFF1F1"/>
            </a:solidFill>
            <a:ln w="25400">
              <a:solidFill>
                <a:srgbClr val="FA4D56"/>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algn="ctr"/>
              <a:endParaRPr lang="en-US" sz="4400" kern="0" dirty="0">
                <a:solidFill>
                  <a:schemeClr val="tx1"/>
                </a:solidFill>
              </a:endParaRPr>
            </a:p>
          </p:txBody>
        </p:sp>
        <p:sp>
          <p:nvSpPr>
            <p:cNvPr id="11" name="Text Placeholder 1">
              <a:extLst>
                <a:ext uri="{FF2B5EF4-FFF2-40B4-BE49-F238E27FC236}">
                  <a16:creationId xmlns:a16="http://schemas.microsoft.com/office/drawing/2014/main" id="{C896293A-850E-1E75-C5ED-BE04B309FC35}"/>
                </a:ext>
              </a:extLst>
            </p:cNvPr>
            <p:cNvSpPr txBox="1">
              <a:spLocks/>
            </p:cNvSpPr>
            <p:nvPr/>
          </p:nvSpPr>
          <p:spPr>
            <a:xfrm>
              <a:off x="16649214" y="4653229"/>
              <a:ext cx="4873752" cy="126498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400" i="1" kern="0" dirty="0">
                  <a:latin typeface="+mn-lt"/>
                </a:rPr>
                <a:t>Employees stepping through </a:t>
              </a:r>
              <a:br>
                <a:rPr lang="en-US" sz="2400" i="1" kern="0" dirty="0">
                  <a:latin typeface="+mn-lt"/>
                </a:rPr>
              </a:br>
              <a:r>
                <a:rPr lang="en-US" sz="2400" i="1" kern="0" dirty="0">
                  <a:latin typeface="+mn-lt"/>
                </a:rPr>
                <a:t>tasks they are not experts in</a:t>
              </a:r>
              <a:endParaRPr lang="en-US" sz="2400" kern="0" baseline="30000" dirty="0">
                <a:latin typeface="+mn-lt"/>
              </a:endParaRPr>
            </a:p>
          </p:txBody>
        </p:sp>
        <p:sp>
          <p:nvSpPr>
            <p:cNvPr id="13" name="Text Placeholder 1">
              <a:extLst>
                <a:ext uri="{FF2B5EF4-FFF2-40B4-BE49-F238E27FC236}">
                  <a16:creationId xmlns:a16="http://schemas.microsoft.com/office/drawing/2014/main" id="{B3FBF75E-741D-B1AB-7315-9BF648D775D1}"/>
                </a:ext>
              </a:extLst>
            </p:cNvPr>
            <p:cNvSpPr txBox="1">
              <a:spLocks/>
            </p:cNvSpPr>
            <p:nvPr/>
          </p:nvSpPr>
          <p:spPr>
            <a:xfrm>
              <a:off x="16649214" y="7586688"/>
              <a:ext cx="4873752" cy="101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400" dirty="0">
                  <a:latin typeface="+mn-lt"/>
                </a:rPr>
                <a:t>No idea where to get help with </a:t>
              </a:r>
              <a:br>
                <a:rPr lang="en-US" sz="2400" dirty="0">
                  <a:latin typeface="+mn-lt"/>
                </a:rPr>
              </a:br>
              <a:r>
                <a:rPr lang="en-US" sz="2400" dirty="0">
                  <a:latin typeface="+mn-lt"/>
                </a:rPr>
                <a:t>over 1000 applications</a:t>
              </a:r>
              <a:endParaRPr lang="en-US" sz="2400" kern="0" baseline="30000" dirty="0">
                <a:latin typeface="+mn-lt"/>
              </a:endParaRPr>
            </a:p>
          </p:txBody>
        </p:sp>
        <p:sp>
          <p:nvSpPr>
            <p:cNvPr id="14" name="Text Placeholder 1">
              <a:extLst>
                <a:ext uri="{FF2B5EF4-FFF2-40B4-BE49-F238E27FC236}">
                  <a16:creationId xmlns:a16="http://schemas.microsoft.com/office/drawing/2014/main" id="{A6C1763E-38E2-4B34-F0F6-E09BB67C8536}"/>
                </a:ext>
              </a:extLst>
            </p:cNvPr>
            <p:cNvSpPr txBox="1">
              <a:spLocks/>
            </p:cNvSpPr>
            <p:nvPr/>
          </p:nvSpPr>
          <p:spPr>
            <a:xfrm>
              <a:off x="16649214" y="8927482"/>
              <a:ext cx="4873752" cy="101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400" dirty="0">
                  <a:latin typeface="+mn-lt"/>
                </a:rPr>
                <a:t>Don’t know what kind of </a:t>
              </a:r>
              <a:br>
                <a:rPr lang="en-US" sz="2400" dirty="0">
                  <a:latin typeface="+mn-lt"/>
                </a:rPr>
              </a:br>
              <a:r>
                <a:rPr lang="en-US" sz="2400" dirty="0">
                  <a:latin typeface="+mn-lt"/>
                </a:rPr>
                <a:t>information they need</a:t>
              </a:r>
              <a:endParaRPr lang="en-US" sz="2400" kern="0" baseline="30000" dirty="0">
                <a:latin typeface="+mn-lt"/>
              </a:endParaRPr>
            </a:p>
          </p:txBody>
        </p:sp>
      </p:grpSp>
      <p:sp>
        <p:nvSpPr>
          <p:cNvPr id="23" name="Oval 22">
            <a:extLst>
              <a:ext uri="{FF2B5EF4-FFF2-40B4-BE49-F238E27FC236}">
                <a16:creationId xmlns:a16="http://schemas.microsoft.com/office/drawing/2014/main" id="{3A481BCD-C4B9-D547-027A-3AC87CBB9418}"/>
              </a:ext>
            </a:extLst>
          </p:cNvPr>
          <p:cNvSpPr/>
          <p:nvPr/>
        </p:nvSpPr>
        <p:spPr bwMode="auto">
          <a:xfrm>
            <a:off x="2226846" y="3424427"/>
            <a:ext cx="7744404" cy="7744968"/>
          </a:xfrm>
          <a:prstGeom prst="ellipse">
            <a:avLst/>
          </a:prstGeom>
          <a:solidFill>
            <a:schemeClr val="bg1"/>
          </a:solidFill>
          <a:ln w="2540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algn="ctr"/>
            <a:endParaRPr lang="en-US" sz="4400" kern="0" dirty="0">
              <a:solidFill>
                <a:schemeClr val="tx1"/>
              </a:solidFill>
            </a:endParaRPr>
          </a:p>
        </p:txBody>
      </p:sp>
      <p:grpSp>
        <p:nvGrpSpPr>
          <p:cNvPr id="45" name="Group 44">
            <a:extLst>
              <a:ext uri="{FF2B5EF4-FFF2-40B4-BE49-F238E27FC236}">
                <a16:creationId xmlns:a16="http://schemas.microsoft.com/office/drawing/2014/main" id="{AA4B3961-59EC-5D30-5D99-3D35CDE44AD7}"/>
              </a:ext>
            </a:extLst>
          </p:cNvPr>
          <p:cNvGrpSpPr/>
          <p:nvPr/>
        </p:nvGrpSpPr>
        <p:grpSpPr>
          <a:xfrm>
            <a:off x="2226846" y="3424427"/>
            <a:ext cx="7744404" cy="7744968"/>
            <a:chOff x="8321385" y="3424427"/>
            <a:chExt cx="7744404" cy="7744968"/>
          </a:xfrm>
        </p:grpSpPr>
        <p:sp>
          <p:nvSpPr>
            <p:cNvPr id="33" name="Oval 32">
              <a:extLst>
                <a:ext uri="{FF2B5EF4-FFF2-40B4-BE49-F238E27FC236}">
                  <a16:creationId xmlns:a16="http://schemas.microsoft.com/office/drawing/2014/main" id="{8915770E-3B6F-9DB7-3F13-FDE42C995E01}"/>
                </a:ext>
              </a:extLst>
            </p:cNvPr>
            <p:cNvSpPr/>
            <p:nvPr/>
          </p:nvSpPr>
          <p:spPr bwMode="auto">
            <a:xfrm>
              <a:off x="8321385" y="3424427"/>
              <a:ext cx="7744404" cy="7744968"/>
            </a:xfrm>
            <a:prstGeom prst="ellipse">
              <a:avLst/>
            </a:prstGeom>
            <a:solidFill>
              <a:srgbClr val="A56EFF">
                <a:alpha val="10000"/>
              </a:srgbClr>
            </a:solidFill>
            <a:ln w="25400">
              <a:solidFill>
                <a:srgbClr val="A56E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algn="ctr"/>
              <a:endParaRPr lang="en-US" sz="4400" kern="0" dirty="0">
                <a:solidFill>
                  <a:schemeClr val="tx1"/>
                </a:solidFill>
              </a:endParaRPr>
            </a:p>
          </p:txBody>
        </p:sp>
        <p:grpSp>
          <p:nvGrpSpPr>
            <p:cNvPr id="35" name="Group 34">
              <a:extLst>
                <a:ext uri="{FF2B5EF4-FFF2-40B4-BE49-F238E27FC236}">
                  <a16:creationId xmlns:a16="http://schemas.microsoft.com/office/drawing/2014/main" id="{ECCB6C31-F61B-09B4-F200-9102904F4C70}"/>
                </a:ext>
              </a:extLst>
            </p:cNvPr>
            <p:cNvGrpSpPr/>
            <p:nvPr/>
          </p:nvGrpSpPr>
          <p:grpSpPr>
            <a:xfrm>
              <a:off x="11011106" y="5927263"/>
              <a:ext cx="2364962" cy="2743200"/>
              <a:chOff x="1196696" y="5927263"/>
              <a:chExt cx="2364962" cy="2743200"/>
            </a:xfrm>
          </p:grpSpPr>
          <p:sp>
            <p:nvSpPr>
              <p:cNvPr id="38" name="Hexagon 37">
                <a:extLst>
                  <a:ext uri="{FF2B5EF4-FFF2-40B4-BE49-F238E27FC236}">
                    <a16:creationId xmlns:a16="http://schemas.microsoft.com/office/drawing/2014/main" id="{61FB2A28-ECAB-7C56-912B-E37B5EDF387C}"/>
                  </a:ext>
                </a:extLst>
              </p:cNvPr>
              <p:cNvSpPr>
                <a:spLocks noChangeAspect="1"/>
              </p:cNvSpPr>
              <p:nvPr/>
            </p:nvSpPr>
            <p:spPr bwMode="auto">
              <a:xfrm rot="16200000">
                <a:off x="1007577" y="6116382"/>
                <a:ext cx="2743200" cy="2364962"/>
              </a:xfrm>
              <a:prstGeom prst="hexagon">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39" name="Freeform 38">
                <a:extLst>
                  <a:ext uri="{FF2B5EF4-FFF2-40B4-BE49-F238E27FC236}">
                    <a16:creationId xmlns:a16="http://schemas.microsoft.com/office/drawing/2014/main" id="{ECAA0D00-CF2F-186F-FD4C-5BDC8320D63E}"/>
                  </a:ext>
                </a:extLst>
              </p:cNvPr>
              <p:cNvSpPr/>
              <p:nvPr/>
            </p:nvSpPr>
            <p:spPr>
              <a:xfrm>
                <a:off x="1810616" y="6697876"/>
                <a:ext cx="1137121" cy="1201974"/>
              </a:xfrm>
              <a:custGeom>
                <a:avLst/>
                <a:gdLst>
                  <a:gd name="connsiteX0" fmla="*/ 1460754 w 1846580"/>
                  <a:gd name="connsiteY0" fmla="*/ 1951894 h 1951893"/>
                  <a:gd name="connsiteX1" fmla="*/ 1414463 w 1846580"/>
                  <a:gd name="connsiteY1" fmla="*/ 1951894 h 1951893"/>
                  <a:gd name="connsiteX2" fmla="*/ 1414463 w 1846580"/>
                  <a:gd name="connsiteY2" fmla="*/ 1469691 h 1951893"/>
                  <a:gd name="connsiteX3" fmla="*/ 1036930 w 1846580"/>
                  <a:gd name="connsiteY3" fmla="*/ 992374 h 1951893"/>
                  <a:gd name="connsiteX4" fmla="*/ 1019249 w 1846580"/>
                  <a:gd name="connsiteY4" fmla="*/ 972057 h 1951893"/>
                  <a:gd name="connsiteX5" fmla="*/ 1032879 w 1846580"/>
                  <a:gd name="connsiteY5" fmla="*/ 948719 h 1951893"/>
                  <a:gd name="connsiteX6" fmla="*/ 1193356 w 1846580"/>
                  <a:gd name="connsiteY6" fmla="*/ 702088 h 1951893"/>
                  <a:gd name="connsiteX7" fmla="*/ 923323 w 1846580"/>
                  <a:gd name="connsiteY7" fmla="*/ 431990 h 1951893"/>
                  <a:gd name="connsiteX8" fmla="*/ 653225 w 1846580"/>
                  <a:gd name="connsiteY8" fmla="*/ 702088 h 1951893"/>
                  <a:gd name="connsiteX9" fmla="*/ 813702 w 1846580"/>
                  <a:gd name="connsiteY9" fmla="*/ 948719 h 1951893"/>
                  <a:gd name="connsiteX10" fmla="*/ 827332 w 1846580"/>
                  <a:gd name="connsiteY10" fmla="*/ 972057 h 1951893"/>
                  <a:gd name="connsiteX11" fmla="*/ 809651 w 1846580"/>
                  <a:gd name="connsiteY11" fmla="*/ 992374 h 1951893"/>
                  <a:gd name="connsiteX12" fmla="*/ 432118 w 1846580"/>
                  <a:gd name="connsiteY12" fmla="*/ 1469691 h 1951893"/>
                  <a:gd name="connsiteX13" fmla="*/ 432118 w 1846580"/>
                  <a:gd name="connsiteY13" fmla="*/ 1951894 h 1951893"/>
                  <a:gd name="connsiteX14" fmla="*/ 385763 w 1846580"/>
                  <a:gd name="connsiteY14" fmla="*/ 1951894 h 1951893"/>
                  <a:gd name="connsiteX15" fmla="*/ 385763 w 1846580"/>
                  <a:gd name="connsiteY15" fmla="*/ 1469691 h 1951893"/>
                  <a:gd name="connsiteX16" fmla="*/ 744843 w 1846580"/>
                  <a:gd name="connsiteY16" fmla="*/ 963120 h 1951893"/>
                  <a:gd name="connsiteX17" fmla="*/ 606869 w 1846580"/>
                  <a:gd name="connsiteY17" fmla="*/ 702024 h 1951893"/>
                  <a:gd name="connsiteX18" fmla="*/ 788563 w 1846580"/>
                  <a:gd name="connsiteY18" fmla="*/ 415788 h 1951893"/>
                  <a:gd name="connsiteX19" fmla="*/ 807530 w 1846580"/>
                  <a:gd name="connsiteY19" fmla="*/ 316325 h 1951893"/>
                  <a:gd name="connsiteX20" fmla="*/ 537496 w 1846580"/>
                  <a:gd name="connsiteY20" fmla="*/ 46227 h 1951893"/>
                  <a:gd name="connsiteX21" fmla="*/ 267398 w 1846580"/>
                  <a:gd name="connsiteY21" fmla="*/ 316325 h 1951893"/>
                  <a:gd name="connsiteX22" fmla="*/ 427875 w 1846580"/>
                  <a:gd name="connsiteY22" fmla="*/ 562956 h 1951893"/>
                  <a:gd name="connsiteX23" fmla="*/ 441505 w 1846580"/>
                  <a:gd name="connsiteY23" fmla="*/ 586295 h 1951893"/>
                  <a:gd name="connsiteX24" fmla="*/ 423824 w 1846580"/>
                  <a:gd name="connsiteY24" fmla="*/ 606612 h 1951893"/>
                  <a:gd name="connsiteX25" fmla="*/ 46291 w 1846580"/>
                  <a:gd name="connsiteY25" fmla="*/ 1083928 h 1951893"/>
                  <a:gd name="connsiteX26" fmla="*/ 46291 w 1846580"/>
                  <a:gd name="connsiteY26" fmla="*/ 1566132 h 1951893"/>
                  <a:gd name="connsiteX27" fmla="*/ 0 w 1846580"/>
                  <a:gd name="connsiteY27" fmla="*/ 1566132 h 1951893"/>
                  <a:gd name="connsiteX28" fmla="*/ 0 w 1846580"/>
                  <a:gd name="connsiteY28" fmla="*/ 1083928 h 1951893"/>
                  <a:gd name="connsiteX29" fmla="*/ 359081 w 1846580"/>
                  <a:gd name="connsiteY29" fmla="*/ 577358 h 1951893"/>
                  <a:gd name="connsiteX30" fmla="*/ 221171 w 1846580"/>
                  <a:gd name="connsiteY30" fmla="*/ 316325 h 1951893"/>
                  <a:gd name="connsiteX31" fmla="*/ 537496 w 1846580"/>
                  <a:gd name="connsiteY31" fmla="*/ 0 h 1951893"/>
                  <a:gd name="connsiteX32" fmla="*/ 853821 w 1846580"/>
                  <a:gd name="connsiteY32" fmla="*/ 316325 h 1951893"/>
                  <a:gd name="connsiteX33" fmla="*/ 843727 w 1846580"/>
                  <a:gd name="connsiteY33" fmla="*/ 395857 h 1951893"/>
                  <a:gd name="connsiteX34" fmla="*/ 1002725 w 1846580"/>
                  <a:gd name="connsiteY34" fmla="*/ 395857 h 1951893"/>
                  <a:gd name="connsiteX35" fmla="*/ 992631 w 1846580"/>
                  <a:gd name="connsiteY35" fmla="*/ 316325 h 1951893"/>
                  <a:gd name="connsiteX36" fmla="*/ 1309021 w 1846580"/>
                  <a:gd name="connsiteY36" fmla="*/ 0 h 1951893"/>
                  <a:gd name="connsiteX37" fmla="*/ 1625410 w 1846580"/>
                  <a:gd name="connsiteY37" fmla="*/ 316325 h 1951893"/>
                  <a:gd name="connsiteX38" fmla="*/ 1487436 w 1846580"/>
                  <a:gd name="connsiteY38" fmla="*/ 577422 h 1951893"/>
                  <a:gd name="connsiteX39" fmla="*/ 1846581 w 1846580"/>
                  <a:gd name="connsiteY39" fmla="*/ 1083993 h 1951893"/>
                  <a:gd name="connsiteX40" fmla="*/ 1846581 w 1846580"/>
                  <a:gd name="connsiteY40" fmla="*/ 1566132 h 1951893"/>
                  <a:gd name="connsiteX41" fmla="*/ 1800225 w 1846580"/>
                  <a:gd name="connsiteY41" fmla="*/ 1566132 h 1951893"/>
                  <a:gd name="connsiteX42" fmla="*/ 1800225 w 1846580"/>
                  <a:gd name="connsiteY42" fmla="*/ 1083928 h 1951893"/>
                  <a:gd name="connsiteX43" fmla="*/ 1422692 w 1846580"/>
                  <a:gd name="connsiteY43" fmla="*/ 606612 h 1951893"/>
                  <a:gd name="connsiteX44" fmla="*/ 1405011 w 1846580"/>
                  <a:gd name="connsiteY44" fmla="*/ 586295 h 1951893"/>
                  <a:gd name="connsiteX45" fmla="*/ 1418642 w 1846580"/>
                  <a:gd name="connsiteY45" fmla="*/ 562956 h 1951893"/>
                  <a:gd name="connsiteX46" fmla="*/ 1579055 w 1846580"/>
                  <a:gd name="connsiteY46" fmla="*/ 316325 h 1951893"/>
                  <a:gd name="connsiteX47" fmla="*/ 1309021 w 1846580"/>
                  <a:gd name="connsiteY47" fmla="*/ 46227 h 1951893"/>
                  <a:gd name="connsiteX48" fmla="*/ 1038987 w 1846580"/>
                  <a:gd name="connsiteY48" fmla="*/ 316325 h 1951893"/>
                  <a:gd name="connsiteX49" fmla="*/ 1057954 w 1846580"/>
                  <a:gd name="connsiteY49" fmla="*/ 415852 h 1951893"/>
                  <a:gd name="connsiteX50" fmla="*/ 1239648 w 1846580"/>
                  <a:gd name="connsiteY50" fmla="*/ 702088 h 1951893"/>
                  <a:gd name="connsiteX51" fmla="*/ 1101673 w 1846580"/>
                  <a:gd name="connsiteY51" fmla="*/ 963185 h 1951893"/>
                  <a:gd name="connsiteX52" fmla="*/ 1460818 w 1846580"/>
                  <a:gd name="connsiteY52" fmla="*/ 1469755 h 1951893"/>
                  <a:gd name="connsiteX53" fmla="*/ 1460754 w 1846580"/>
                  <a:gd name="connsiteY53" fmla="*/ 1951894 h 1951893"/>
                  <a:gd name="connsiteX54" fmla="*/ 1460754 w 1846580"/>
                  <a:gd name="connsiteY54" fmla="*/ 1951894 h 195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580" h="1951893">
                    <a:moveTo>
                      <a:pt x="1460754" y="1951894"/>
                    </a:moveTo>
                    <a:lnTo>
                      <a:pt x="1414463" y="1951894"/>
                    </a:lnTo>
                    <a:lnTo>
                      <a:pt x="1414463" y="1469691"/>
                    </a:lnTo>
                    <a:cubicBezTo>
                      <a:pt x="1414463" y="1241319"/>
                      <a:pt x="1259257" y="1045095"/>
                      <a:pt x="1036930" y="992374"/>
                    </a:cubicBezTo>
                    <a:cubicBezTo>
                      <a:pt x="1027286" y="990060"/>
                      <a:pt x="1020149" y="981894"/>
                      <a:pt x="1019249" y="972057"/>
                    </a:cubicBezTo>
                    <a:cubicBezTo>
                      <a:pt x="1018284" y="962156"/>
                      <a:pt x="1023814" y="952769"/>
                      <a:pt x="1032879" y="948719"/>
                    </a:cubicBezTo>
                    <a:cubicBezTo>
                      <a:pt x="1130413" y="905320"/>
                      <a:pt x="1193356" y="808494"/>
                      <a:pt x="1193356" y="702088"/>
                    </a:cubicBezTo>
                    <a:cubicBezTo>
                      <a:pt x="1193356" y="553183"/>
                      <a:pt x="1072227" y="431990"/>
                      <a:pt x="923323" y="431990"/>
                    </a:cubicBezTo>
                    <a:cubicBezTo>
                      <a:pt x="774418" y="431990"/>
                      <a:pt x="653225" y="553119"/>
                      <a:pt x="653225" y="702088"/>
                    </a:cubicBezTo>
                    <a:cubicBezTo>
                      <a:pt x="653225" y="808494"/>
                      <a:pt x="716232" y="905385"/>
                      <a:pt x="813702" y="948719"/>
                    </a:cubicBezTo>
                    <a:cubicBezTo>
                      <a:pt x="822767" y="952769"/>
                      <a:pt x="828296" y="962156"/>
                      <a:pt x="827332" y="972057"/>
                    </a:cubicBezTo>
                    <a:cubicBezTo>
                      <a:pt x="826432" y="981894"/>
                      <a:pt x="819295" y="990124"/>
                      <a:pt x="809651" y="992374"/>
                    </a:cubicBezTo>
                    <a:cubicBezTo>
                      <a:pt x="587323" y="1045095"/>
                      <a:pt x="432118" y="1241319"/>
                      <a:pt x="432118" y="1469691"/>
                    </a:cubicBezTo>
                    <a:lnTo>
                      <a:pt x="432118" y="1951894"/>
                    </a:lnTo>
                    <a:lnTo>
                      <a:pt x="385763" y="1951894"/>
                    </a:lnTo>
                    <a:lnTo>
                      <a:pt x="385763" y="1469691"/>
                    </a:lnTo>
                    <a:cubicBezTo>
                      <a:pt x="385763" y="1238748"/>
                      <a:pt x="530874" y="1037765"/>
                      <a:pt x="744843" y="963120"/>
                    </a:cubicBezTo>
                    <a:cubicBezTo>
                      <a:pt x="659590" y="904806"/>
                      <a:pt x="606869" y="807465"/>
                      <a:pt x="606869" y="702024"/>
                    </a:cubicBezTo>
                    <a:cubicBezTo>
                      <a:pt x="606869" y="575751"/>
                      <a:pt x="681257" y="466451"/>
                      <a:pt x="788563" y="415788"/>
                    </a:cubicBezTo>
                    <a:cubicBezTo>
                      <a:pt x="801164" y="384219"/>
                      <a:pt x="807530" y="350787"/>
                      <a:pt x="807530" y="316325"/>
                    </a:cubicBezTo>
                    <a:cubicBezTo>
                      <a:pt x="807530" y="167421"/>
                      <a:pt x="686400" y="46227"/>
                      <a:pt x="537496" y="46227"/>
                    </a:cubicBezTo>
                    <a:cubicBezTo>
                      <a:pt x="388591" y="46227"/>
                      <a:pt x="267398" y="167357"/>
                      <a:pt x="267398" y="316325"/>
                    </a:cubicBezTo>
                    <a:cubicBezTo>
                      <a:pt x="267398" y="422796"/>
                      <a:pt x="330406" y="519622"/>
                      <a:pt x="427875" y="562956"/>
                    </a:cubicBezTo>
                    <a:cubicBezTo>
                      <a:pt x="437005" y="567007"/>
                      <a:pt x="442405" y="576393"/>
                      <a:pt x="441505" y="586295"/>
                    </a:cubicBezTo>
                    <a:cubicBezTo>
                      <a:pt x="440605" y="596132"/>
                      <a:pt x="433468" y="604361"/>
                      <a:pt x="423824" y="606612"/>
                    </a:cubicBezTo>
                    <a:cubicBezTo>
                      <a:pt x="201497" y="659332"/>
                      <a:pt x="46291" y="855557"/>
                      <a:pt x="46291" y="1083928"/>
                    </a:cubicBezTo>
                    <a:lnTo>
                      <a:pt x="46291" y="1566132"/>
                    </a:lnTo>
                    <a:lnTo>
                      <a:pt x="0" y="1566132"/>
                    </a:lnTo>
                    <a:lnTo>
                      <a:pt x="0" y="1083928"/>
                    </a:lnTo>
                    <a:cubicBezTo>
                      <a:pt x="0" y="852985"/>
                      <a:pt x="145111" y="652003"/>
                      <a:pt x="359081" y="577358"/>
                    </a:cubicBezTo>
                    <a:cubicBezTo>
                      <a:pt x="273827" y="519043"/>
                      <a:pt x="221171" y="421703"/>
                      <a:pt x="221171" y="316325"/>
                    </a:cubicBezTo>
                    <a:cubicBezTo>
                      <a:pt x="221171" y="141896"/>
                      <a:pt x="363067" y="0"/>
                      <a:pt x="537496" y="0"/>
                    </a:cubicBezTo>
                    <a:cubicBezTo>
                      <a:pt x="711925" y="0"/>
                      <a:pt x="853821" y="141896"/>
                      <a:pt x="853821" y="316325"/>
                    </a:cubicBezTo>
                    <a:cubicBezTo>
                      <a:pt x="853821" y="343457"/>
                      <a:pt x="850478" y="370075"/>
                      <a:pt x="843727" y="395857"/>
                    </a:cubicBezTo>
                    <a:cubicBezTo>
                      <a:pt x="894583" y="382676"/>
                      <a:pt x="951933" y="382676"/>
                      <a:pt x="1002725" y="395857"/>
                    </a:cubicBezTo>
                    <a:cubicBezTo>
                      <a:pt x="996039" y="370075"/>
                      <a:pt x="992631" y="343457"/>
                      <a:pt x="992631" y="316325"/>
                    </a:cubicBezTo>
                    <a:cubicBezTo>
                      <a:pt x="992631" y="141896"/>
                      <a:pt x="1134592" y="0"/>
                      <a:pt x="1309021" y="0"/>
                    </a:cubicBezTo>
                    <a:cubicBezTo>
                      <a:pt x="1483450" y="0"/>
                      <a:pt x="1625410" y="141896"/>
                      <a:pt x="1625410" y="316325"/>
                    </a:cubicBezTo>
                    <a:cubicBezTo>
                      <a:pt x="1625410" y="421767"/>
                      <a:pt x="1572689" y="519108"/>
                      <a:pt x="1487436" y="577422"/>
                    </a:cubicBezTo>
                    <a:cubicBezTo>
                      <a:pt x="1701470" y="652067"/>
                      <a:pt x="1846581" y="853050"/>
                      <a:pt x="1846581" y="1083993"/>
                    </a:cubicBezTo>
                    <a:lnTo>
                      <a:pt x="1846581" y="1566132"/>
                    </a:lnTo>
                    <a:lnTo>
                      <a:pt x="1800225" y="1566132"/>
                    </a:lnTo>
                    <a:lnTo>
                      <a:pt x="1800225" y="1083928"/>
                    </a:lnTo>
                    <a:cubicBezTo>
                      <a:pt x="1800225" y="855557"/>
                      <a:pt x="1645020" y="659332"/>
                      <a:pt x="1422692" y="606612"/>
                    </a:cubicBezTo>
                    <a:cubicBezTo>
                      <a:pt x="1413048" y="604297"/>
                      <a:pt x="1405911" y="596132"/>
                      <a:pt x="1405011" y="586295"/>
                    </a:cubicBezTo>
                    <a:cubicBezTo>
                      <a:pt x="1404047" y="576393"/>
                      <a:pt x="1409576" y="567007"/>
                      <a:pt x="1418642" y="562956"/>
                    </a:cubicBezTo>
                    <a:cubicBezTo>
                      <a:pt x="1516111" y="519558"/>
                      <a:pt x="1579055" y="422731"/>
                      <a:pt x="1579055" y="316325"/>
                    </a:cubicBezTo>
                    <a:cubicBezTo>
                      <a:pt x="1579055" y="167421"/>
                      <a:pt x="1457925" y="46227"/>
                      <a:pt x="1309021" y="46227"/>
                    </a:cubicBezTo>
                    <a:cubicBezTo>
                      <a:pt x="1160116" y="46227"/>
                      <a:pt x="1038987" y="167357"/>
                      <a:pt x="1038987" y="316325"/>
                    </a:cubicBezTo>
                    <a:cubicBezTo>
                      <a:pt x="1038987" y="350787"/>
                      <a:pt x="1045352" y="384219"/>
                      <a:pt x="1057954" y="415852"/>
                    </a:cubicBezTo>
                    <a:cubicBezTo>
                      <a:pt x="1165260" y="466580"/>
                      <a:pt x="1239648" y="575815"/>
                      <a:pt x="1239648" y="702088"/>
                    </a:cubicBezTo>
                    <a:cubicBezTo>
                      <a:pt x="1239648" y="807530"/>
                      <a:pt x="1186927" y="904870"/>
                      <a:pt x="1101673" y="963185"/>
                    </a:cubicBezTo>
                    <a:cubicBezTo>
                      <a:pt x="1315707" y="1037830"/>
                      <a:pt x="1460818" y="1238812"/>
                      <a:pt x="1460818" y="1469755"/>
                    </a:cubicBezTo>
                    <a:lnTo>
                      <a:pt x="1460754" y="1951894"/>
                    </a:lnTo>
                    <a:lnTo>
                      <a:pt x="1460754" y="1951894"/>
                    </a:lnTo>
                    <a:close/>
                  </a:path>
                </a:pathLst>
              </a:custGeom>
              <a:solidFill>
                <a:srgbClr val="0F62FE"/>
              </a:solidFill>
              <a:ln w="64294" cap="flat">
                <a:noFill/>
                <a:prstDash val="solid"/>
                <a:miter/>
              </a:ln>
            </p:spPr>
            <p:txBody>
              <a:bodyPr rtlCol="0" anchor="ctr"/>
              <a:lstStyle/>
              <a:p>
                <a:endParaRPr lang="en-US"/>
              </a:p>
            </p:txBody>
          </p:sp>
        </p:grpSp>
      </p:grpSp>
      <p:sp>
        <p:nvSpPr>
          <p:cNvPr id="29" name="TextBox 28">
            <a:extLst>
              <a:ext uri="{FF2B5EF4-FFF2-40B4-BE49-F238E27FC236}">
                <a16:creationId xmlns:a16="http://schemas.microsoft.com/office/drawing/2014/main" id="{87D8AC03-D984-B6A2-DA5A-311EAD37F05D}"/>
              </a:ext>
            </a:extLst>
          </p:cNvPr>
          <p:cNvSpPr txBox="1"/>
          <p:nvPr/>
        </p:nvSpPr>
        <p:spPr>
          <a:xfrm>
            <a:off x="13040701" y="577708"/>
            <a:ext cx="10736619" cy="5909310"/>
          </a:xfrm>
          <a:prstGeom prst="rect">
            <a:avLst/>
          </a:prstGeom>
          <a:noFill/>
        </p:spPr>
        <p:txBody>
          <a:bodyPr wrap="square" lIns="0" tIns="0" rIns="0" bIns="0" anchor="t">
            <a:spAutoFit/>
          </a:bodyPr>
          <a:lstStyle/>
          <a:p>
            <a:r>
              <a:rPr lang="en-US" sz="6400" dirty="0"/>
              <a:t>Harness the power </a:t>
            </a:r>
            <a:br>
              <a:rPr lang="en-US" sz="6400" dirty="0"/>
            </a:br>
            <a:r>
              <a:rPr lang="en-US" sz="6400" dirty="0"/>
              <a:t>of generative AI </a:t>
            </a:r>
            <a:br>
              <a:rPr lang="en-US" sz="6400" dirty="0"/>
            </a:br>
            <a:r>
              <a:rPr lang="en-US" sz="6400" dirty="0"/>
              <a:t>and automation </a:t>
            </a:r>
            <a:br>
              <a:rPr lang="en-US" sz="6400" dirty="0"/>
            </a:br>
            <a:r>
              <a:rPr lang="en-US" sz="6400" dirty="0"/>
              <a:t>to </a:t>
            </a:r>
            <a:r>
              <a:rPr lang="en-US" sz="6400" i="1" dirty="0">
                <a:solidFill>
                  <a:schemeClr val="accent1"/>
                </a:solidFill>
              </a:rPr>
              <a:t>free up </a:t>
            </a:r>
            <a:r>
              <a:rPr lang="en-US" sz="6400" dirty="0"/>
              <a:t>individuals </a:t>
            </a:r>
            <a:br>
              <a:rPr lang="en-US" sz="6400" dirty="0"/>
            </a:br>
            <a:r>
              <a:rPr lang="en-US" sz="6400" dirty="0"/>
              <a:t>across the enterprise </a:t>
            </a:r>
            <a:br>
              <a:rPr lang="en-US" sz="6400" dirty="0"/>
            </a:br>
            <a:r>
              <a:rPr lang="en-US" sz="6400" dirty="0"/>
              <a:t>from tedious daily tasks</a:t>
            </a:r>
          </a:p>
        </p:txBody>
      </p:sp>
      <p:sp>
        <p:nvSpPr>
          <p:cNvPr id="30" name="TextBox 29">
            <a:extLst>
              <a:ext uri="{FF2B5EF4-FFF2-40B4-BE49-F238E27FC236}">
                <a16:creationId xmlns:a16="http://schemas.microsoft.com/office/drawing/2014/main" id="{AFFD5AA0-AC78-CB94-97F0-C861862CF203}"/>
              </a:ext>
            </a:extLst>
          </p:cNvPr>
          <p:cNvSpPr txBox="1"/>
          <p:nvPr/>
        </p:nvSpPr>
        <p:spPr>
          <a:xfrm>
            <a:off x="13040701" y="7435708"/>
            <a:ext cx="10736619" cy="1323439"/>
          </a:xfrm>
          <a:prstGeom prst="rect">
            <a:avLst/>
          </a:prstGeom>
          <a:noFill/>
        </p:spPr>
        <p:txBody>
          <a:bodyPr wrap="square" lIns="0" tIns="0" rIns="0" bIns="0" anchor="t">
            <a:spAutoFit/>
          </a:bodyPr>
          <a:lstStyle/>
          <a:p>
            <a:pPr lvl="0" defTabSz="2438398">
              <a:buClr>
                <a:srgbClr val="000000"/>
              </a:buClr>
              <a:defRPr/>
            </a:pPr>
            <a:r>
              <a:rPr lang="en-US" sz="8600" kern="0" dirty="0">
                <a:cs typeface="Arial"/>
                <a:sym typeface="Arial"/>
              </a:rPr>
              <a:t>Work, </a:t>
            </a:r>
            <a:r>
              <a:rPr lang="en-US" sz="8600" i="1" kern="0" dirty="0">
                <a:solidFill>
                  <a:schemeClr val="accent1"/>
                </a:solidFill>
                <a:cs typeface="Arial"/>
                <a:sym typeface="Arial"/>
              </a:rPr>
              <a:t>reimagined</a:t>
            </a:r>
            <a:r>
              <a:rPr lang="en-US" sz="8600" kern="0" dirty="0">
                <a:cs typeface="Arial"/>
                <a:sym typeface="Arial"/>
              </a:rPr>
              <a:t>.</a:t>
            </a:r>
            <a:endParaRPr kumimoji="0" lang="en-US" sz="8600" u="none" strike="noStrike" kern="0" cap="none" spc="0" normalizeH="0" baseline="0" noProof="0" dirty="0">
              <a:ln>
                <a:noFill/>
              </a:ln>
              <a:effectLst/>
              <a:uLnTx/>
              <a:uFillTx/>
              <a:cs typeface="Arial"/>
              <a:sym typeface="Arial"/>
            </a:endParaRPr>
          </a:p>
        </p:txBody>
      </p:sp>
      <p:grpSp>
        <p:nvGrpSpPr>
          <p:cNvPr id="88" name="Group 87">
            <a:extLst>
              <a:ext uri="{FF2B5EF4-FFF2-40B4-BE49-F238E27FC236}">
                <a16:creationId xmlns:a16="http://schemas.microsoft.com/office/drawing/2014/main" id="{81DE3884-B810-EC53-B47E-332969948D85}"/>
              </a:ext>
            </a:extLst>
          </p:cNvPr>
          <p:cNvGrpSpPr/>
          <p:nvPr/>
        </p:nvGrpSpPr>
        <p:grpSpPr>
          <a:xfrm>
            <a:off x="4916567" y="5925311"/>
            <a:ext cx="2364962" cy="2743200"/>
            <a:chOff x="13449822" y="9865973"/>
            <a:chExt cx="2364962" cy="2743200"/>
          </a:xfrm>
        </p:grpSpPr>
        <p:sp>
          <p:nvSpPr>
            <p:cNvPr id="53" name="Hexagon 52">
              <a:extLst>
                <a:ext uri="{FF2B5EF4-FFF2-40B4-BE49-F238E27FC236}">
                  <a16:creationId xmlns:a16="http://schemas.microsoft.com/office/drawing/2014/main" id="{18BD8422-5CFE-B1E9-B2E8-F8097F620B5D}"/>
                </a:ext>
              </a:extLst>
            </p:cNvPr>
            <p:cNvSpPr>
              <a:spLocks noChangeAspect="1"/>
            </p:cNvSpPr>
            <p:nvPr/>
          </p:nvSpPr>
          <p:spPr bwMode="auto">
            <a:xfrm rot="16200000">
              <a:off x="13260703" y="10055092"/>
              <a:ext cx="2743200" cy="2364962"/>
            </a:xfrm>
            <a:prstGeom prst="hexagon">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82" name="Freeform 81">
              <a:extLst>
                <a:ext uri="{FF2B5EF4-FFF2-40B4-BE49-F238E27FC236}">
                  <a16:creationId xmlns:a16="http://schemas.microsoft.com/office/drawing/2014/main" id="{69558ECB-84E0-B11B-D5AD-D14AA13A33DA}"/>
                </a:ext>
              </a:extLst>
            </p:cNvPr>
            <p:cNvSpPr/>
            <p:nvPr/>
          </p:nvSpPr>
          <p:spPr>
            <a:xfrm>
              <a:off x="14057309" y="10662598"/>
              <a:ext cx="1149986" cy="1149949"/>
            </a:xfrm>
            <a:custGeom>
              <a:avLst/>
              <a:gdLst>
                <a:gd name="connsiteX0" fmla="*/ 574975 w 1149986"/>
                <a:gd name="connsiteY0" fmla="*/ 1149950 h 1149949"/>
                <a:gd name="connsiteX1" fmla="*/ 139252 w 1149986"/>
                <a:gd name="connsiteY1" fmla="*/ 950131 h 1149949"/>
                <a:gd name="connsiteX2" fmla="*/ 139252 w 1149986"/>
                <a:gd name="connsiteY2" fmla="*/ 1136474 h 1149949"/>
                <a:gd name="connsiteX3" fmla="*/ 112300 w 1149986"/>
                <a:gd name="connsiteY3" fmla="*/ 1136474 h 1149949"/>
                <a:gd name="connsiteX4" fmla="*/ 112300 w 1149986"/>
                <a:gd name="connsiteY4" fmla="*/ 898398 h 1149949"/>
                <a:gd name="connsiteX5" fmla="*/ 350375 w 1149986"/>
                <a:gd name="connsiteY5" fmla="*/ 898398 h 1149949"/>
                <a:gd name="connsiteX6" fmla="*/ 350375 w 1149986"/>
                <a:gd name="connsiteY6" fmla="*/ 925387 h 1149949"/>
                <a:gd name="connsiteX7" fmla="*/ 153589 w 1149986"/>
                <a:gd name="connsiteY7" fmla="*/ 925387 h 1149949"/>
                <a:gd name="connsiteX8" fmla="*/ 574975 w 1149986"/>
                <a:gd name="connsiteY8" fmla="*/ 1122998 h 1149949"/>
                <a:gd name="connsiteX9" fmla="*/ 1122998 w 1149986"/>
                <a:gd name="connsiteY9" fmla="*/ 574975 h 1149949"/>
                <a:gd name="connsiteX10" fmla="*/ 1149987 w 1149986"/>
                <a:gd name="connsiteY10" fmla="*/ 574975 h 1149949"/>
                <a:gd name="connsiteX11" fmla="*/ 574975 w 1149986"/>
                <a:gd name="connsiteY11" fmla="*/ 1149950 h 1149949"/>
                <a:gd name="connsiteX12" fmla="*/ 26952 w 1149986"/>
                <a:gd name="connsiteY12" fmla="*/ 574975 h 1149949"/>
                <a:gd name="connsiteX13" fmla="*/ 0 w 1149986"/>
                <a:gd name="connsiteY13" fmla="*/ 574975 h 1149949"/>
                <a:gd name="connsiteX14" fmla="*/ 574975 w 1149986"/>
                <a:gd name="connsiteY14" fmla="*/ 0 h 1149949"/>
                <a:gd name="connsiteX15" fmla="*/ 1010698 w 1149986"/>
                <a:gd name="connsiteY15" fmla="*/ 199781 h 1149949"/>
                <a:gd name="connsiteX16" fmla="*/ 1010698 w 1149986"/>
                <a:gd name="connsiteY16" fmla="*/ 13476 h 1149949"/>
                <a:gd name="connsiteX17" fmla="*/ 1037687 w 1149986"/>
                <a:gd name="connsiteY17" fmla="*/ 13476 h 1149949"/>
                <a:gd name="connsiteX18" fmla="*/ 1037687 w 1149986"/>
                <a:gd name="connsiteY18" fmla="*/ 251551 h 1149949"/>
                <a:gd name="connsiteX19" fmla="*/ 799574 w 1149986"/>
                <a:gd name="connsiteY19" fmla="*/ 251551 h 1149949"/>
                <a:gd name="connsiteX20" fmla="*/ 799574 w 1149986"/>
                <a:gd name="connsiteY20" fmla="*/ 224600 h 1149949"/>
                <a:gd name="connsiteX21" fmla="*/ 996361 w 1149986"/>
                <a:gd name="connsiteY21" fmla="*/ 224600 h 1149949"/>
                <a:gd name="connsiteX22" fmla="*/ 574975 w 1149986"/>
                <a:gd name="connsiteY22" fmla="*/ 26952 h 1149949"/>
                <a:gd name="connsiteX23" fmla="*/ 26952 w 1149986"/>
                <a:gd name="connsiteY23" fmla="*/ 574975 h 114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49986" h="1149949">
                  <a:moveTo>
                    <a:pt x="574975" y="1149950"/>
                  </a:moveTo>
                  <a:cubicBezTo>
                    <a:pt x="405402" y="1149950"/>
                    <a:pt x="248669" y="1077591"/>
                    <a:pt x="139252" y="950131"/>
                  </a:cubicBezTo>
                  <a:lnTo>
                    <a:pt x="139252" y="1136474"/>
                  </a:lnTo>
                  <a:lnTo>
                    <a:pt x="112300" y="1136474"/>
                  </a:lnTo>
                  <a:lnTo>
                    <a:pt x="112300" y="898398"/>
                  </a:lnTo>
                  <a:lnTo>
                    <a:pt x="350375" y="898398"/>
                  </a:lnTo>
                  <a:lnTo>
                    <a:pt x="350375" y="925387"/>
                  </a:lnTo>
                  <a:lnTo>
                    <a:pt x="153589" y="925387"/>
                  </a:lnTo>
                  <a:cubicBezTo>
                    <a:pt x="258102" y="1051313"/>
                    <a:pt x="410194" y="1122998"/>
                    <a:pt x="574975" y="1122998"/>
                  </a:cubicBezTo>
                  <a:cubicBezTo>
                    <a:pt x="877136" y="1122998"/>
                    <a:pt x="1122998" y="877173"/>
                    <a:pt x="1122998" y="574975"/>
                  </a:cubicBezTo>
                  <a:lnTo>
                    <a:pt x="1149987" y="574975"/>
                  </a:lnTo>
                  <a:cubicBezTo>
                    <a:pt x="1149950" y="892034"/>
                    <a:pt x="892034" y="1149950"/>
                    <a:pt x="574975" y="1149950"/>
                  </a:cubicBezTo>
                  <a:close/>
                  <a:moveTo>
                    <a:pt x="26952" y="574975"/>
                  </a:moveTo>
                  <a:lnTo>
                    <a:pt x="0" y="574975"/>
                  </a:lnTo>
                  <a:cubicBezTo>
                    <a:pt x="0" y="257915"/>
                    <a:pt x="257915" y="0"/>
                    <a:pt x="574975" y="0"/>
                  </a:cubicBezTo>
                  <a:cubicBezTo>
                    <a:pt x="744547" y="0"/>
                    <a:pt x="901280" y="72321"/>
                    <a:pt x="1010698" y="199781"/>
                  </a:cubicBezTo>
                  <a:lnTo>
                    <a:pt x="1010698" y="13476"/>
                  </a:lnTo>
                  <a:lnTo>
                    <a:pt x="1037687" y="13476"/>
                  </a:lnTo>
                  <a:lnTo>
                    <a:pt x="1037687" y="251551"/>
                  </a:lnTo>
                  <a:lnTo>
                    <a:pt x="799574" y="251551"/>
                  </a:lnTo>
                  <a:lnTo>
                    <a:pt x="799574" y="224600"/>
                  </a:lnTo>
                  <a:lnTo>
                    <a:pt x="996361" y="224600"/>
                  </a:lnTo>
                  <a:cubicBezTo>
                    <a:pt x="891847" y="98637"/>
                    <a:pt x="739756" y="26952"/>
                    <a:pt x="574975" y="26952"/>
                  </a:cubicBezTo>
                  <a:cubicBezTo>
                    <a:pt x="272776" y="26952"/>
                    <a:pt x="26952" y="272776"/>
                    <a:pt x="26952" y="574975"/>
                  </a:cubicBezTo>
                  <a:close/>
                </a:path>
              </a:pathLst>
            </a:custGeom>
            <a:solidFill>
              <a:schemeClr val="accent1"/>
            </a:solidFill>
            <a:ln w="37207" cap="flat">
              <a:noFill/>
              <a:prstDash val="solid"/>
              <a:miter/>
            </a:ln>
          </p:spPr>
          <p:txBody>
            <a:bodyPr rtlCol="0" anchor="ctr"/>
            <a:lstStyle/>
            <a:p>
              <a:endParaRPr lang="en-US"/>
            </a:p>
          </p:txBody>
        </p:sp>
      </p:grpSp>
      <p:grpSp>
        <p:nvGrpSpPr>
          <p:cNvPr id="87" name="Group 86">
            <a:extLst>
              <a:ext uri="{FF2B5EF4-FFF2-40B4-BE49-F238E27FC236}">
                <a16:creationId xmlns:a16="http://schemas.microsoft.com/office/drawing/2014/main" id="{23EDF29D-3201-3722-F634-8251F065A6B7}"/>
              </a:ext>
            </a:extLst>
          </p:cNvPr>
          <p:cNvGrpSpPr/>
          <p:nvPr/>
        </p:nvGrpSpPr>
        <p:grpSpPr>
          <a:xfrm>
            <a:off x="4916567" y="5925311"/>
            <a:ext cx="2364962" cy="2743200"/>
            <a:chOff x="16829126" y="9865973"/>
            <a:chExt cx="2364962" cy="2743200"/>
          </a:xfrm>
        </p:grpSpPr>
        <p:sp>
          <p:nvSpPr>
            <p:cNvPr id="84" name="Hexagon 83">
              <a:extLst>
                <a:ext uri="{FF2B5EF4-FFF2-40B4-BE49-F238E27FC236}">
                  <a16:creationId xmlns:a16="http://schemas.microsoft.com/office/drawing/2014/main" id="{AD9761E3-869A-3561-32EF-994C58B3B659}"/>
                </a:ext>
              </a:extLst>
            </p:cNvPr>
            <p:cNvSpPr>
              <a:spLocks noChangeAspect="1"/>
            </p:cNvSpPr>
            <p:nvPr/>
          </p:nvSpPr>
          <p:spPr bwMode="auto">
            <a:xfrm rot="16200000">
              <a:off x="16640007" y="10055092"/>
              <a:ext cx="2743200" cy="2364962"/>
            </a:xfrm>
            <a:prstGeom prst="hexagon">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79" name="Freeform 78">
              <a:extLst>
                <a:ext uri="{FF2B5EF4-FFF2-40B4-BE49-F238E27FC236}">
                  <a16:creationId xmlns:a16="http://schemas.microsoft.com/office/drawing/2014/main" id="{429B7A02-CD20-212B-5009-988893725E18}"/>
                </a:ext>
              </a:extLst>
            </p:cNvPr>
            <p:cNvSpPr/>
            <p:nvPr/>
          </p:nvSpPr>
          <p:spPr>
            <a:xfrm>
              <a:off x="17436666" y="10778703"/>
              <a:ext cx="1149882" cy="917741"/>
            </a:xfrm>
            <a:custGeom>
              <a:avLst/>
              <a:gdLst>
                <a:gd name="connsiteX0" fmla="*/ 997957 w 1149882"/>
                <a:gd name="connsiteY0" fmla="*/ 917742 h 917741"/>
                <a:gd name="connsiteX1" fmla="*/ 925823 w 1149882"/>
                <a:gd name="connsiteY1" fmla="*/ 899624 h 917741"/>
                <a:gd name="connsiteX2" fmla="*/ 848748 w 1149882"/>
                <a:gd name="connsiteY2" fmla="*/ 741656 h 917741"/>
                <a:gd name="connsiteX3" fmla="*/ 904823 w 1149882"/>
                <a:gd name="connsiteY3" fmla="*/ 436725 h 917741"/>
                <a:gd name="connsiteX4" fmla="*/ 914930 w 1149882"/>
                <a:gd name="connsiteY4" fmla="*/ 426056 h 917741"/>
                <a:gd name="connsiteX5" fmla="*/ 928780 w 1149882"/>
                <a:gd name="connsiteY5" fmla="*/ 430885 h 917741"/>
                <a:gd name="connsiteX6" fmla="*/ 1119203 w 1149882"/>
                <a:gd name="connsiteY6" fmla="*/ 677233 h 917741"/>
                <a:gd name="connsiteX7" fmla="*/ 1131481 w 1149882"/>
                <a:gd name="connsiteY7" fmla="*/ 839469 h 917741"/>
                <a:gd name="connsiteX8" fmla="*/ 997957 w 1149882"/>
                <a:gd name="connsiteY8" fmla="*/ 917742 h 917741"/>
                <a:gd name="connsiteX9" fmla="*/ 925898 w 1149882"/>
                <a:gd name="connsiteY9" fmla="*/ 471238 h 917741"/>
                <a:gd name="connsiteX10" fmla="*/ 875925 w 1149882"/>
                <a:gd name="connsiteY10" fmla="*/ 743116 h 917741"/>
                <a:gd name="connsiteX11" fmla="*/ 875251 w 1149882"/>
                <a:gd name="connsiteY11" fmla="*/ 746485 h 917741"/>
                <a:gd name="connsiteX12" fmla="*/ 938513 w 1149882"/>
                <a:gd name="connsiteY12" fmla="*/ 875854 h 917741"/>
                <a:gd name="connsiteX13" fmla="*/ 938513 w 1149882"/>
                <a:gd name="connsiteY13" fmla="*/ 875854 h 917741"/>
                <a:gd name="connsiteX14" fmla="*/ 1107824 w 1149882"/>
                <a:gd name="connsiteY14" fmla="*/ 826480 h 917741"/>
                <a:gd name="connsiteX15" fmla="*/ 1097754 w 1149882"/>
                <a:gd name="connsiteY15" fmla="*/ 693666 h 917741"/>
                <a:gd name="connsiteX16" fmla="*/ 925898 w 1149882"/>
                <a:gd name="connsiteY16" fmla="*/ 471238 h 917741"/>
                <a:gd name="connsiteX17" fmla="*/ 523004 w 1149882"/>
                <a:gd name="connsiteY17" fmla="*/ 814688 h 917741"/>
                <a:gd name="connsiteX18" fmla="*/ 431218 w 1149882"/>
                <a:gd name="connsiteY18" fmla="*/ 791030 h 917741"/>
                <a:gd name="connsiteX19" fmla="*/ 334303 w 1149882"/>
                <a:gd name="connsiteY19" fmla="*/ 618912 h 917741"/>
                <a:gd name="connsiteX20" fmla="*/ 341191 w 1149882"/>
                <a:gd name="connsiteY20" fmla="*/ 607795 h 917741"/>
                <a:gd name="connsiteX21" fmla="*/ 354255 w 1149882"/>
                <a:gd name="connsiteY21" fmla="*/ 607757 h 917741"/>
                <a:gd name="connsiteX22" fmla="*/ 628977 w 1149882"/>
                <a:gd name="connsiteY22" fmla="*/ 758613 h 917741"/>
                <a:gd name="connsiteX23" fmla="*/ 635977 w 1149882"/>
                <a:gd name="connsiteY23" fmla="*/ 769806 h 917741"/>
                <a:gd name="connsiteX24" fmla="*/ 630100 w 1149882"/>
                <a:gd name="connsiteY24" fmla="*/ 781560 h 917741"/>
                <a:gd name="connsiteX25" fmla="*/ 523004 w 1149882"/>
                <a:gd name="connsiteY25" fmla="*/ 814688 h 917741"/>
                <a:gd name="connsiteX26" fmla="*/ 361704 w 1149882"/>
                <a:gd name="connsiteY26" fmla="*/ 642608 h 917741"/>
                <a:gd name="connsiteX27" fmla="*/ 444207 w 1149882"/>
                <a:gd name="connsiteY27" fmla="*/ 767410 h 917741"/>
                <a:gd name="connsiteX28" fmla="*/ 444207 w 1149882"/>
                <a:gd name="connsiteY28" fmla="*/ 767410 h 917741"/>
                <a:gd name="connsiteX29" fmla="*/ 595175 w 1149882"/>
                <a:gd name="connsiteY29" fmla="*/ 770816 h 917741"/>
                <a:gd name="connsiteX30" fmla="*/ 361704 w 1149882"/>
                <a:gd name="connsiteY30" fmla="*/ 642608 h 917741"/>
                <a:gd name="connsiteX31" fmla="*/ 680635 w 1149882"/>
                <a:gd name="connsiteY31" fmla="*/ 717661 h 917741"/>
                <a:gd name="connsiteX32" fmla="*/ 674159 w 1149882"/>
                <a:gd name="connsiteY32" fmla="*/ 715977 h 917741"/>
                <a:gd name="connsiteX33" fmla="*/ 367581 w 1149882"/>
                <a:gd name="connsiteY33" fmla="*/ 547677 h 917741"/>
                <a:gd name="connsiteX34" fmla="*/ 361105 w 1149882"/>
                <a:gd name="connsiteY34" fmla="*/ 539554 h 917741"/>
                <a:gd name="connsiteX35" fmla="*/ 362340 w 1149882"/>
                <a:gd name="connsiteY35" fmla="*/ 529260 h 917741"/>
                <a:gd name="connsiteX36" fmla="*/ 405164 w 1149882"/>
                <a:gd name="connsiteY36" fmla="*/ 453233 h 917741"/>
                <a:gd name="connsiteX37" fmla="*/ 423394 w 1149882"/>
                <a:gd name="connsiteY37" fmla="*/ 448029 h 917741"/>
                <a:gd name="connsiteX38" fmla="*/ 729935 w 1149882"/>
                <a:gd name="connsiteY38" fmla="*/ 616329 h 917741"/>
                <a:gd name="connsiteX39" fmla="*/ 736411 w 1149882"/>
                <a:gd name="connsiteY39" fmla="*/ 624452 h 917741"/>
                <a:gd name="connsiteX40" fmla="*/ 735213 w 1149882"/>
                <a:gd name="connsiteY40" fmla="*/ 634747 h 917741"/>
                <a:gd name="connsiteX41" fmla="*/ 692389 w 1149882"/>
                <a:gd name="connsiteY41" fmla="*/ 710773 h 917741"/>
                <a:gd name="connsiteX42" fmla="*/ 680635 w 1149882"/>
                <a:gd name="connsiteY42" fmla="*/ 717661 h 917741"/>
                <a:gd name="connsiteX43" fmla="*/ 392512 w 1149882"/>
                <a:gd name="connsiteY43" fmla="*/ 530607 h 917741"/>
                <a:gd name="connsiteX44" fmla="*/ 675470 w 1149882"/>
                <a:gd name="connsiteY44" fmla="*/ 685918 h 917741"/>
                <a:gd name="connsiteX45" fmla="*/ 705042 w 1149882"/>
                <a:gd name="connsiteY45" fmla="*/ 633399 h 917741"/>
                <a:gd name="connsiteX46" fmla="*/ 422084 w 1149882"/>
                <a:gd name="connsiteY46" fmla="*/ 478088 h 917741"/>
                <a:gd name="connsiteX47" fmla="*/ 392512 w 1149882"/>
                <a:gd name="connsiteY47" fmla="*/ 530607 h 917741"/>
                <a:gd name="connsiteX48" fmla="*/ 765684 w 1149882"/>
                <a:gd name="connsiteY48" fmla="*/ 566655 h 917741"/>
                <a:gd name="connsiteX49" fmla="*/ 759208 w 1149882"/>
                <a:gd name="connsiteY49" fmla="*/ 564971 h 917741"/>
                <a:gd name="connsiteX50" fmla="*/ 452629 w 1149882"/>
                <a:gd name="connsiteY50" fmla="*/ 396634 h 917741"/>
                <a:gd name="connsiteX51" fmla="*/ 446153 w 1149882"/>
                <a:gd name="connsiteY51" fmla="*/ 388511 h 917741"/>
                <a:gd name="connsiteX52" fmla="*/ 447389 w 1149882"/>
                <a:gd name="connsiteY52" fmla="*/ 378216 h 917741"/>
                <a:gd name="connsiteX53" fmla="*/ 490212 w 1149882"/>
                <a:gd name="connsiteY53" fmla="*/ 302190 h 917741"/>
                <a:gd name="connsiteX54" fmla="*/ 508442 w 1149882"/>
                <a:gd name="connsiteY54" fmla="*/ 296986 h 917741"/>
                <a:gd name="connsiteX55" fmla="*/ 814983 w 1149882"/>
                <a:gd name="connsiteY55" fmla="*/ 465286 h 917741"/>
                <a:gd name="connsiteX56" fmla="*/ 821459 w 1149882"/>
                <a:gd name="connsiteY56" fmla="*/ 473409 h 917741"/>
                <a:gd name="connsiteX57" fmla="*/ 820261 w 1149882"/>
                <a:gd name="connsiteY57" fmla="*/ 483703 h 917741"/>
                <a:gd name="connsiteX58" fmla="*/ 777438 w 1149882"/>
                <a:gd name="connsiteY58" fmla="*/ 559730 h 917741"/>
                <a:gd name="connsiteX59" fmla="*/ 765684 w 1149882"/>
                <a:gd name="connsiteY59" fmla="*/ 566655 h 917741"/>
                <a:gd name="connsiteX60" fmla="*/ 477523 w 1149882"/>
                <a:gd name="connsiteY60" fmla="*/ 379564 h 917741"/>
                <a:gd name="connsiteX61" fmla="*/ 760480 w 1149882"/>
                <a:gd name="connsiteY61" fmla="*/ 534912 h 917741"/>
                <a:gd name="connsiteX62" fmla="*/ 790053 w 1149882"/>
                <a:gd name="connsiteY62" fmla="*/ 482393 h 917741"/>
                <a:gd name="connsiteX63" fmla="*/ 507132 w 1149882"/>
                <a:gd name="connsiteY63" fmla="*/ 327045 h 917741"/>
                <a:gd name="connsiteX64" fmla="*/ 477523 w 1149882"/>
                <a:gd name="connsiteY64" fmla="*/ 379564 h 917741"/>
                <a:gd name="connsiteX65" fmla="*/ 151778 w 1149882"/>
                <a:gd name="connsiteY65" fmla="*/ 453083 h 917741"/>
                <a:gd name="connsiteX66" fmla="*/ 76837 w 1149882"/>
                <a:gd name="connsiteY66" fmla="*/ 433468 h 917741"/>
                <a:gd name="connsiteX67" fmla="*/ 5377 w 1149882"/>
                <a:gd name="connsiteY67" fmla="*/ 342393 h 917741"/>
                <a:gd name="connsiteX68" fmla="*/ 19938 w 1149882"/>
                <a:gd name="connsiteY68" fmla="*/ 228820 h 917741"/>
                <a:gd name="connsiteX69" fmla="*/ 165629 w 1149882"/>
                <a:gd name="connsiteY69" fmla="*/ 153692 h 917741"/>
                <a:gd name="connsiteX70" fmla="*/ 478047 w 1149882"/>
                <a:gd name="connsiteY70" fmla="*/ 183376 h 917741"/>
                <a:gd name="connsiteX71" fmla="*/ 489576 w 1149882"/>
                <a:gd name="connsiteY71" fmla="*/ 192585 h 917741"/>
                <a:gd name="connsiteX72" fmla="*/ 485758 w 1149882"/>
                <a:gd name="connsiteY72" fmla="*/ 206847 h 917741"/>
                <a:gd name="connsiteX73" fmla="*/ 255656 w 1149882"/>
                <a:gd name="connsiteY73" fmla="*/ 412468 h 917741"/>
                <a:gd name="connsiteX74" fmla="*/ 253073 w 1149882"/>
                <a:gd name="connsiteY74" fmla="*/ 414751 h 917741"/>
                <a:gd name="connsiteX75" fmla="*/ 151778 w 1149882"/>
                <a:gd name="connsiteY75" fmla="*/ 453083 h 917741"/>
                <a:gd name="connsiteX76" fmla="*/ 151891 w 1149882"/>
                <a:gd name="connsiteY76" fmla="*/ 180045 h 917741"/>
                <a:gd name="connsiteX77" fmla="*/ 43297 w 1149882"/>
                <a:gd name="connsiteY77" fmla="*/ 242296 h 917741"/>
                <a:gd name="connsiteX78" fmla="*/ 31356 w 1149882"/>
                <a:gd name="connsiteY78" fmla="*/ 335243 h 917741"/>
                <a:gd name="connsiteX79" fmla="*/ 90051 w 1149882"/>
                <a:gd name="connsiteY79" fmla="*/ 409960 h 917741"/>
                <a:gd name="connsiteX80" fmla="*/ 90051 w 1149882"/>
                <a:gd name="connsiteY80" fmla="*/ 409960 h 917741"/>
                <a:gd name="connsiteX81" fmla="*/ 235142 w 1149882"/>
                <a:gd name="connsiteY81" fmla="*/ 394612 h 917741"/>
                <a:gd name="connsiteX82" fmla="*/ 444806 w 1149882"/>
                <a:gd name="connsiteY82" fmla="*/ 207296 h 917741"/>
                <a:gd name="connsiteX83" fmla="*/ 163121 w 1149882"/>
                <a:gd name="connsiteY83" fmla="*/ 180531 h 917741"/>
                <a:gd name="connsiteX84" fmla="*/ 151891 w 1149882"/>
                <a:gd name="connsiteY84" fmla="*/ 180045 h 917741"/>
                <a:gd name="connsiteX85" fmla="*/ 834823 w 1149882"/>
                <a:gd name="connsiteY85" fmla="*/ 406853 h 917741"/>
                <a:gd name="connsiteX86" fmla="*/ 828347 w 1149882"/>
                <a:gd name="connsiteY86" fmla="*/ 405206 h 917741"/>
                <a:gd name="connsiteX87" fmla="*/ 553549 w 1149882"/>
                <a:gd name="connsiteY87" fmla="*/ 254350 h 917741"/>
                <a:gd name="connsiteX88" fmla="*/ 546587 w 1149882"/>
                <a:gd name="connsiteY88" fmla="*/ 243195 h 917741"/>
                <a:gd name="connsiteX89" fmla="*/ 552464 w 1149882"/>
                <a:gd name="connsiteY89" fmla="*/ 231403 h 917741"/>
                <a:gd name="connsiteX90" fmla="*/ 751309 w 1149882"/>
                <a:gd name="connsiteY90" fmla="*/ 221970 h 917741"/>
                <a:gd name="connsiteX91" fmla="*/ 751309 w 1149882"/>
                <a:gd name="connsiteY91" fmla="*/ 221970 h 917741"/>
                <a:gd name="connsiteX92" fmla="*/ 848261 w 1149882"/>
                <a:gd name="connsiteY92" fmla="*/ 394051 h 917741"/>
                <a:gd name="connsiteX93" fmla="*/ 841374 w 1149882"/>
                <a:gd name="connsiteY93" fmla="*/ 405168 h 917741"/>
                <a:gd name="connsiteX94" fmla="*/ 834823 w 1149882"/>
                <a:gd name="connsiteY94" fmla="*/ 406853 h 917741"/>
                <a:gd name="connsiteX95" fmla="*/ 587389 w 1149882"/>
                <a:gd name="connsiteY95" fmla="*/ 242147 h 917741"/>
                <a:gd name="connsiteX96" fmla="*/ 820860 w 1149882"/>
                <a:gd name="connsiteY96" fmla="*/ 370355 h 917741"/>
                <a:gd name="connsiteX97" fmla="*/ 738395 w 1149882"/>
                <a:gd name="connsiteY97" fmla="*/ 245553 h 917741"/>
                <a:gd name="connsiteX98" fmla="*/ 587389 w 1149882"/>
                <a:gd name="connsiteY98" fmla="*/ 242147 h 917741"/>
                <a:gd name="connsiteX99" fmla="*/ 905010 w 1149882"/>
                <a:gd name="connsiteY99" fmla="*/ 260414 h 917741"/>
                <a:gd name="connsiteX100" fmla="*/ 868700 w 1149882"/>
                <a:gd name="connsiteY100" fmla="*/ 251093 h 917741"/>
                <a:gd name="connsiteX101" fmla="*/ 832914 w 1149882"/>
                <a:gd name="connsiteY101" fmla="*/ 206398 h 917741"/>
                <a:gd name="connsiteX102" fmla="*/ 839614 w 1149882"/>
                <a:gd name="connsiteY102" fmla="*/ 150023 h 917741"/>
                <a:gd name="connsiteX103" fmla="*/ 941545 w 1149882"/>
                <a:gd name="connsiteY103" fmla="*/ 121275 h 917741"/>
                <a:gd name="connsiteX104" fmla="*/ 977331 w 1149882"/>
                <a:gd name="connsiteY104" fmla="*/ 166007 h 917741"/>
                <a:gd name="connsiteX105" fmla="*/ 970631 w 1149882"/>
                <a:gd name="connsiteY105" fmla="*/ 222307 h 917741"/>
                <a:gd name="connsiteX106" fmla="*/ 970631 w 1149882"/>
                <a:gd name="connsiteY106" fmla="*/ 222307 h 917741"/>
                <a:gd name="connsiteX107" fmla="*/ 905010 w 1149882"/>
                <a:gd name="connsiteY107" fmla="*/ 260414 h 917741"/>
                <a:gd name="connsiteX108" fmla="*/ 905197 w 1149882"/>
                <a:gd name="connsiteY108" fmla="*/ 138906 h 917741"/>
                <a:gd name="connsiteX109" fmla="*/ 863085 w 1149882"/>
                <a:gd name="connsiteY109" fmla="*/ 163275 h 917741"/>
                <a:gd name="connsiteX110" fmla="*/ 858855 w 1149882"/>
                <a:gd name="connsiteY110" fmla="*/ 199023 h 917741"/>
                <a:gd name="connsiteX111" fmla="*/ 881689 w 1149882"/>
                <a:gd name="connsiteY111" fmla="*/ 227473 h 917741"/>
                <a:gd name="connsiteX112" fmla="*/ 947160 w 1149882"/>
                <a:gd name="connsiteY112" fmla="*/ 209130 h 917741"/>
                <a:gd name="connsiteX113" fmla="*/ 947160 w 1149882"/>
                <a:gd name="connsiteY113" fmla="*/ 209130 h 917741"/>
                <a:gd name="connsiteX114" fmla="*/ 951390 w 1149882"/>
                <a:gd name="connsiteY114" fmla="*/ 173419 h 917741"/>
                <a:gd name="connsiteX115" fmla="*/ 928556 w 1149882"/>
                <a:gd name="connsiteY115" fmla="*/ 144932 h 917741"/>
                <a:gd name="connsiteX116" fmla="*/ 905197 w 1149882"/>
                <a:gd name="connsiteY116" fmla="*/ 138906 h 917741"/>
                <a:gd name="connsiteX117" fmla="*/ 701036 w 1149882"/>
                <a:gd name="connsiteY117" fmla="*/ 148451 h 917741"/>
                <a:gd name="connsiteX118" fmla="*/ 664801 w 1149882"/>
                <a:gd name="connsiteY118" fmla="*/ 139130 h 917741"/>
                <a:gd name="connsiteX119" fmla="*/ 628977 w 1149882"/>
                <a:gd name="connsiteY119" fmla="*/ 94435 h 917741"/>
                <a:gd name="connsiteX120" fmla="*/ 635678 w 1149882"/>
                <a:gd name="connsiteY120" fmla="*/ 38060 h 917741"/>
                <a:gd name="connsiteX121" fmla="*/ 737609 w 1149882"/>
                <a:gd name="connsiteY121" fmla="*/ 9312 h 917741"/>
                <a:gd name="connsiteX122" fmla="*/ 773432 w 1149882"/>
                <a:gd name="connsiteY122" fmla="*/ 54044 h 917741"/>
                <a:gd name="connsiteX123" fmla="*/ 766732 w 1149882"/>
                <a:gd name="connsiteY123" fmla="*/ 110344 h 917741"/>
                <a:gd name="connsiteX124" fmla="*/ 701036 w 1149882"/>
                <a:gd name="connsiteY124" fmla="*/ 148451 h 917741"/>
                <a:gd name="connsiteX125" fmla="*/ 701261 w 1149882"/>
                <a:gd name="connsiteY125" fmla="*/ 26943 h 917741"/>
                <a:gd name="connsiteX126" fmla="*/ 659149 w 1149882"/>
                <a:gd name="connsiteY126" fmla="*/ 51312 h 917741"/>
                <a:gd name="connsiteX127" fmla="*/ 654919 w 1149882"/>
                <a:gd name="connsiteY127" fmla="*/ 87061 h 917741"/>
                <a:gd name="connsiteX128" fmla="*/ 677753 w 1149882"/>
                <a:gd name="connsiteY128" fmla="*/ 115547 h 917741"/>
                <a:gd name="connsiteX129" fmla="*/ 743261 w 1149882"/>
                <a:gd name="connsiteY129" fmla="*/ 97168 h 917741"/>
                <a:gd name="connsiteX130" fmla="*/ 747491 w 1149882"/>
                <a:gd name="connsiteY130" fmla="*/ 61494 h 917741"/>
                <a:gd name="connsiteX131" fmla="*/ 724657 w 1149882"/>
                <a:gd name="connsiteY131" fmla="*/ 32970 h 917741"/>
                <a:gd name="connsiteX132" fmla="*/ 701261 w 1149882"/>
                <a:gd name="connsiteY132" fmla="*/ 26943 h 917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1149882" h="917741">
                  <a:moveTo>
                    <a:pt x="997957" y="917742"/>
                  </a:moveTo>
                  <a:cubicBezTo>
                    <a:pt x="973513" y="917742"/>
                    <a:pt x="948770" y="911940"/>
                    <a:pt x="925823" y="899624"/>
                  </a:cubicBezTo>
                  <a:cubicBezTo>
                    <a:pt x="868363" y="868817"/>
                    <a:pt x="837406" y="805292"/>
                    <a:pt x="848748" y="741656"/>
                  </a:cubicBezTo>
                  <a:lnTo>
                    <a:pt x="904823" y="436725"/>
                  </a:lnTo>
                  <a:cubicBezTo>
                    <a:pt x="905796" y="431484"/>
                    <a:pt x="909764" y="427329"/>
                    <a:pt x="914930" y="426056"/>
                  </a:cubicBezTo>
                  <a:cubicBezTo>
                    <a:pt x="920133" y="424821"/>
                    <a:pt x="925524" y="426693"/>
                    <a:pt x="928780" y="430885"/>
                  </a:cubicBezTo>
                  <a:lnTo>
                    <a:pt x="1119203" y="677233"/>
                  </a:lnTo>
                  <a:cubicBezTo>
                    <a:pt x="1155102" y="724212"/>
                    <a:pt x="1159893" y="787849"/>
                    <a:pt x="1131481" y="839469"/>
                  </a:cubicBezTo>
                  <a:cubicBezTo>
                    <a:pt x="1104005" y="889405"/>
                    <a:pt x="1051786" y="917742"/>
                    <a:pt x="997957" y="917742"/>
                  </a:cubicBezTo>
                  <a:close/>
                  <a:moveTo>
                    <a:pt x="925898" y="471238"/>
                  </a:moveTo>
                  <a:lnTo>
                    <a:pt x="875925" y="743116"/>
                  </a:lnTo>
                  <a:cubicBezTo>
                    <a:pt x="875887" y="743191"/>
                    <a:pt x="875288" y="746410"/>
                    <a:pt x="875251" y="746485"/>
                  </a:cubicBezTo>
                  <a:cubicBezTo>
                    <a:pt x="865967" y="798554"/>
                    <a:pt x="891385" y="850549"/>
                    <a:pt x="938513" y="875854"/>
                  </a:cubicBezTo>
                  <a:lnTo>
                    <a:pt x="938513" y="875854"/>
                  </a:lnTo>
                  <a:cubicBezTo>
                    <a:pt x="999080" y="908346"/>
                    <a:pt x="1074995" y="886186"/>
                    <a:pt x="1107824" y="826480"/>
                  </a:cubicBezTo>
                  <a:cubicBezTo>
                    <a:pt x="1131107" y="784217"/>
                    <a:pt x="1127177" y="732110"/>
                    <a:pt x="1097754" y="693666"/>
                  </a:cubicBezTo>
                  <a:lnTo>
                    <a:pt x="925898" y="471238"/>
                  </a:lnTo>
                  <a:close/>
                  <a:moveTo>
                    <a:pt x="523004" y="814688"/>
                  </a:moveTo>
                  <a:cubicBezTo>
                    <a:pt x="491560" y="814688"/>
                    <a:pt x="460004" y="806865"/>
                    <a:pt x="431218" y="791030"/>
                  </a:cubicBezTo>
                  <a:cubicBezTo>
                    <a:pt x="368030" y="756367"/>
                    <a:pt x="330896" y="690410"/>
                    <a:pt x="334303" y="618912"/>
                  </a:cubicBezTo>
                  <a:cubicBezTo>
                    <a:pt x="334528" y="614270"/>
                    <a:pt x="337110" y="610078"/>
                    <a:pt x="341191" y="607795"/>
                  </a:cubicBezTo>
                  <a:cubicBezTo>
                    <a:pt x="345271" y="605586"/>
                    <a:pt x="350175" y="605549"/>
                    <a:pt x="354255" y="607757"/>
                  </a:cubicBezTo>
                  <a:lnTo>
                    <a:pt x="628977" y="758613"/>
                  </a:lnTo>
                  <a:cubicBezTo>
                    <a:pt x="633095" y="760897"/>
                    <a:pt x="635753" y="765089"/>
                    <a:pt x="635977" y="769806"/>
                  </a:cubicBezTo>
                  <a:cubicBezTo>
                    <a:pt x="636202" y="774485"/>
                    <a:pt x="633956" y="778939"/>
                    <a:pt x="630100" y="781560"/>
                  </a:cubicBezTo>
                  <a:cubicBezTo>
                    <a:pt x="597683" y="803608"/>
                    <a:pt x="560400" y="814688"/>
                    <a:pt x="523004" y="814688"/>
                  </a:cubicBezTo>
                  <a:close/>
                  <a:moveTo>
                    <a:pt x="361704" y="642608"/>
                  </a:moveTo>
                  <a:cubicBezTo>
                    <a:pt x="366496" y="694864"/>
                    <a:pt x="396779" y="741394"/>
                    <a:pt x="444207" y="767410"/>
                  </a:cubicBezTo>
                  <a:lnTo>
                    <a:pt x="444207" y="767410"/>
                  </a:lnTo>
                  <a:cubicBezTo>
                    <a:pt x="491635" y="793463"/>
                    <a:pt x="547710" y="794362"/>
                    <a:pt x="595175" y="770816"/>
                  </a:cubicBezTo>
                  <a:lnTo>
                    <a:pt x="361704" y="642608"/>
                  </a:lnTo>
                  <a:close/>
                  <a:moveTo>
                    <a:pt x="680635" y="717661"/>
                  </a:moveTo>
                  <a:cubicBezTo>
                    <a:pt x="678427" y="717661"/>
                    <a:pt x="676218" y="717100"/>
                    <a:pt x="674159" y="715977"/>
                  </a:cubicBezTo>
                  <a:lnTo>
                    <a:pt x="367581" y="547677"/>
                  </a:lnTo>
                  <a:cubicBezTo>
                    <a:pt x="364437" y="545955"/>
                    <a:pt x="362116" y="543035"/>
                    <a:pt x="361105" y="539554"/>
                  </a:cubicBezTo>
                  <a:cubicBezTo>
                    <a:pt x="360094" y="536072"/>
                    <a:pt x="360544" y="532404"/>
                    <a:pt x="362340" y="529260"/>
                  </a:cubicBezTo>
                  <a:lnTo>
                    <a:pt x="405164" y="453233"/>
                  </a:lnTo>
                  <a:cubicBezTo>
                    <a:pt x="408758" y="446832"/>
                    <a:pt x="416843" y="444511"/>
                    <a:pt x="423394" y="448029"/>
                  </a:cubicBezTo>
                  <a:lnTo>
                    <a:pt x="729935" y="616329"/>
                  </a:lnTo>
                  <a:cubicBezTo>
                    <a:pt x="733117" y="618051"/>
                    <a:pt x="735400" y="620971"/>
                    <a:pt x="736411" y="624452"/>
                  </a:cubicBezTo>
                  <a:cubicBezTo>
                    <a:pt x="737422" y="627896"/>
                    <a:pt x="737010" y="631602"/>
                    <a:pt x="735213" y="634747"/>
                  </a:cubicBezTo>
                  <a:lnTo>
                    <a:pt x="692389" y="710773"/>
                  </a:lnTo>
                  <a:cubicBezTo>
                    <a:pt x="689919" y="715191"/>
                    <a:pt x="685352" y="717661"/>
                    <a:pt x="680635" y="717661"/>
                  </a:cubicBezTo>
                  <a:close/>
                  <a:moveTo>
                    <a:pt x="392512" y="530607"/>
                  </a:moveTo>
                  <a:lnTo>
                    <a:pt x="675470" y="685918"/>
                  </a:lnTo>
                  <a:lnTo>
                    <a:pt x="705042" y="633399"/>
                  </a:lnTo>
                  <a:lnTo>
                    <a:pt x="422084" y="478088"/>
                  </a:lnTo>
                  <a:lnTo>
                    <a:pt x="392512" y="530607"/>
                  </a:lnTo>
                  <a:close/>
                  <a:moveTo>
                    <a:pt x="765684" y="566655"/>
                  </a:moveTo>
                  <a:cubicBezTo>
                    <a:pt x="763475" y="566655"/>
                    <a:pt x="761267" y="566094"/>
                    <a:pt x="759208" y="564971"/>
                  </a:cubicBezTo>
                  <a:lnTo>
                    <a:pt x="452629" y="396634"/>
                  </a:lnTo>
                  <a:cubicBezTo>
                    <a:pt x="449485" y="394912"/>
                    <a:pt x="447164" y="391992"/>
                    <a:pt x="446153" y="388511"/>
                  </a:cubicBezTo>
                  <a:cubicBezTo>
                    <a:pt x="445180" y="385067"/>
                    <a:pt x="445592" y="381361"/>
                    <a:pt x="447389" y="378216"/>
                  </a:cubicBezTo>
                  <a:lnTo>
                    <a:pt x="490212" y="302190"/>
                  </a:lnTo>
                  <a:cubicBezTo>
                    <a:pt x="493843" y="295788"/>
                    <a:pt x="501892" y="293393"/>
                    <a:pt x="508442" y="296986"/>
                  </a:cubicBezTo>
                  <a:lnTo>
                    <a:pt x="814983" y="465286"/>
                  </a:lnTo>
                  <a:cubicBezTo>
                    <a:pt x="818165" y="467008"/>
                    <a:pt x="820449" y="469928"/>
                    <a:pt x="821459" y="473409"/>
                  </a:cubicBezTo>
                  <a:cubicBezTo>
                    <a:pt x="822470" y="476853"/>
                    <a:pt x="822058" y="480559"/>
                    <a:pt x="820261" y="483703"/>
                  </a:cubicBezTo>
                  <a:lnTo>
                    <a:pt x="777438" y="559730"/>
                  </a:lnTo>
                  <a:cubicBezTo>
                    <a:pt x="774967" y="564147"/>
                    <a:pt x="770400" y="566655"/>
                    <a:pt x="765684" y="566655"/>
                  </a:cubicBezTo>
                  <a:close/>
                  <a:moveTo>
                    <a:pt x="477523" y="379564"/>
                  </a:moveTo>
                  <a:lnTo>
                    <a:pt x="760480" y="534912"/>
                  </a:lnTo>
                  <a:lnTo>
                    <a:pt x="790053" y="482393"/>
                  </a:lnTo>
                  <a:lnTo>
                    <a:pt x="507132" y="327045"/>
                  </a:lnTo>
                  <a:lnTo>
                    <a:pt x="477523" y="379564"/>
                  </a:lnTo>
                  <a:close/>
                  <a:moveTo>
                    <a:pt x="151778" y="453083"/>
                  </a:moveTo>
                  <a:cubicBezTo>
                    <a:pt x="126062" y="453083"/>
                    <a:pt x="100270" y="446644"/>
                    <a:pt x="76837" y="433468"/>
                  </a:cubicBezTo>
                  <a:cubicBezTo>
                    <a:pt x="41425" y="413591"/>
                    <a:pt x="16045" y="381249"/>
                    <a:pt x="5377" y="342393"/>
                  </a:cubicBezTo>
                  <a:cubicBezTo>
                    <a:pt x="-5217" y="303874"/>
                    <a:pt x="-51" y="263558"/>
                    <a:pt x="19938" y="228820"/>
                  </a:cubicBezTo>
                  <a:cubicBezTo>
                    <a:pt x="49249" y="177874"/>
                    <a:pt x="106559" y="148339"/>
                    <a:pt x="165629" y="153692"/>
                  </a:cubicBezTo>
                  <a:lnTo>
                    <a:pt x="478047" y="183376"/>
                  </a:lnTo>
                  <a:cubicBezTo>
                    <a:pt x="483362" y="183900"/>
                    <a:pt x="487892" y="187494"/>
                    <a:pt x="489576" y="192585"/>
                  </a:cubicBezTo>
                  <a:cubicBezTo>
                    <a:pt x="491260" y="197676"/>
                    <a:pt x="489763" y="203291"/>
                    <a:pt x="485758" y="206847"/>
                  </a:cubicBezTo>
                  <a:lnTo>
                    <a:pt x="255656" y="412468"/>
                  </a:lnTo>
                  <a:cubicBezTo>
                    <a:pt x="255618" y="412505"/>
                    <a:pt x="253148" y="414714"/>
                    <a:pt x="253073" y="414751"/>
                  </a:cubicBezTo>
                  <a:cubicBezTo>
                    <a:pt x="224474" y="440056"/>
                    <a:pt x="188276" y="453083"/>
                    <a:pt x="151778" y="453083"/>
                  </a:cubicBezTo>
                  <a:close/>
                  <a:moveTo>
                    <a:pt x="151891" y="180045"/>
                  </a:moveTo>
                  <a:cubicBezTo>
                    <a:pt x="107308" y="180045"/>
                    <a:pt x="65532" y="203665"/>
                    <a:pt x="43297" y="242296"/>
                  </a:cubicBezTo>
                  <a:cubicBezTo>
                    <a:pt x="26901" y="270708"/>
                    <a:pt x="22671" y="303724"/>
                    <a:pt x="31356" y="335243"/>
                  </a:cubicBezTo>
                  <a:cubicBezTo>
                    <a:pt x="40115" y="367099"/>
                    <a:pt x="60965" y="393639"/>
                    <a:pt x="90051" y="409960"/>
                  </a:cubicBezTo>
                  <a:lnTo>
                    <a:pt x="90051" y="409960"/>
                  </a:lnTo>
                  <a:cubicBezTo>
                    <a:pt x="136805" y="436275"/>
                    <a:pt x="195164" y="430099"/>
                    <a:pt x="235142" y="394612"/>
                  </a:cubicBezTo>
                  <a:lnTo>
                    <a:pt x="444806" y="207296"/>
                  </a:lnTo>
                  <a:lnTo>
                    <a:pt x="163121" y="180531"/>
                  </a:lnTo>
                  <a:cubicBezTo>
                    <a:pt x="159377" y="180195"/>
                    <a:pt x="155597" y="180045"/>
                    <a:pt x="151891" y="180045"/>
                  </a:cubicBezTo>
                  <a:close/>
                  <a:moveTo>
                    <a:pt x="834823" y="406853"/>
                  </a:moveTo>
                  <a:cubicBezTo>
                    <a:pt x="832577" y="406853"/>
                    <a:pt x="830368" y="406291"/>
                    <a:pt x="828347" y="405206"/>
                  </a:cubicBezTo>
                  <a:lnTo>
                    <a:pt x="553549" y="254350"/>
                  </a:lnTo>
                  <a:cubicBezTo>
                    <a:pt x="549432" y="252104"/>
                    <a:pt x="546811" y="247874"/>
                    <a:pt x="546587" y="243195"/>
                  </a:cubicBezTo>
                  <a:cubicBezTo>
                    <a:pt x="546362" y="238516"/>
                    <a:pt x="548571" y="234024"/>
                    <a:pt x="552464" y="231403"/>
                  </a:cubicBezTo>
                  <a:cubicBezTo>
                    <a:pt x="611945" y="190938"/>
                    <a:pt x="688159" y="187269"/>
                    <a:pt x="751309" y="221970"/>
                  </a:cubicBezTo>
                  <a:lnTo>
                    <a:pt x="751309" y="221970"/>
                  </a:lnTo>
                  <a:cubicBezTo>
                    <a:pt x="814497" y="256671"/>
                    <a:pt x="851668" y="322591"/>
                    <a:pt x="848261" y="394051"/>
                  </a:cubicBezTo>
                  <a:cubicBezTo>
                    <a:pt x="848037" y="398692"/>
                    <a:pt x="845454" y="402885"/>
                    <a:pt x="841374" y="405168"/>
                  </a:cubicBezTo>
                  <a:cubicBezTo>
                    <a:pt x="839352" y="406291"/>
                    <a:pt x="837106" y="406853"/>
                    <a:pt x="834823" y="406853"/>
                  </a:cubicBezTo>
                  <a:close/>
                  <a:moveTo>
                    <a:pt x="587389" y="242147"/>
                  </a:moveTo>
                  <a:lnTo>
                    <a:pt x="820860" y="370355"/>
                  </a:lnTo>
                  <a:cubicBezTo>
                    <a:pt x="816069" y="318136"/>
                    <a:pt x="785785" y="271607"/>
                    <a:pt x="738395" y="245553"/>
                  </a:cubicBezTo>
                  <a:cubicBezTo>
                    <a:pt x="690967" y="219574"/>
                    <a:pt x="634929" y="218676"/>
                    <a:pt x="587389" y="242147"/>
                  </a:cubicBezTo>
                  <a:close/>
                  <a:moveTo>
                    <a:pt x="905010" y="260414"/>
                  </a:moveTo>
                  <a:cubicBezTo>
                    <a:pt x="892695" y="260414"/>
                    <a:pt x="880229" y="257419"/>
                    <a:pt x="868700" y="251093"/>
                  </a:cubicBezTo>
                  <a:cubicBezTo>
                    <a:pt x="851106" y="241473"/>
                    <a:pt x="838379" y="225564"/>
                    <a:pt x="832914" y="206398"/>
                  </a:cubicBezTo>
                  <a:cubicBezTo>
                    <a:pt x="827486" y="187344"/>
                    <a:pt x="829844" y="167355"/>
                    <a:pt x="839614" y="150023"/>
                  </a:cubicBezTo>
                  <a:cubicBezTo>
                    <a:pt x="859716" y="114387"/>
                    <a:pt x="905347" y="101435"/>
                    <a:pt x="941545" y="121275"/>
                  </a:cubicBezTo>
                  <a:cubicBezTo>
                    <a:pt x="959139" y="130932"/>
                    <a:pt x="971866" y="146804"/>
                    <a:pt x="977331" y="166007"/>
                  </a:cubicBezTo>
                  <a:cubicBezTo>
                    <a:pt x="982759" y="185023"/>
                    <a:pt x="980401" y="205013"/>
                    <a:pt x="970631" y="222307"/>
                  </a:cubicBezTo>
                  <a:lnTo>
                    <a:pt x="970631" y="222307"/>
                  </a:lnTo>
                  <a:cubicBezTo>
                    <a:pt x="956968" y="246676"/>
                    <a:pt x="931401" y="260414"/>
                    <a:pt x="905010" y="260414"/>
                  </a:cubicBezTo>
                  <a:close/>
                  <a:moveTo>
                    <a:pt x="905197" y="138906"/>
                  </a:moveTo>
                  <a:cubicBezTo>
                    <a:pt x="888278" y="138906"/>
                    <a:pt x="871844" y="147702"/>
                    <a:pt x="863085" y="163275"/>
                  </a:cubicBezTo>
                  <a:cubicBezTo>
                    <a:pt x="856909" y="174243"/>
                    <a:pt x="855411" y="186933"/>
                    <a:pt x="858855" y="199023"/>
                  </a:cubicBezTo>
                  <a:cubicBezTo>
                    <a:pt x="862374" y="211227"/>
                    <a:pt x="870497" y="221334"/>
                    <a:pt x="881689" y="227473"/>
                  </a:cubicBezTo>
                  <a:cubicBezTo>
                    <a:pt x="904973" y="240312"/>
                    <a:pt x="934283" y="232002"/>
                    <a:pt x="947160" y="209130"/>
                  </a:cubicBezTo>
                  <a:lnTo>
                    <a:pt x="947160" y="209130"/>
                  </a:lnTo>
                  <a:cubicBezTo>
                    <a:pt x="953337" y="198162"/>
                    <a:pt x="954834" y="185473"/>
                    <a:pt x="951390" y="173419"/>
                  </a:cubicBezTo>
                  <a:cubicBezTo>
                    <a:pt x="947909" y="161216"/>
                    <a:pt x="939786" y="151109"/>
                    <a:pt x="928556" y="144932"/>
                  </a:cubicBezTo>
                  <a:cubicBezTo>
                    <a:pt x="921144" y="140852"/>
                    <a:pt x="913096" y="138906"/>
                    <a:pt x="905197" y="138906"/>
                  </a:cubicBezTo>
                  <a:close/>
                  <a:moveTo>
                    <a:pt x="701036" y="148451"/>
                  </a:moveTo>
                  <a:cubicBezTo>
                    <a:pt x="688758" y="148451"/>
                    <a:pt x="676293" y="145456"/>
                    <a:pt x="664801" y="139130"/>
                  </a:cubicBezTo>
                  <a:cubicBezTo>
                    <a:pt x="647170" y="129472"/>
                    <a:pt x="634443" y="113601"/>
                    <a:pt x="628977" y="94435"/>
                  </a:cubicBezTo>
                  <a:cubicBezTo>
                    <a:pt x="623550" y="75381"/>
                    <a:pt x="625908" y="55392"/>
                    <a:pt x="635678" y="38060"/>
                  </a:cubicBezTo>
                  <a:cubicBezTo>
                    <a:pt x="655780" y="2387"/>
                    <a:pt x="701523" y="-10528"/>
                    <a:pt x="737609" y="9312"/>
                  </a:cubicBezTo>
                  <a:cubicBezTo>
                    <a:pt x="755240" y="18970"/>
                    <a:pt x="767967" y="34879"/>
                    <a:pt x="773432" y="54044"/>
                  </a:cubicBezTo>
                  <a:cubicBezTo>
                    <a:pt x="778860" y="73098"/>
                    <a:pt x="776464" y="93087"/>
                    <a:pt x="766732" y="110344"/>
                  </a:cubicBezTo>
                  <a:cubicBezTo>
                    <a:pt x="753031" y="134713"/>
                    <a:pt x="727389" y="148451"/>
                    <a:pt x="701036" y="148451"/>
                  </a:cubicBezTo>
                  <a:close/>
                  <a:moveTo>
                    <a:pt x="701261" y="26943"/>
                  </a:moveTo>
                  <a:cubicBezTo>
                    <a:pt x="684341" y="26943"/>
                    <a:pt x="667908" y="35740"/>
                    <a:pt x="659149" y="51312"/>
                  </a:cubicBezTo>
                  <a:cubicBezTo>
                    <a:pt x="652972" y="62280"/>
                    <a:pt x="651475" y="74970"/>
                    <a:pt x="654919" y="87061"/>
                  </a:cubicBezTo>
                  <a:cubicBezTo>
                    <a:pt x="658437" y="99264"/>
                    <a:pt x="666560" y="109371"/>
                    <a:pt x="677753" y="115547"/>
                  </a:cubicBezTo>
                  <a:cubicBezTo>
                    <a:pt x="701074" y="128312"/>
                    <a:pt x="730384" y="120039"/>
                    <a:pt x="743261" y="97168"/>
                  </a:cubicBezTo>
                  <a:cubicBezTo>
                    <a:pt x="749438" y="86237"/>
                    <a:pt x="750935" y="73547"/>
                    <a:pt x="747491" y="61494"/>
                  </a:cubicBezTo>
                  <a:cubicBezTo>
                    <a:pt x="743972" y="49290"/>
                    <a:pt x="735849" y="39146"/>
                    <a:pt x="724657" y="32970"/>
                  </a:cubicBezTo>
                  <a:cubicBezTo>
                    <a:pt x="717245" y="28889"/>
                    <a:pt x="709197" y="26943"/>
                    <a:pt x="701261" y="26943"/>
                  </a:cubicBezTo>
                  <a:close/>
                </a:path>
              </a:pathLst>
            </a:custGeom>
            <a:solidFill>
              <a:schemeClr val="accent1"/>
            </a:solidFill>
            <a:ln w="37207" cap="flat">
              <a:noFill/>
              <a:prstDash val="solid"/>
              <a:miter/>
            </a:ln>
          </p:spPr>
          <p:txBody>
            <a:bodyPr rtlCol="0" anchor="ctr"/>
            <a:lstStyle/>
            <a:p>
              <a:endParaRPr lang="en-US"/>
            </a:p>
          </p:txBody>
        </p:sp>
      </p:grpSp>
      <p:grpSp>
        <p:nvGrpSpPr>
          <p:cNvPr id="86" name="Group 85">
            <a:extLst>
              <a:ext uri="{FF2B5EF4-FFF2-40B4-BE49-F238E27FC236}">
                <a16:creationId xmlns:a16="http://schemas.microsoft.com/office/drawing/2014/main" id="{854D1CD2-DBEC-6982-19DD-6A64A14C435C}"/>
              </a:ext>
            </a:extLst>
          </p:cNvPr>
          <p:cNvGrpSpPr/>
          <p:nvPr/>
        </p:nvGrpSpPr>
        <p:grpSpPr>
          <a:xfrm>
            <a:off x="4916567" y="5925311"/>
            <a:ext cx="2364962" cy="2743200"/>
            <a:chOff x="20387335" y="9865973"/>
            <a:chExt cx="2364962" cy="2743200"/>
          </a:xfrm>
        </p:grpSpPr>
        <p:sp>
          <p:nvSpPr>
            <p:cNvPr id="85" name="Hexagon 84">
              <a:extLst>
                <a:ext uri="{FF2B5EF4-FFF2-40B4-BE49-F238E27FC236}">
                  <a16:creationId xmlns:a16="http://schemas.microsoft.com/office/drawing/2014/main" id="{1C88C90D-5D75-69ED-E27B-3486268B7C19}"/>
                </a:ext>
              </a:extLst>
            </p:cNvPr>
            <p:cNvSpPr>
              <a:spLocks noChangeAspect="1"/>
            </p:cNvSpPr>
            <p:nvPr/>
          </p:nvSpPr>
          <p:spPr bwMode="auto">
            <a:xfrm rot="16200000">
              <a:off x="20198216" y="10055092"/>
              <a:ext cx="2743200" cy="2364962"/>
            </a:xfrm>
            <a:prstGeom prst="hexagon">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77" name="Graphic 68">
              <a:extLst>
                <a:ext uri="{FF2B5EF4-FFF2-40B4-BE49-F238E27FC236}">
                  <a16:creationId xmlns:a16="http://schemas.microsoft.com/office/drawing/2014/main" id="{B52F42D9-5C1A-A526-6B9D-0699F810414C}"/>
                </a:ext>
              </a:extLst>
            </p:cNvPr>
            <p:cNvSpPr/>
            <p:nvPr/>
          </p:nvSpPr>
          <p:spPr>
            <a:xfrm>
              <a:off x="20994786" y="10741677"/>
              <a:ext cx="1150061" cy="991793"/>
            </a:xfrm>
            <a:custGeom>
              <a:avLst/>
              <a:gdLst>
                <a:gd name="connsiteX0" fmla="*/ 575012 w 1150061"/>
                <a:gd name="connsiteY0" fmla="*/ 991794 h 991793"/>
                <a:gd name="connsiteX1" fmla="*/ 565467 w 1150061"/>
                <a:gd name="connsiteY1" fmla="*/ 987864 h 991793"/>
                <a:gd name="connsiteX2" fmla="*/ 87482 w 1150061"/>
                <a:gd name="connsiteY2" fmla="*/ 509878 h 991793"/>
                <a:gd name="connsiteX3" fmla="*/ 0 w 1150061"/>
                <a:gd name="connsiteY3" fmla="*/ 299167 h 991793"/>
                <a:gd name="connsiteX4" fmla="*/ 87482 w 1150061"/>
                <a:gd name="connsiteY4" fmla="*/ 87482 h 991793"/>
                <a:gd name="connsiteX5" fmla="*/ 298568 w 1150061"/>
                <a:gd name="connsiteY5" fmla="*/ 0 h 991793"/>
                <a:gd name="connsiteX6" fmla="*/ 298642 w 1150061"/>
                <a:gd name="connsiteY6" fmla="*/ 0 h 991793"/>
                <a:gd name="connsiteX7" fmla="*/ 509878 w 1150061"/>
                <a:gd name="connsiteY7" fmla="*/ 87482 h 991793"/>
                <a:gd name="connsiteX8" fmla="*/ 575012 w 1150061"/>
                <a:gd name="connsiteY8" fmla="*/ 152615 h 991793"/>
                <a:gd name="connsiteX9" fmla="*/ 640146 w 1150061"/>
                <a:gd name="connsiteY9" fmla="*/ 87482 h 991793"/>
                <a:gd name="connsiteX10" fmla="*/ 851344 w 1150061"/>
                <a:gd name="connsiteY10" fmla="*/ 0 h 991793"/>
                <a:gd name="connsiteX11" fmla="*/ 851644 w 1150061"/>
                <a:gd name="connsiteY11" fmla="*/ 0 h 991793"/>
                <a:gd name="connsiteX12" fmla="*/ 1062580 w 1150061"/>
                <a:gd name="connsiteY12" fmla="*/ 87482 h 991793"/>
                <a:gd name="connsiteX13" fmla="*/ 1150062 w 1150061"/>
                <a:gd name="connsiteY13" fmla="*/ 298680 h 991793"/>
                <a:gd name="connsiteX14" fmla="*/ 1062580 w 1150061"/>
                <a:gd name="connsiteY14" fmla="*/ 509878 h 991793"/>
                <a:gd name="connsiteX15" fmla="*/ 584558 w 1150061"/>
                <a:gd name="connsiteY15" fmla="*/ 987864 h 991793"/>
                <a:gd name="connsiteX16" fmla="*/ 575012 w 1150061"/>
                <a:gd name="connsiteY16" fmla="*/ 991794 h 991793"/>
                <a:gd name="connsiteX17" fmla="*/ 298642 w 1150061"/>
                <a:gd name="connsiteY17" fmla="*/ 26989 h 991793"/>
                <a:gd name="connsiteX18" fmla="*/ 298568 w 1150061"/>
                <a:gd name="connsiteY18" fmla="*/ 26989 h 991793"/>
                <a:gd name="connsiteX19" fmla="*/ 106572 w 1150061"/>
                <a:gd name="connsiteY19" fmla="*/ 106572 h 991793"/>
                <a:gd name="connsiteX20" fmla="*/ 26989 w 1150061"/>
                <a:gd name="connsiteY20" fmla="*/ 299167 h 991793"/>
                <a:gd name="connsiteX21" fmla="*/ 106572 w 1150061"/>
                <a:gd name="connsiteY21" fmla="*/ 490787 h 991793"/>
                <a:gd name="connsiteX22" fmla="*/ 106572 w 1150061"/>
                <a:gd name="connsiteY22" fmla="*/ 490787 h 991793"/>
                <a:gd name="connsiteX23" fmla="*/ 575012 w 1150061"/>
                <a:gd name="connsiteY23" fmla="*/ 959227 h 991793"/>
                <a:gd name="connsiteX24" fmla="*/ 1043452 w 1150061"/>
                <a:gd name="connsiteY24" fmla="*/ 490787 h 991793"/>
                <a:gd name="connsiteX25" fmla="*/ 1123035 w 1150061"/>
                <a:gd name="connsiteY25" fmla="*/ 298680 h 991793"/>
                <a:gd name="connsiteX26" fmla="*/ 1043452 w 1150061"/>
                <a:gd name="connsiteY26" fmla="*/ 106572 h 991793"/>
                <a:gd name="connsiteX27" fmla="*/ 851606 w 1150061"/>
                <a:gd name="connsiteY27" fmla="*/ 26989 h 991793"/>
                <a:gd name="connsiteX28" fmla="*/ 851307 w 1150061"/>
                <a:gd name="connsiteY28" fmla="*/ 26989 h 991793"/>
                <a:gd name="connsiteX29" fmla="*/ 659200 w 1150061"/>
                <a:gd name="connsiteY29" fmla="*/ 106572 h 991793"/>
                <a:gd name="connsiteX30" fmla="*/ 584520 w 1150061"/>
                <a:gd name="connsiteY30" fmla="*/ 181252 h 991793"/>
                <a:gd name="connsiteX31" fmla="*/ 565429 w 1150061"/>
                <a:gd name="connsiteY31" fmla="*/ 181252 h 991793"/>
                <a:gd name="connsiteX32" fmla="*/ 490750 w 1150061"/>
                <a:gd name="connsiteY32" fmla="*/ 106572 h 991793"/>
                <a:gd name="connsiteX33" fmla="*/ 298642 w 1150061"/>
                <a:gd name="connsiteY33" fmla="*/ 26989 h 99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50061" h="991793">
                  <a:moveTo>
                    <a:pt x="575012" y="991794"/>
                  </a:moveTo>
                  <a:cubicBezTo>
                    <a:pt x="571568" y="991794"/>
                    <a:pt x="568087" y="990484"/>
                    <a:pt x="565467" y="987864"/>
                  </a:cubicBezTo>
                  <a:lnTo>
                    <a:pt x="87482" y="509878"/>
                  </a:lnTo>
                  <a:cubicBezTo>
                    <a:pt x="31070" y="453466"/>
                    <a:pt x="0" y="378637"/>
                    <a:pt x="0" y="299167"/>
                  </a:cubicBezTo>
                  <a:cubicBezTo>
                    <a:pt x="0" y="219097"/>
                    <a:pt x="31070" y="143931"/>
                    <a:pt x="87482" y="87482"/>
                  </a:cubicBezTo>
                  <a:cubicBezTo>
                    <a:pt x="143856" y="31107"/>
                    <a:pt x="218797" y="75"/>
                    <a:pt x="298568" y="0"/>
                  </a:cubicBezTo>
                  <a:cubicBezTo>
                    <a:pt x="298568" y="0"/>
                    <a:pt x="298605" y="0"/>
                    <a:pt x="298642" y="0"/>
                  </a:cubicBezTo>
                  <a:cubicBezTo>
                    <a:pt x="378450" y="0"/>
                    <a:pt x="453466" y="31070"/>
                    <a:pt x="509878" y="87482"/>
                  </a:cubicBezTo>
                  <a:lnTo>
                    <a:pt x="575012" y="152615"/>
                  </a:lnTo>
                  <a:lnTo>
                    <a:pt x="640146" y="87482"/>
                  </a:lnTo>
                  <a:cubicBezTo>
                    <a:pt x="696558" y="31070"/>
                    <a:pt x="771574" y="0"/>
                    <a:pt x="851344" y="0"/>
                  </a:cubicBezTo>
                  <a:cubicBezTo>
                    <a:pt x="851457" y="0"/>
                    <a:pt x="851532" y="0"/>
                    <a:pt x="851644" y="0"/>
                  </a:cubicBezTo>
                  <a:cubicBezTo>
                    <a:pt x="931302" y="75"/>
                    <a:pt x="1006206" y="31144"/>
                    <a:pt x="1062580" y="87482"/>
                  </a:cubicBezTo>
                  <a:cubicBezTo>
                    <a:pt x="1118992" y="143931"/>
                    <a:pt x="1150062" y="218910"/>
                    <a:pt x="1150062" y="298680"/>
                  </a:cubicBezTo>
                  <a:cubicBezTo>
                    <a:pt x="1150062" y="378450"/>
                    <a:pt x="1118992" y="453429"/>
                    <a:pt x="1062580" y="509878"/>
                  </a:cubicBezTo>
                  <a:lnTo>
                    <a:pt x="584558" y="987864"/>
                  </a:lnTo>
                  <a:cubicBezTo>
                    <a:pt x="581900" y="990484"/>
                    <a:pt x="578456" y="991794"/>
                    <a:pt x="575012" y="991794"/>
                  </a:cubicBezTo>
                  <a:close/>
                  <a:moveTo>
                    <a:pt x="298642" y="26989"/>
                  </a:moveTo>
                  <a:cubicBezTo>
                    <a:pt x="298642" y="26989"/>
                    <a:pt x="298605" y="26989"/>
                    <a:pt x="298568" y="26989"/>
                  </a:cubicBezTo>
                  <a:cubicBezTo>
                    <a:pt x="226022" y="27027"/>
                    <a:pt x="157856" y="55289"/>
                    <a:pt x="106572" y="106572"/>
                  </a:cubicBezTo>
                  <a:cubicBezTo>
                    <a:pt x="55251" y="157893"/>
                    <a:pt x="26989" y="226284"/>
                    <a:pt x="26989" y="299167"/>
                  </a:cubicBezTo>
                  <a:cubicBezTo>
                    <a:pt x="26989" y="371450"/>
                    <a:pt x="55251" y="439504"/>
                    <a:pt x="106572" y="490787"/>
                  </a:cubicBezTo>
                  <a:lnTo>
                    <a:pt x="106572" y="490787"/>
                  </a:lnTo>
                  <a:lnTo>
                    <a:pt x="575012" y="959227"/>
                  </a:lnTo>
                  <a:lnTo>
                    <a:pt x="1043452" y="490787"/>
                  </a:lnTo>
                  <a:cubicBezTo>
                    <a:pt x="1094773" y="439466"/>
                    <a:pt x="1123035" y="371263"/>
                    <a:pt x="1123035" y="298680"/>
                  </a:cubicBezTo>
                  <a:cubicBezTo>
                    <a:pt x="1123035" y="226097"/>
                    <a:pt x="1094773" y="157893"/>
                    <a:pt x="1043452" y="106572"/>
                  </a:cubicBezTo>
                  <a:cubicBezTo>
                    <a:pt x="992168" y="55326"/>
                    <a:pt x="924040" y="27064"/>
                    <a:pt x="851606" y="26989"/>
                  </a:cubicBezTo>
                  <a:cubicBezTo>
                    <a:pt x="851494" y="26989"/>
                    <a:pt x="851382" y="26989"/>
                    <a:pt x="851307" y="26989"/>
                  </a:cubicBezTo>
                  <a:cubicBezTo>
                    <a:pt x="778761" y="26989"/>
                    <a:pt x="710521" y="55214"/>
                    <a:pt x="659200" y="106572"/>
                  </a:cubicBezTo>
                  <a:lnTo>
                    <a:pt x="584520" y="181252"/>
                  </a:lnTo>
                  <a:cubicBezTo>
                    <a:pt x="579242" y="186530"/>
                    <a:pt x="570707" y="186530"/>
                    <a:pt x="565429" y="181252"/>
                  </a:cubicBezTo>
                  <a:lnTo>
                    <a:pt x="490750" y="106572"/>
                  </a:lnTo>
                  <a:cubicBezTo>
                    <a:pt x="439504" y="55251"/>
                    <a:pt x="371226" y="26989"/>
                    <a:pt x="298642" y="26989"/>
                  </a:cubicBezTo>
                  <a:close/>
                </a:path>
              </a:pathLst>
            </a:custGeom>
            <a:solidFill>
              <a:schemeClr val="accent1"/>
            </a:solidFill>
            <a:ln w="37207" cap="flat">
              <a:noFill/>
              <a:prstDash val="solid"/>
              <a:miter/>
            </a:ln>
          </p:spPr>
          <p:txBody>
            <a:bodyPr rtlCol="0" anchor="ctr"/>
            <a:lstStyle/>
            <a:p>
              <a:endParaRPr lang="en-US"/>
            </a:p>
          </p:txBody>
        </p:sp>
      </p:grpSp>
      <p:sp>
        <p:nvSpPr>
          <p:cNvPr id="3" name="Title 2">
            <a:extLst>
              <a:ext uri="{FF2B5EF4-FFF2-40B4-BE49-F238E27FC236}">
                <a16:creationId xmlns:a16="http://schemas.microsoft.com/office/drawing/2014/main" id="{40C19C43-5EDC-7E9E-6BD3-D012916CB3A1}"/>
              </a:ext>
            </a:extLst>
          </p:cNvPr>
          <p:cNvSpPr>
            <a:spLocks noGrp="1"/>
          </p:cNvSpPr>
          <p:nvPr>
            <p:ph type="title"/>
          </p:nvPr>
        </p:nvSpPr>
        <p:spPr>
          <a:xfrm>
            <a:off x="576072" y="385200"/>
            <a:ext cx="11009248" cy="1527048"/>
          </a:xfrm>
        </p:spPr>
        <p:txBody>
          <a:bodyPr/>
          <a:lstStyle/>
          <a:p>
            <a:r>
              <a:rPr lang="en-US" kern="0" dirty="0">
                <a:latin typeface="+mn-lt"/>
                <a:cs typeface="Arial"/>
                <a:sym typeface="Arial"/>
              </a:rPr>
              <a:t>watsonx orchestrate: Unlock </a:t>
            </a:r>
            <a:r>
              <a:rPr lang="en-US" i="1" kern="0" dirty="0">
                <a:solidFill>
                  <a:schemeClr val="accent1"/>
                </a:solidFill>
                <a:latin typeface="+mn-lt"/>
                <a:cs typeface="Arial"/>
                <a:sym typeface="Arial"/>
              </a:rPr>
              <a:t>productivity</a:t>
            </a:r>
            <a:r>
              <a:rPr lang="en-US" kern="0" dirty="0">
                <a:latin typeface="+mn-lt"/>
                <a:cs typeface="Arial"/>
                <a:sym typeface="Arial"/>
              </a:rPr>
              <a:t> with AI assistants </a:t>
            </a:r>
            <a:br>
              <a:rPr kumimoji="0" lang="en-US" u="none" strike="noStrike" kern="0" cap="none" spc="0" normalizeH="0" baseline="0" noProof="0" dirty="0">
                <a:ln>
                  <a:noFill/>
                </a:ln>
                <a:effectLst/>
                <a:uLnTx/>
                <a:uFillTx/>
                <a:latin typeface="+mn-lt"/>
                <a:cs typeface="Arial"/>
                <a:sym typeface="Arial"/>
              </a:rPr>
            </a:br>
            <a:endParaRPr lang="en-US" dirty="0">
              <a:latin typeface="+mn-lt"/>
            </a:endParaRPr>
          </a:p>
        </p:txBody>
      </p:sp>
    </p:spTree>
    <p:extLst>
      <p:ext uri="{BB962C8B-B14F-4D97-AF65-F5344CB8AC3E}">
        <p14:creationId xmlns:p14="http://schemas.microsoft.com/office/powerpoint/2010/main" val="287987537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fade">
                                      <p:cBhvr>
                                        <p:cTn id="10" dur="1000"/>
                                        <p:tgtEl>
                                          <p:spTgt spid="31"/>
                                        </p:tgtEl>
                                      </p:cBhvr>
                                    </p:animEffect>
                                  </p:childTnLst>
                                </p:cTn>
                              </p:par>
                            </p:childTnLst>
                          </p:cTn>
                        </p:par>
                        <p:par>
                          <p:cTn id="11" fill="hold">
                            <p:stCondLst>
                              <p:cond delay="1500"/>
                            </p:stCondLst>
                            <p:childTnLst>
                              <p:par>
                                <p:cTn id="12" presetID="10" presetClass="entr" presetSubtype="0" fill="hold" nodeType="afterEffect">
                                  <p:stCondLst>
                                    <p:cond delay="0"/>
                                  </p:stCondLst>
                                  <p:childTnLst>
                                    <p:set>
                                      <p:cBhvr>
                                        <p:cTn id="13" dur="1" fill="hold">
                                          <p:stCondLst>
                                            <p:cond delay="0"/>
                                          </p:stCondLst>
                                        </p:cTn>
                                        <p:tgtEl>
                                          <p:spTgt spid="88"/>
                                        </p:tgtEl>
                                        <p:attrNameLst>
                                          <p:attrName>style.visibility</p:attrName>
                                        </p:attrNameLst>
                                      </p:cBhvr>
                                      <p:to>
                                        <p:strVal val="visible"/>
                                      </p:to>
                                    </p:set>
                                    <p:animEffect transition="in" filter="fade">
                                      <p:cBhvr>
                                        <p:cTn id="14" dur="500"/>
                                        <p:tgtEl>
                                          <p:spTgt spid="88"/>
                                        </p:tgtEl>
                                      </p:cBhvr>
                                    </p:animEffect>
                                  </p:childTnLst>
                                </p:cTn>
                              </p:par>
                              <p:par>
                                <p:cTn id="15" presetID="10" presetClass="entr" presetSubtype="0" fill="hold" grpId="0" nodeType="withEffect">
                                  <p:stCondLst>
                                    <p:cond delay="0"/>
                                  </p:stCondLst>
                                  <p:iterate type="lt">
                                    <p:tmPct val="10000"/>
                                  </p:iterate>
                                  <p:childTnLst>
                                    <p:set>
                                      <p:cBhvr>
                                        <p:cTn id="16" dur="1" fill="hold">
                                          <p:stCondLst>
                                            <p:cond delay="0"/>
                                          </p:stCondLst>
                                        </p:cTn>
                                        <p:tgtEl>
                                          <p:spTgt spid="30"/>
                                        </p:tgtEl>
                                        <p:attrNameLst>
                                          <p:attrName>style.visibility</p:attrName>
                                        </p:attrNameLst>
                                      </p:cBhvr>
                                      <p:to>
                                        <p:strVal val="visible"/>
                                      </p:to>
                                    </p:set>
                                    <p:animEffect transition="in" filter="fade">
                                      <p:cBhvr>
                                        <p:cTn id="17" dur="1000"/>
                                        <p:tgtEl>
                                          <p:spTgt spid="30"/>
                                        </p:tgtEl>
                                      </p:cBhvr>
                                    </p:animEffect>
                                  </p:childTnLst>
                                </p:cTn>
                              </p:par>
                            </p:childTnLst>
                          </p:cTn>
                        </p:par>
                        <p:par>
                          <p:cTn id="18" fill="hold">
                            <p:stCondLst>
                              <p:cond delay="4000"/>
                            </p:stCondLst>
                            <p:childTnLst>
                              <p:par>
                                <p:cTn id="19" presetID="10" presetClass="entr" presetSubtype="0" fill="hold" nodeType="afterEffect">
                                  <p:stCondLst>
                                    <p:cond delay="0"/>
                                  </p:stCondLst>
                                  <p:childTnLst>
                                    <p:set>
                                      <p:cBhvr>
                                        <p:cTn id="20" dur="1" fill="hold">
                                          <p:stCondLst>
                                            <p:cond delay="0"/>
                                          </p:stCondLst>
                                        </p:cTn>
                                        <p:tgtEl>
                                          <p:spTgt spid="87"/>
                                        </p:tgtEl>
                                        <p:attrNameLst>
                                          <p:attrName>style.visibility</p:attrName>
                                        </p:attrNameLst>
                                      </p:cBhvr>
                                      <p:to>
                                        <p:strVal val="visible"/>
                                      </p:to>
                                    </p:set>
                                    <p:animEffect transition="in" filter="fade">
                                      <p:cBhvr>
                                        <p:cTn id="21" dur="500"/>
                                        <p:tgtEl>
                                          <p:spTgt spid="87"/>
                                        </p:tgtEl>
                                      </p:cBhvr>
                                    </p:animEffect>
                                  </p:childTnLst>
                                </p:cTn>
                              </p:par>
                            </p:childTnLst>
                          </p:cTn>
                        </p:par>
                        <p:par>
                          <p:cTn id="22" fill="hold">
                            <p:stCondLst>
                              <p:cond delay="4500"/>
                            </p:stCondLst>
                            <p:childTnLst>
                              <p:par>
                                <p:cTn id="23" presetID="10" presetClass="entr" presetSubtype="0" fill="hold" nodeType="afterEffect">
                                  <p:stCondLst>
                                    <p:cond delay="750"/>
                                  </p:stCondLst>
                                  <p:childTnLst>
                                    <p:set>
                                      <p:cBhvr>
                                        <p:cTn id="24" dur="1" fill="hold">
                                          <p:stCondLst>
                                            <p:cond delay="0"/>
                                          </p:stCondLst>
                                        </p:cTn>
                                        <p:tgtEl>
                                          <p:spTgt spid="86"/>
                                        </p:tgtEl>
                                        <p:attrNameLst>
                                          <p:attrName>style.visibility</p:attrName>
                                        </p:attrNameLst>
                                      </p:cBhvr>
                                      <p:to>
                                        <p:strVal val="visible"/>
                                      </p:to>
                                    </p:set>
                                    <p:animEffect transition="in" filter="fade">
                                      <p:cBhvr>
                                        <p:cTn id="25"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29" grpId="0"/>
      <p:bldP spid="3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BM presentation enablement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kumimoji="0" sz="20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algn="l" defTabSz="2438400">
          <a:buSzPct val="100000"/>
          <a:defRPr sz="2400" dirty="0" smtClean="0">
            <a:cs typeface="Arial" panose="020B0604020202020204" pitchFamily="34"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461DE280-6773-3240-A149-7E3C0A49F9FC}" vid="{119F70B9-3B70-5545-8722-9A4DAAA12CBF}"/>
    </a:ext>
  </a:extLst>
</a:theme>
</file>

<file path=ppt/theme/theme2.xml><?xml version="1.0" encoding="utf-8"?>
<a:theme xmlns:a="http://schemas.openxmlformats.org/drawingml/2006/main" name="14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 id="{4C35AED2-0956-0D40-B36D-C06D62725AA8}" vid="{C4BA05BF-74B1-4B4C-B175-992815DE89C6}"/>
    </a:ext>
  </a:extLst>
</a:theme>
</file>

<file path=ppt/theme/theme3.xml><?xml version="1.0" encoding="utf-8"?>
<a:theme xmlns:a="http://schemas.openxmlformats.org/drawingml/2006/main" name="15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 id="{4C35AED2-0956-0D40-B36D-C06D62725AA8}" vid="{C4BA05BF-74B1-4B4C-B175-992815DE89C6}"/>
    </a:ext>
  </a:extLst>
</a:theme>
</file>

<file path=ppt/theme/theme4.xml><?xml version="1.0" encoding="utf-8"?>
<a:theme xmlns:a="http://schemas.openxmlformats.org/drawingml/2006/main" name="4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Presentation7" id="{420530F3-D495-F444-A07F-CA7AB6B4B41D}" vid="{5ACF7485-E725-0945-832D-78C6F10710FB}"/>
    </a:ext>
  </a:extLst>
</a:theme>
</file>

<file path=ppt/theme/theme5.xml><?xml version="1.0" encoding="utf-8"?>
<a:theme xmlns:a="http://schemas.openxmlformats.org/drawingml/2006/main" name="2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Presentation7" id="{420530F3-D495-F444-A07F-CA7AB6B4B41D}" vid="{5ACF7485-E725-0945-832D-78C6F10710FB}"/>
    </a:ext>
  </a:extLst>
</a:theme>
</file>

<file path=ppt/theme/theme6.xml><?xml version="1.0" encoding="utf-8"?>
<a:theme xmlns:a="http://schemas.openxmlformats.org/drawingml/2006/main" name="2_IBM presentation enablement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kumimoji="0" sz="20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algn="l" defTabSz="2438400">
          <a:buSzPct val="100000"/>
          <a:defRPr sz="2400" dirty="0" smtClean="0">
            <a:cs typeface="Arial" panose="020B0604020202020204" pitchFamily="34"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461DE280-6773-3240-A149-7E3C0A49F9FC}" vid="{119F70B9-3B70-5545-8722-9A4DAAA12CBF}"/>
    </a:ext>
  </a:extLst>
</a:theme>
</file>

<file path=ppt/theme/theme7.xml><?xml version="1.0" encoding="utf-8"?>
<a:theme xmlns:a="http://schemas.openxmlformats.org/drawingml/2006/main" name="IBM Brand Template 2022">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Master_Presentation_2021_V01_Plex" id="{BD398A2B-0B96-D843-9A4A-05239798B6A1}" vid="{46683C84-C800-D441-9101-471717108C97}"/>
    </a:ext>
  </a:extLst>
</a:theme>
</file>

<file path=ppt/theme/theme8.xml><?xml version="1.0" encoding="utf-8"?>
<a:theme xmlns:a="http://schemas.openxmlformats.org/drawingml/2006/main" name="IBM Brand Template 2022">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Master_Presentation_2021_V01_Plex" id="{BD398A2B-0B96-D843-9A4A-05239798B6A1}" vid="{46683C84-C800-D441-9101-471717108C97}"/>
    </a:ext>
  </a:extLst>
</a:theme>
</file>

<file path=ppt/theme/themeOverride1.xml><?xml version="1.0" encoding="utf-8"?>
<a:themeOverride xmlns:a="http://schemas.openxmlformats.org/drawingml/2006/main">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IBM presentation template</Template>
  <TotalTime>19479</TotalTime>
  <Words>6602</Words>
  <Application>Microsoft Macintosh PowerPoint</Application>
  <PresentationFormat>Custom</PresentationFormat>
  <Paragraphs>750</Paragraphs>
  <Slides>33</Slides>
  <Notes>33</Notes>
  <HiddenSlides>0</HiddenSlides>
  <MMClips>1</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33</vt:i4>
      </vt:variant>
    </vt:vector>
  </HeadingPairs>
  <TitlesOfParts>
    <vt:vector size="49" baseType="lpstr">
      <vt:lpstr>IBM Plex Sans Light</vt:lpstr>
      <vt:lpstr>IBM Plex Sans</vt:lpstr>
      <vt:lpstr>HelvNeue Light for IBM</vt:lpstr>
      <vt:lpstr>IBM Plex Sans SmBld</vt:lpstr>
      <vt:lpstr>Aptos</vt:lpstr>
      <vt:lpstr>Arial</vt:lpstr>
      <vt:lpstr>IBM Plex Sans Text</vt:lpstr>
      <vt:lpstr>IBM Plex Sans ExtLt</vt:lpstr>
      <vt:lpstr>Calibri</vt:lpstr>
      <vt:lpstr>IBM presentation enablement template</vt:lpstr>
      <vt:lpstr>14_IBM Brand Template 2022</vt:lpstr>
      <vt:lpstr>15_IBM Brand Template 2022</vt:lpstr>
      <vt:lpstr>4_IBM presentation template</vt:lpstr>
      <vt:lpstr>2_IBM presentation template</vt:lpstr>
      <vt:lpstr>2_IBM presentation enablement template</vt:lpstr>
      <vt:lpstr>think-cell Slide</vt:lpstr>
      <vt:lpstr>AI Assistants Unlocking new levels of productivity  across the enterprise   IBM watsonx Orchestrate  </vt:lpstr>
      <vt:lpstr>AI assistants for enterprise productivity</vt:lpstr>
      <vt:lpstr>AI and automation  are present across every moment of life </vt:lpstr>
      <vt:lpstr>Advent of generative AI  and the evolution  of automation has ushered  in an era of AI Assistants  that are here to drive  productive customer  and employee experiences </vt:lpstr>
      <vt:lpstr>After years  of investments  in automation, employee productivity is still declining </vt:lpstr>
      <vt:lpstr>Employee productivity is hindered by having siloed  and disconnected tasks, systems, and processes </vt:lpstr>
      <vt:lpstr>IT teams have developed task-specific productivity tools,  but democratized automation for end-to-end process  remains a gap </vt:lpstr>
      <vt:lpstr>Friction points behind employee productivity </vt:lpstr>
      <vt:lpstr>watsonx orchestrate: Unlock productivity with AI assistants  </vt:lpstr>
      <vt:lpstr>PowerPoint Presentation</vt:lpstr>
      <vt:lpstr>PowerPoint Presentation</vt:lpstr>
      <vt:lpstr>watsonx Orchestrate: AI assistants for enterprise productivity </vt:lpstr>
      <vt:lpstr>PowerPoint Presentation</vt:lpstr>
      <vt:lpstr>PowerPoint Presentation</vt:lpstr>
      <vt:lpstr>PowerPoint Presentation</vt:lpstr>
      <vt:lpstr>PowerPoint Presentation</vt:lpstr>
      <vt:lpstr>PowerPoint Presentation</vt:lpstr>
      <vt:lpstr>PowerPoint Presentation</vt:lpstr>
      <vt:lpstr>AI assistants are more than a bot  or co-pilot</vt:lpstr>
      <vt:lpstr>IBM leads  the market  in business automation  with AI</vt:lpstr>
      <vt:lpstr>How users access generative AI capabilities in watsonx Orchestrate </vt:lpstr>
      <vt:lpstr>Skills – a core capability of watsonx Orchestrate</vt:lpstr>
      <vt:lpstr>PowerPoint Presentation</vt:lpstr>
      <vt:lpstr>IBM as client zero: Transforming internally with the power  of AI and Automation </vt:lpstr>
      <vt:lpstr>Employee productivity augmented by watsonx Orchestrate </vt:lpstr>
      <vt:lpstr>Getting started with watsonx Orchestrate</vt:lpstr>
      <vt:lpstr>Three ways  to get started today—IBM’s investment  in partnering with clients</vt:lpstr>
      <vt:lpstr>PowerPoint Presentation</vt:lpstr>
      <vt:lpstr>AI assistant  solutions  by industry</vt:lpstr>
      <vt:lpstr>AI assistants in  Customer care </vt:lpstr>
      <vt:lpstr>AI assistants in IT</vt:lpstr>
      <vt:lpstr>AI assistants in HR </vt:lpstr>
      <vt:lpstr>AI assistants in Procurement &amp; sales </vt:lpstr>
    </vt:vector>
  </TitlesOfParts>
  <Manager/>
  <Company>IB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watsonx Orchestrate - Seller Enablement Level 2</dc:title>
  <dc:subject>Seller Enablement</dc:subject>
  <dc:creator>Thomas Yang</dc:creator>
  <cp:keywords/>
  <dc:description/>
  <cp:lastModifiedBy>GIULIO SOLIANI</cp:lastModifiedBy>
  <cp:revision>484</cp:revision>
  <cp:lastPrinted>2023-02-08T15:46:20Z</cp:lastPrinted>
  <dcterms:created xsi:type="dcterms:W3CDTF">2023-01-13T17:40:38Z</dcterms:created>
  <dcterms:modified xsi:type="dcterms:W3CDTF">2024-03-28T12:32:32Z</dcterms:modified>
  <cp:category>Seller Enablement Level 2</cp:category>
</cp:coreProperties>
</file>